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9.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9.xml" ContentType="application/vnd.openxmlformats-officedocument.presentationml.tags+xml"/>
  <Override PartName="/ppt/notesSlides/notesSlide59.xml" ContentType="application/vnd.openxmlformats-officedocument.presentationml.notesSlide+xml"/>
  <Override PartName="/ppt/tags/tag10.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 id="2147483724" r:id="rId2"/>
    <p:sldMasterId id="2147483749" r:id="rId3"/>
    <p:sldMasterId id="2147483773" r:id="rId4"/>
    <p:sldMasterId id="2147483792" r:id="rId5"/>
    <p:sldMasterId id="2147483823" r:id="rId6"/>
    <p:sldMasterId id="2147483842" r:id="rId7"/>
    <p:sldMasterId id="2147483861" r:id="rId8"/>
    <p:sldMasterId id="2147483880" r:id="rId9"/>
    <p:sldMasterId id="2147483892" r:id="rId10"/>
  </p:sldMasterIdLst>
  <p:notesMasterIdLst>
    <p:notesMasterId r:id="rId74"/>
  </p:notesMasterIdLst>
  <p:handoutMasterIdLst>
    <p:handoutMasterId r:id="rId75"/>
  </p:handoutMasterIdLst>
  <p:sldIdLst>
    <p:sldId id="271" r:id="rId11"/>
    <p:sldId id="256" r:id="rId12"/>
    <p:sldId id="304" r:id="rId13"/>
    <p:sldId id="257"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305" r:id="rId27"/>
    <p:sldId id="272" r:id="rId28"/>
    <p:sldId id="318" r:id="rId29"/>
    <p:sldId id="273" r:id="rId30"/>
    <p:sldId id="274" r:id="rId31"/>
    <p:sldId id="275" r:id="rId32"/>
    <p:sldId id="276" r:id="rId33"/>
    <p:sldId id="277" r:id="rId34"/>
    <p:sldId id="278" r:id="rId35"/>
    <p:sldId id="279" r:id="rId36"/>
    <p:sldId id="280" r:id="rId37"/>
    <p:sldId id="281" r:id="rId38"/>
    <p:sldId id="282" r:id="rId39"/>
    <p:sldId id="283" r:id="rId40"/>
    <p:sldId id="284" r:id="rId41"/>
    <p:sldId id="285" r:id="rId42"/>
    <p:sldId id="286" r:id="rId43"/>
    <p:sldId id="287" r:id="rId44"/>
    <p:sldId id="288" r:id="rId45"/>
    <p:sldId id="289" r:id="rId46"/>
    <p:sldId id="290" r:id="rId47"/>
    <p:sldId id="258" r:id="rId48"/>
    <p:sldId id="291" r:id="rId49"/>
    <p:sldId id="292" r:id="rId50"/>
    <p:sldId id="293" r:id="rId51"/>
    <p:sldId id="294" r:id="rId52"/>
    <p:sldId id="295" r:id="rId53"/>
    <p:sldId id="296" r:id="rId54"/>
    <p:sldId id="306" r:id="rId55"/>
    <p:sldId id="307" r:id="rId56"/>
    <p:sldId id="297" r:id="rId57"/>
    <p:sldId id="313" r:id="rId58"/>
    <p:sldId id="314" r:id="rId59"/>
    <p:sldId id="308" r:id="rId60"/>
    <p:sldId id="319" r:id="rId61"/>
    <p:sldId id="298" r:id="rId62"/>
    <p:sldId id="317" r:id="rId63"/>
    <p:sldId id="316" r:id="rId64"/>
    <p:sldId id="309" r:id="rId65"/>
    <p:sldId id="310" r:id="rId66"/>
    <p:sldId id="311" r:id="rId67"/>
    <p:sldId id="312" r:id="rId68"/>
    <p:sldId id="299" r:id="rId69"/>
    <p:sldId id="300" r:id="rId70"/>
    <p:sldId id="301" r:id="rId71"/>
    <p:sldId id="302" r:id="rId72"/>
    <p:sldId id="303" r:id="rId73"/>
  </p:sldIdLst>
  <p:sldSz cx="9144000" cy="6858000" type="screen4x3"/>
  <p:notesSz cx="6858000" cy="9144000"/>
  <p:embeddedFontLst>
    <p:embeddedFont>
      <p:font typeface="Segoe UI Historic" panose="020B0502040204020203" pitchFamily="34" charset="0"/>
      <p:regular r:id="rId76"/>
    </p:embeddedFont>
    <p:embeddedFont>
      <p:font typeface="Verdana" panose="020B0604030504040204" pitchFamily="34" charset="0"/>
      <p:regular r:id="rId77"/>
      <p:bold r:id="rId78"/>
      <p:italic r:id="rId79"/>
      <p:boldItalic r:id="rId80"/>
    </p:embeddedFont>
    <p:embeddedFont>
      <p:font typeface="MS PGothic" panose="020B0600070205080204" pitchFamily="34" charset="-128"/>
      <p:regular r:id="rId81"/>
    </p:embeddedFont>
    <p:embeddedFont>
      <p:font typeface="Calibri Light" panose="020F0302020204030204" pitchFamily="34" charset="0"/>
      <p:regular r:id="rId82"/>
      <p:italic r:id="rId83"/>
    </p:embeddedFont>
    <p:embeddedFont>
      <p:font typeface="MS PGothic" panose="020B0600070205080204" pitchFamily="34" charset="-128"/>
      <p:regular r:id="rId81"/>
    </p:embeddedFont>
    <p:embeddedFont>
      <p:font typeface="Segoe UI" panose="020B0502040204020203" pitchFamily="34" charset="0"/>
      <p:regular r:id="rId84"/>
      <p:bold r:id="rId85"/>
      <p:italic r:id="rId86"/>
      <p:boldItalic r:id="rId87"/>
    </p:embeddedFont>
    <p:embeddedFont>
      <p:font typeface="Segoe UI Semilight" panose="020B0402040204020203" pitchFamily="34" charset="0"/>
      <p:regular r:id="rId88"/>
      <p:italic r:id="rId89"/>
    </p:embeddedFont>
    <p:embeddedFont>
      <p:font typeface="Segoe UI Semibold" panose="020B0702040204020203" pitchFamily="34" charset="0"/>
      <p:bold r:id="rId90"/>
      <p:boldItalic r:id="rId91"/>
    </p:embeddedFont>
    <p:embeddedFont>
      <p:font typeface="Calibri" panose="020F0502020204030204" pitchFamily="34" charset="0"/>
      <p:regular r:id="rId92"/>
      <p:bold r:id="rId93"/>
      <p:italic r:id="rId94"/>
      <p:boldItalic r:id="rId95"/>
    </p:embeddedFont>
    <p:embeddedFont>
      <p:font typeface="Wingdings 3" panose="05040102010807070707" pitchFamily="18" charset="2"/>
      <p:regular r:id="rId96"/>
    </p:embeddedFont>
    <p:embeddedFont>
      <p:font typeface="Consolas" panose="020B0609020204030204" pitchFamily="49" charset="0"/>
      <p:regular r:id="rId97"/>
      <p:bold r:id="rId98"/>
      <p:italic r:id="rId99"/>
      <p:boldItalic r:id="rId100"/>
    </p:embeddedFont>
    <p:embeddedFont>
      <p:font typeface="Segoe UI Light" panose="020B0502040204020203" pitchFamily="34" charset="0"/>
      <p:regular r:id="rId101"/>
      <p:italic r:id="rId102"/>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9A57CD"/>
    <a:srgbClr val="669900"/>
    <a:srgbClr val="0070C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122" autoAdjust="0"/>
    <p:restoredTop sz="94614" autoAdjust="0"/>
  </p:normalViewPr>
  <p:slideViewPr>
    <p:cSldViewPr snapToGrid="0">
      <p:cViewPr varScale="1">
        <p:scale>
          <a:sx n="96" d="100"/>
          <a:sy n="96" d="100"/>
        </p:scale>
        <p:origin x="672" y="5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font" Target="fonts/font9.fntdata"/><Relationship Id="rId89" Type="http://schemas.openxmlformats.org/officeDocument/2006/relationships/font" Target="fonts/font14.fntdata"/><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font" Target="fonts/font17.fntdata"/><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notesMaster" Target="notesMasters/notesMaster1.xml"/><Relationship Id="rId79" Type="http://schemas.openxmlformats.org/officeDocument/2006/relationships/font" Target="fonts/font4.fntdata"/><Relationship Id="rId87" Type="http://schemas.openxmlformats.org/officeDocument/2006/relationships/font" Target="fonts/font12.fntdata"/><Relationship Id="rId102" Type="http://schemas.openxmlformats.org/officeDocument/2006/relationships/font" Target="fonts/font27.fntdata"/><Relationship Id="rId5" Type="http://schemas.openxmlformats.org/officeDocument/2006/relationships/slideMaster" Target="slideMasters/slideMaster5.xml"/><Relationship Id="rId61" Type="http://schemas.openxmlformats.org/officeDocument/2006/relationships/slide" Target="slides/slide51.xml"/><Relationship Id="rId82" Type="http://schemas.openxmlformats.org/officeDocument/2006/relationships/font" Target="fonts/font7.fntdata"/><Relationship Id="rId90" Type="http://schemas.openxmlformats.org/officeDocument/2006/relationships/font" Target="fonts/font15.fntdata"/><Relationship Id="rId95" Type="http://schemas.openxmlformats.org/officeDocument/2006/relationships/font" Target="fonts/font20.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font" Target="fonts/font2.fntdata"/><Relationship Id="rId100" Type="http://schemas.openxmlformats.org/officeDocument/2006/relationships/font" Target="fonts/font25.fntdata"/><Relationship Id="rId105"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font" Target="fonts/font5.fntdata"/><Relationship Id="rId85" Type="http://schemas.openxmlformats.org/officeDocument/2006/relationships/font" Target="fonts/font10.fntdata"/><Relationship Id="rId93" Type="http://schemas.openxmlformats.org/officeDocument/2006/relationships/font" Target="fonts/font18.fntdata"/><Relationship Id="rId98" Type="http://schemas.openxmlformats.org/officeDocument/2006/relationships/font" Target="fonts/font23.fntdata"/><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handoutMaster" Target="handoutMasters/handoutMaster1.xml"/><Relationship Id="rId83" Type="http://schemas.openxmlformats.org/officeDocument/2006/relationships/font" Target="fonts/font8.fntdata"/><Relationship Id="rId88" Type="http://schemas.openxmlformats.org/officeDocument/2006/relationships/font" Target="fonts/font13.fntdata"/><Relationship Id="rId91" Type="http://schemas.openxmlformats.org/officeDocument/2006/relationships/font" Target="fonts/font16.fntdata"/><Relationship Id="rId96" Type="http://schemas.openxmlformats.org/officeDocument/2006/relationships/font" Target="fonts/font21.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font" Target="fonts/font3.fntdata"/><Relationship Id="rId81" Type="http://schemas.openxmlformats.org/officeDocument/2006/relationships/font" Target="fonts/font6.fntdata"/><Relationship Id="rId86" Type="http://schemas.openxmlformats.org/officeDocument/2006/relationships/font" Target="fonts/font11.fntdata"/><Relationship Id="rId94" Type="http://schemas.openxmlformats.org/officeDocument/2006/relationships/font" Target="fonts/font19.fntdata"/><Relationship Id="rId99" Type="http://schemas.openxmlformats.org/officeDocument/2006/relationships/font" Target="fonts/font24.fntdata"/><Relationship Id="rId101" Type="http://schemas.openxmlformats.org/officeDocument/2006/relationships/font" Target="fonts/font26.fntdata"/><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font" Target="fonts/font1.fntdata"/><Relationship Id="rId97" Type="http://schemas.openxmlformats.org/officeDocument/2006/relationships/font" Target="fonts/font22.fntdata"/><Relationship Id="rId10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4/12/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4/12/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4864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12309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80154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883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7586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405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185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9418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8774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00154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225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52656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04010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9404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6151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5934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402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7911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992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6408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4804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9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74281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5575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744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48533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2033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55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4120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95496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02420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o make this vision a reality, we Cortana Intelligence Suite – a suite of services in Intelligent cloud that transform data into intelligent insights and actions. </a:t>
            </a:r>
            <a:endParaRPr lang="en-US" dirty="0"/>
          </a:p>
        </p:txBody>
      </p:sp>
      <p:sp>
        <p:nvSpPr>
          <p:cNvPr id="4" name="Header Placeholder 3"/>
          <p:cNvSpPr>
            <a:spLocks noGrp="1"/>
          </p:cNvSpPr>
          <p:nvPr>
            <p:ph type="hdr" sz="quarter" idx="10"/>
          </p:nvPr>
        </p:nvSpPr>
        <p:spPr/>
        <p:txBody>
          <a:bodyPr/>
          <a:lstStyle/>
          <a:p>
            <a:pPr marL="0" marR="0" lvl="0" indent="0" algn="l" defTabSz="9504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mn-cs"/>
              </a:rPr>
              <a:t>© 2014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gradFill>
                <a:gsLst>
                  <a:gs pos="0">
                    <a:prstClr val="black"/>
                  </a:gs>
                  <a:gs pos="100000">
                    <a:prstClr val="black"/>
                  </a:gs>
                </a:gsLst>
                <a:lin ang="5400000" scaled="0"/>
              </a:gradFill>
              <a:effectLst/>
              <a:uLnTx/>
              <a:uFillTx/>
              <a:latin typeface="Calibri"/>
              <a:ea typeface="Segoe UI" pitchFamily="34" charset="0"/>
              <a:cs typeface="+mn-cs"/>
            </a:endParaRPr>
          </a:p>
        </p:txBody>
      </p:sp>
      <p:sp>
        <p:nvSpPr>
          <p:cNvPr id="6" name="Date Placeholder 5"/>
          <p:cNvSpPr>
            <a:spLocks noGrp="1"/>
          </p:cNvSpPr>
          <p:nvPr>
            <p:ph type="dt" idx="12"/>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4/12/2018 4:20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47028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93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storage/common/storage-introduction</a:t>
            </a:r>
          </a:p>
          <a:p>
            <a:r>
              <a:rPr lang="en-US" dirty="0"/>
              <a:t>https://docs.microsoft.com/en-us/azure/storage/</a:t>
            </a:r>
          </a:p>
          <a:p>
            <a:r>
              <a:rPr lang="en-US" dirty="0"/>
              <a:t>https://docs.microsoft.com/en-us/azure/virtual-machines/windows/premium-storage</a:t>
            </a:r>
          </a:p>
          <a:p>
            <a:r>
              <a:rPr lang="en-US" dirty="0"/>
              <a:t>https://docs.microsoft.com/en-us/azure/storage/files/storage-files-introduction</a:t>
            </a:r>
          </a:p>
          <a:p>
            <a:r>
              <a:rPr lang="en-US" dirty="0"/>
              <a:t>Blobs are basically files like those that you store on your computer</a:t>
            </a:r>
          </a:p>
          <a:p>
            <a:r>
              <a:rPr lang="en-US" dirty="0"/>
              <a:t>access them from anywhere in the world using URLs, the REST interface, or one of the Azure SDK storage client libraries. Storage client libraries are available for multiple languages, including Node.js, Java, PHP, Ruby, Python, and .NET.</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772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38214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3692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07564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21446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72007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Source: https://msdn.microsoft.com/en-us/library/mt169378(v=sql.130).aspx</a:t>
            </a:r>
          </a:p>
          <a:p>
            <a:endParaRPr lang="en-US" sz="1000" dirty="0"/>
          </a:p>
          <a:p>
            <a:r>
              <a:rPr lang="en-US" sz="1000" b="1" dirty="0">
                <a:effectLst/>
              </a:rPr>
              <a:t>Concepts and architecture for Stretch Database</a:t>
            </a:r>
          </a:p>
          <a:p>
            <a:r>
              <a:rPr lang="en-US" sz="1000" b="1" dirty="0">
                <a:effectLst/>
              </a:rPr>
              <a:t>Terms </a:t>
            </a:r>
          </a:p>
          <a:p>
            <a:pPr marL="171450" indent="-171450">
              <a:buFont typeface="Arial" panose="020B0604020202020204" pitchFamily="34" charset="0"/>
              <a:buChar char="•"/>
            </a:pPr>
            <a:r>
              <a:rPr lang="en-US" sz="1000" b="1" dirty="0">
                <a:effectLst/>
              </a:rPr>
              <a:t>Local database</a:t>
            </a:r>
            <a:r>
              <a:rPr lang="en-US" sz="1000" dirty="0">
                <a:effectLst/>
              </a:rPr>
              <a:t>. The on-premises SQL Server 2016 database.</a:t>
            </a:r>
          </a:p>
          <a:p>
            <a:pPr marL="171450" indent="-171450">
              <a:buFont typeface="Arial" panose="020B0604020202020204" pitchFamily="34" charset="0"/>
              <a:buChar char="•"/>
            </a:pPr>
            <a:r>
              <a:rPr lang="en-US" sz="1000" b="1" dirty="0">
                <a:effectLst/>
              </a:rPr>
              <a:t>Remote endpoint</a:t>
            </a:r>
            <a:r>
              <a:rPr lang="en-US" sz="1000" dirty="0">
                <a:effectLst/>
              </a:rPr>
              <a:t>. The location in Microsoft Azure that contains the database remote data. In SQL Server 2016, this is an Azure SQL Database server. This is subject to change in the future.</a:t>
            </a:r>
          </a:p>
          <a:p>
            <a:pPr marL="171450" indent="-171450">
              <a:buFont typeface="Arial" panose="020B0604020202020204" pitchFamily="34" charset="0"/>
              <a:buChar char="•"/>
            </a:pPr>
            <a:r>
              <a:rPr lang="en-US" sz="1000" b="1" dirty="0">
                <a:effectLst/>
              </a:rPr>
              <a:t>Local data</a:t>
            </a:r>
            <a:r>
              <a:rPr lang="en-US" sz="1000" dirty="0">
                <a:effectLst/>
              </a:rPr>
              <a:t>. Data in a database with Stretch Database enabled that will not be moved to Azure based on the Stretch Database configuration of the tables in the database.</a:t>
            </a:r>
          </a:p>
          <a:p>
            <a:pPr marL="171450" indent="-171450">
              <a:buFont typeface="Arial" panose="020B0604020202020204" pitchFamily="34" charset="0"/>
              <a:buChar char="•"/>
            </a:pPr>
            <a:r>
              <a:rPr lang="en-US" sz="1000" b="1" dirty="0">
                <a:effectLst/>
              </a:rPr>
              <a:t>Eligible data</a:t>
            </a:r>
            <a:r>
              <a:rPr lang="en-US" sz="1000" dirty="0">
                <a:effectLst/>
              </a:rPr>
              <a:t>. Data in a database with Stretch Database enabled that has not yet been moved, but will be moved to Azure based on the Stretch Database configuration of the tables in the database. </a:t>
            </a:r>
          </a:p>
          <a:p>
            <a:pPr marL="171450" indent="-171450">
              <a:buFont typeface="Arial" panose="020B0604020202020204" pitchFamily="34" charset="0"/>
              <a:buChar char="•"/>
            </a:pPr>
            <a:r>
              <a:rPr lang="en-US" sz="1000" b="1" dirty="0">
                <a:effectLst/>
              </a:rPr>
              <a:t>Remote data</a:t>
            </a:r>
            <a:r>
              <a:rPr lang="en-US" sz="1000" dirty="0">
                <a:effectLst/>
              </a:rPr>
              <a:t>. Data in a database with Stretch Database enabled that has already been moved to Azure.</a:t>
            </a:r>
          </a:p>
          <a:p>
            <a:endParaRPr lang="en-US" sz="1000" dirty="0">
              <a:effectLst/>
            </a:endParaRPr>
          </a:p>
          <a:p>
            <a:r>
              <a:rPr lang="en-US" sz="1000" b="1" dirty="0">
                <a:effectLst/>
              </a:rPr>
              <a:t>Architecture </a:t>
            </a:r>
          </a:p>
          <a:p>
            <a:r>
              <a:rPr lang="en-US" sz="1000" dirty="0">
                <a:effectLst/>
              </a:rPr>
              <a:t>Stretch Database </a:t>
            </a:r>
            <a:r>
              <a:rPr lang="en-US" sz="1000" dirty="0"/>
              <a:t>uses</a:t>
            </a:r>
            <a:r>
              <a:rPr lang="en-US" sz="1000" dirty="0">
                <a:effectLst/>
              </a:rPr>
              <a:t> the resources in Microsoft Azure to offload archival data storage and query processing.</a:t>
            </a:r>
          </a:p>
          <a:p>
            <a:r>
              <a:rPr lang="en-US" sz="1000" dirty="0">
                <a:effectLst/>
              </a:rPr>
              <a:t>When you enable Stretch Database on a database, it creates a secure linked server definition in the on-premises SQL Server. This linked server definition has the remote endpoint as the target. When you enable Stretch Database on a table in the database, it provisions remote resources and begins to migrate eligible data—if migration is enabled.</a:t>
            </a:r>
          </a:p>
          <a:p>
            <a:r>
              <a:rPr lang="en-US" sz="1000" dirty="0">
                <a:effectLst/>
              </a:rPr>
              <a:t>Queries against tables with Stretch Database automatically enabled to run against both the local database and the remote endpoint. Stretch Database </a:t>
            </a:r>
            <a:r>
              <a:rPr lang="en-US" sz="1000" dirty="0"/>
              <a:t>uses the</a:t>
            </a:r>
            <a:r>
              <a:rPr lang="en-US" sz="1000" dirty="0">
                <a:effectLst/>
              </a:rPr>
              <a:t> processing power in Azure to run queries against remote data by rewriting the query. You can see this rewriting as a “remote query” operator in the new query plan.</a:t>
            </a:r>
          </a:p>
          <a:p>
            <a:endParaRPr lang="en-US" sz="1000" dirty="0">
              <a:effectLst/>
            </a:endParaRPr>
          </a:p>
        </p:txBody>
      </p:sp>
      <p:sp>
        <p:nvSpPr>
          <p:cNvPr id="4" name="Slide Number Placeholder 3"/>
          <p:cNvSpPr>
            <a:spLocks noGrp="1"/>
          </p:cNvSpPr>
          <p:nvPr>
            <p:ph type="sldNum" sz="quarter" idx="10"/>
          </p:nvPr>
        </p:nvSpPr>
        <p:spPr>
          <a:xfrm>
            <a:off x="3968763" y="9526686"/>
            <a:ext cx="2971800" cy="458787"/>
          </a:xfrm>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9711036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73905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384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2298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6894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3157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4157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latin typeface="Segoe UI Light" pitchFamily="34" charset="0"/>
                <a:ea typeface="+mn-ea"/>
                <a:cs typeface="+mn-cs"/>
              </a:rPr>
              <a:t>Azure Cosmos DB </a:t>
            </a:r>
            <a:r>
              <a:rPr lang="en-US" sz="1200" kern="1200" dirty="0">
                <a:solidFill>
                  <a:schemeClr val="tx1"/>
                </a:solidFill>
                <a:latin typeface="Segoe UI Light" pitchFamily="34" charset="0"/>
                <a:ea typeface="+mn-ea"/>
                <a:cs typeface="+mn-cs"/>
              </a:rPr>
              <a:t>offers the first globally distributed, multi-model database service for building planet scale apps. It’s been powering Microsoft’s internet-scale services for years, and now it’s ready to launch yours.</a:t>
            </a:r>
          </a:p>
          <a:p>
            <a:r>
              <a:rPr lang="en-US" sz="1200" kern="1200" dirty="0">
                <a:solidFill>
                  <a:schemeClr val="tx1"/>
                </a:solidFill>
                <a:latin typeface="Segoe UI Light" pitchFamily="34" charset="0"/>
                <a:ea typeface="+mn-ea"/>
                <a:cs typeface="+mn-cs"/>
              </a:rPr>
              <a:t>Only Azure Cosmos DB makes </a:t>
            </a:r>
            <a:r>
              <a:rPr lang="en-US" sz="1200" b="1" kern="1200" dirty="0">
                <a:solidFill>
                  <a:schemeClr val="tx1"/>
                </a:solidFill>
                <a:latin typeface="Segoe UI Light" pitchFamily="34" charset="0"/>
                <a:ea typeface="+mn-ea"/>
                <a:cs typeface="+mn-cs"/>
              </a:rPr>
              <a:t>global distribution turn-key</a:t>
            </a:r>
            <a:r>
              <a:rPr lang="en-US" sz="1200" kern="1200" dirty="0">
                <a:solidFill>
                  <a:schemeClr val="tx1"/>
                </a:solidFill>
                <a:latin typeface="Segoe UI Light" pitchFamily="34" charset="0"/>
                <a:ea typeface="+mn-ea"/>
                <a:cs typeface="+mn-cs"/>
              </a:rPr>
              <a:t>.  </a:t>
            </a:r>
          </a:p>
          <a:p>
            <a:endParaRPr lang="en-US" sz="1200" kern="1200" dirty="0">
              <a:solidFill>
                <a:schemeClr val="tx1"/>
              </a:solidFill>
              <a:latin typeface="Segoe UI Light" pitchFamily="34" charset="0"/>
              <a:ea typeface="+mn-ea"/>
              <a:cs typeface="+mn-cs"/>
            </a:endParaRPr>
          </a:p>
          <a:p>
            <a:r>
              <a:rPr lang="en-US" sz="1200" kern="1200" dirty="0">
                <a:solidFill>
                  <a:schemeClr val="tx1"/>
                </a:solidFill>
                <a:latin typeface="Segoe UI Light" pitchFamily="34" charset="0"/>
                <a:ea typeface="+mn-ea"/>
                <a:cs typeface="+mn-cs"/>
              </a:rPr>
              <a:t>You can </a:t>
            </a:r>
            <a:r>
              <a:rPr lang="en-US" sz="1200" b="1" kern="1200" dirty="0">
                <a:solidFill>
                  <a:schemeClr val="tx1"/>
                </a:solidFill>
                <a:latin typeface="Segoe UI Light" pitchFamily="34" charset="0"/>
                <a:ea typeface="+mn-ea"/>
                <a:cs typeface="+mn-cs"/>
              </a:rPr>
              <a:t>add Azure locations to your database anywhere across the world</a:t>
            </a:r>
            <a:r>
              <a:rPr lang="en-US" sz="1200" kern="1200" dirty="0">
                <a:solidFill>
                  <a:schemeClr val="tx1"/>
                </a:solidFill>
                <a:latin typeface="Segoe UI Light" pitchFamily="34" charset="0"/>
                <a:ea typeface="+mn-ea"/>
                <a:cs typeface="+mn-cs"/>
              </a:rPr>
              <a:t>, at any time, with a single click. Cosmos DB will seamlessly replicate your data and make it highly available. </a:t>
            </a:r>
          </a:p>
          <a:p>
            <a:r>
              <a:rPr lang="en-US" sz="1200" kern="1200" dirty="0">
                <a:solidFill>
                  <a:schemeClr val="tx1"/>
                </a:solidFill>
                <a:latin typeface="Segoe UI Light" pitchFamily="34" charset="0"/>
                <a:ea typeface="+mn-ea"/>
                <a:cs typeface="+mn-cs"/>
              </a:rPr>
              <a:t> </a:t>
            </a:r>
          </a:p>
          <a:p>
            <a:r>
              <a:rPr lang="en-US" sz="1200" kern="1200" dirty="0">
                <a:solidFill>
                  <a:schemeClr val="tx1"/>
                </a:solidFill>
                <a:latin typeface="Segoe UI Light" pitchFamily="34" charset="0"/>
                <a:ea typeface="+mn-ea"/>
                <a:cs typeface="+mn-cs"/>
              </a:rPr>
              <a:t>Cosmos DB allows you to </a:t>
            </a:r>
            <a:r>
              <a:rPr lang="en-US" sz="1200" b="1" kern="1200" dirty="0">
                <a:solidFill>
                  <a:schemeClr val="tx1"/>
                </a:solidFill>
                <a:latin typeface="Segoe UI Light" pitchFamily="34" charset="0"/>
                <a:ea typeface="+mn-ea"/>
                <a:cs typeface="+mn-cs"/>
              </a:rPr>
              <a:t>scale throughout and storage elastically</a:t>
            </a:r>
            <a:r>
              <a:rPr lang="en-US" sz="1200" kern="1200" dirty="0">
                <a:solidFill>
                  <a:schemeClr val="tx1"/>
                </a:solidFill>
                <a:latin typeface="Segoe UI Light" pitchFamily="34" charset="0"/>
                <a:ea typeface="+mn-ea"/>
                <a:cs typeface="+mn-cs"/>
              </a:rPr>
              <a:t>, and </a:t>
            </a:r>
            <a:r>
              <a:rPr lang="en-US" sz="1200" b="1" kern="1200" dirty="0">
                <a:solidFill>
                  <a:schemeClr val="tx1"/>
                </a:solidFill>
                <a:latin typeface="Segoe UI Light" pitchFamily="34" charset="0"/>
                <a:ea typeface="+mn-ea"/>
                <a:cs typeface="+mn-cs"/>
              </a:rPr>
              <a:t>globally</a:t>
            </a:r>
            <a:r>
              <a:rPr lang="en-US" sz="1200" kern="1200" dirty="0">
                <a:solidFill>
                  <a:schemeClr val="tx1"/>
                </a:solidFill>
                <a:latin typeface="Segoe UI Light" pitchFamily="34" charset="0"/>
                <a:ea typeface="+mn-ea"/>
                <a:cs typeface="+mn-cs"/>
              </a:rPr>
              <a:t>! You only pay for the throughput and storage you need – anywhere in the world, at any tim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24033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8569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88262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29687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57341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19475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736725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2/2018 4: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999042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2/2018 4: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7495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49821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2/2018 4: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32114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C62DFD-8294-40A6-847A-5CCE5C3977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972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03491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1105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280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10195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953" y="5132438"/>
            <a:ext cx="6434915"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44953" y="2415642"/>
            <a:ext cx="6434915"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6676870" y="2418735"/>
            <a:ext cx="2315960"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8048849" y="4630992"/>
            <a:ext cx="848766" cy="334740"/>
          </a:xfrm>
          <a:prstGeom prst="rect">
            <a:avLst/>
          </a:prstGeom>
        </p:spPr>
      </p:pic>
    </p:spTree>
    <p:extLst>
      <p:ext uri="{BB962C8B-B14F-4D97-AF65-F5344CB8AC3E}">
        <p14:creationId xmlns:p14="http://schemas.microsoft.com/office/powerpoint/2010/main" val="273760512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8282356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1_Diagram layout">
    <p:bg>
      <p:bgPr>
        <a:solidFill>
          <a:schemeClr val="bg1"/>
        </a:solidFill>
        <a:effectLst/>
      </p:bgPr>
    </p:bg>
    <p:spTree>
      <p:nvGrpSpPr>
        <p:cNvPr id="1" name=""/>
        <p:cNvGrpSpPr/>
        <p:nvPr/>
      </p:nvGrpSpPr>
      <p:grpSpPr>
        <a:xfrm>
          <a:off x="0" y="0"/>
          <a:ext cx="0" cy="0"/>
          <a:chOff x="0" y="0"/>
          <a:chExt cx="0" cy="0"/>
        </a:xfrm>
      </p:grpSpPr>
      <p:sp>
        <p:nvSpPr>
          <p:cNvPr id="8" name="Freeform: Shape 7"/>
          <p:cNvSpPr/>
          <p:nvPr/>
        </p:nvSpPr>
        <p:spPr>
          <a:xfrm>
            <a:off x="1" y="1428467"/>
            <a:ext cx="9143999" cy="5429535"/>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672290">
              <a:defRPr/>
            </a:pPr>
            <a:endParaRPr lang="en-US" sz="1324" kern="0">
              <a:solidFill>
                <a:prstClr val="white"/>
              </a:solidFill>
            </a:endParaRPr>
          </a:p>
        </p:txBody>
      </p:sp>
      <p:sp>
        <p:nvSpPr>
          <p:cNvPr id="4" name="Text Placeholder 3"/>
          <p:cNvSpPr>
            <a:spLocks noGrp="1"/>
          </p:cNvSpPr>
          <p:nvPr>
            <p:ph type="body" sz="quarter" idx="10"/>
          </p:nvPr>
        </p:nvSpPr>
        <p:spPr>
          <a:xfrm>
            <a:off x="5769416" y="1889197"/>
            <a:ext cx="2983159" cy="4576917"/>
          </a:xfrm>
        </p:spPr>
        <p:txBody>
          <a:bodyPr>
            <a:noAutofit/>
          </a:bodyPr>
          <a:lstStyle>
            <a:lvl1pPr>
              <a:buClr>
                <a:schemeClr val="accent1"/>
              </a:buClr>
              <a:defRPr sz="1500">
                <a:solidFill>
                  <a:schemeClr val="tx2"/>
                </a:solidFill>
                <a:latin typeface="+mj-lt"/>
              </a:defRPr>
            </a:lvl1pPr>
            <a:lvl2pPr>
              <a:buClr>
                <a:schemeClr val="accent1"/>
              </a:buClr>
              <a:defRPr sz="1350">
                <a:solidFill>
                  <a:schemeClr val="tx2"/>
                </a:solidFill>
                <a:latin typeface="+mj-lt"/>
              </a:defRPr>
            </a:lvl2pPr>
            <a:lvl3pPr>
              <a:buClr>
                <a:schemeClr val="accent1"/>
              </a:buClr>
              <a:defRPr sz="1200">
                <a:solidFill>
                  <a:schemeClr val="tx2"/>
                </a:solidFill>
                <a:latin typeface="+mj-lt"/>
              </a:defRPr>
            </a:lvl3pPr>
            <a:lvl4pPr>
              <a:buClr>
                <a:schemeClr val="accent1"/>
              </a:buClr>
              <a:defRPr sz="1050">
                <a:solidFill>
                  <a:schemeClr val="tx2"/>
                </a:solidFill>
                <a:latin typeface="+mj-lt"/>
              </a:defRPr>
            </a:lvl4pPr>
            <a:lvl5pPr>
              <a:buClr>
                <a:schemeClr val="accent1"/>
              </a:buClr>
              <a:defRPr sz="105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243348" y="358848"/>
            <a:ext cx="8538157" cy="892552"/>
          </a:xfrm>
        </p:spPr>
        <p:txBody>
          <a:bodyPr anchor="ctr">
            <a:normAutofit/>
          </a:bodyPr>
          <a:lstStyle>
            <a:lvl1pPr>
              <a:defRPr sz="2700">
                <a:solidFill>
                  <a:schemeClr val="tx2"/>
                </a:solidFill>
              </a:defRPr>
            </a:lvl1pPr>
          </a:lstStyle>
          <a:p>
            <a:r>
              <a:rPr lang="en-US" dirty="0"/>
              <a:t>Click to edit Master title style</a:t>
            </a:r>
          </a:p>
        </p:txBody>
      </p:sp>
      <p:sp>
        <p:nvSpPr>
          <p:cNvPr id="7" name="Text Placeholder 6"/>
          <p:cNvSpPr>
            <a:spLocks noGrp="1"/>
          </p:cNvSpPr>
          <p:nvPr>
            <p:ph type="body" sz="quarter" idx="11"/>
          </p:nvPr>
        </p:nvSpPr>
        <p:spPr>
          <a:xfrm>
            <a:off x="1" y="110400"/>
            <a:ext cx="2286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05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16862452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F770BDB5-9302-4A72-AFF3-5588E374E395}" type="datetimeFigureOut">
              <a:rPr lang="en-US" smtClean="0">
                <a:solidFill>
                  <a:srgbClr val="505050"/>
                </a:solidFill>
              </a:rPr>
              <a:pPr/>
              <a:t>4/12/2018</a:t>
            </a:fld>
            <a:endParaRPr lang="en-US">
              <a:solidFill>
                <a:srgbClr val="50505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4436935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lIns="146304" tIns="91440" rIns="146304" bIns="91440"/>
          <a:lstStyle>
            <a:lvl1pPr algn="l">
              <a:defRPr sz="2941">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396261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36159" y="6437742"/>
            <a:ext cx="2894705"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685129"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47298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Mission Critical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125098"/>
            <a:ext cx="8568328" cy="1054884"/>
          </a:xfrm>
        </p:spPr>
        <p:txBody>
          <a:bodyPr lIns="146304" tIns="91440" rIns="146304" bIns="91440"/>
          <a:lstStyle>
            <a:lvl1pPr>
              <a:lnSpc>
                <a:spcPts val="4541"/>
              </a:lnSpc>
              <a:defRPr sz="2941" baseline="0">
                <a:solidFill>
                  <a:schemeClr val="tx1"/>
                </a:solidFill>
              </a:defRPr>
            </a:lvl1pPr>
          </a:lstStyle>
          <a:p>
            <a:r>
              <a:rPr lang="en-US"/>
              <a:t>Lorem ipsum dolor sit.</a:t>
            </a:r>
            <a:endParaRPr lang="en-US" dirty="0"/>
          </a:p>
        </p:txBody>
      </p:sp>
      <p:grpSp>
        <p:nvGrpSpPr>
          <p:cNvPr id="11" name="Group 10"/>
          <p:cNvGrpSpPr/>
          <p:nvPr/>
        </p:nvGrpSpPr>
        <p:grpSpPr>
          <a:xfrm>
            <a:off x="-883" y="6514984"/>
            <a:ext cx="9144235"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16" name="Text Placeholder 2"/>
          <p:cNvSpPr>
            <a:spLocks noGrp="1"/>
          </p:cNvSpPr>
          <p:nvPr>
            <p:ph type="body" sz="quarter" idx="13"/>
          </p:nvPr>
        </p:nvSpPr>
        <p:spPr>
          <a:xfrm>
            <a:off x="197962" y="1324594"/>
            <a:ext cx="8745277" cy="4827325"/>
          </a:xfrm>
        </p:spPr>
        <p:txBody>
          <a:bodyPr/>
          <a:lstStyle>
            <a:lvl1pPr marL="0" indent="0">
              <a:lnSpc>
                <a:spcPct val="100000"/>
              </a:lnSpc>
              <a:spcBef>
                <a:spcPts val="1471"/>
              </a:spcBef>
              <a:buFontTx/>
              <a:buNone/>
              <a:defRPr sz="2353">
                <a:solidFill>
                  <a:srgbClr val="C00000"/>
                </a:solidFill>
              </a:defRPr>
            </a:lvl1pPr>
            <a:lvl2pPr marL="252109" indent="0">
              <a:lnSpc>
                <a:spcPct val="100000"/>
              </a:lnSpc>
              <a:spcBef>
                <a:spcPts val="1471"/>
              </a:spcBef>
              <a:buFontTx/>
              <a:buNone/>
              <a:defRPr/>
            </a:lvl2pPr>
            <a:lvl3pPr marL="420181" indent="0">
              <a:lnSpc>
                <a:spcPct val="100000"/>
              </a:lnSpc>
              <a:spcBef>
                <a:spcPts val="1471"/>
              </a:spcBef>
              <a:buFontTx/>
              <a:buNone/>
              <a:defRPr/>
            </a:lvl3pPr>
            <a:lvl4pPr marL="588254" indent="0">
              <a:lnSpc>
                <a:spcPct val="100000"/>
              </a:lnSpc>
              <a:spcBef>
                <a:spcPts val="1471"/>
              </a:spcBef>
              <a:buFontTx/>
              <a:buNone/>
              <a:defRPr/>
            </a:lvl4pPr>
            <a:lvl5pPr marL="756326" indent="0">
              <a:lnSpc>
                <a:spcPct val="100000"/>
              </a:lnSpc>
              <a:spcBef>
                <a:spcPts val="147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86816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3_Custom Layout">
    <p:bg>
      <p:bgPr>
        <a:solidFill>
          <a:schemeClr val="accent4"/>
        </a:solidFill>
        <a:effectLst/>
      </p:bgPr>
    </p:bg>
    <p:spTree>
      <p:nvGrpSpPr>
        <p:cNvPr id="1" name=""/>
        <p:cNvGrpSpPr/>
        <p:nvPr/>
      </p:nvGrpSpPr>
      <p:grpSpPr>
        <a:xfrm>
          <a:off x="0" y="0"/>
          <a:ext cx="0" cy="0"/>
          <a:chOff x="0" y="0"/>
          <a:chExt cx="0" cy="0"/>
        </a:xfrm>
      </p:grpSpPr>
      <p:sp>
        <p:nvSpPr>
          <p:cNvPr id="1392" name="Rectangle 1391"/>
          <p:cNvSpPr/>
          <p:nvPr/>
        </p:nvSpPr>
        <p:spPr bwMode="auto">
          <a:xfrm>
            <a:off x="86195" y="75958"/>
            <a:ext cx="9586057" cy="6727537"/>
          </a:xfrm>
          <a:prstGeom prst="rect">
            <a:avLst/>
          </a:prstGeom>
          <a:blipFill>
            <a:blip r:embed="rId2">
              <a:alphaModFix amt="80000"/>
            </a:blip>
            <a:srcRect/>
            <a:stretch>
              <a:fillRect l="-89347" r="-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252109" indent="-252109" algn="ctr" defTabSz="685577" fontAlgn="base">
              <a:lnSpc>
                <a:spcPct val="90000"/>
              </a:lnSpc>
              <a:spcBef>
                <a:spcPct val="0"/>
              </a:spcBef>
              <a:spcAft>
                <a:spcPct val="0"/>
              </a:spcAft>
              <a:buFont typeface="Wingdings 3" panose="05040102010807070707" pitchFamily="18" charset="2"/>
              <a:buChar char="Æ"/>
            </a:pPr>
            <a:endParaRPr lang="en-US" sz="1471" b="1" dirty="0" err="1">
              <a:solidFill>
                <a:schemeClr val="bg1"/>
              </a:solidFill>
              <a:latin typeface="+mj-lt"/>
              <a:ea typeface="Segoe UI" pitchFamily="34" charset="0"/>
              <a:cs typeface="Segoe UI" pitchFamily="34" charset="0"/>
            </a:endParaRPr>
          </a:p>
        </p:txBody>
      </p:sp>
      <p:pic>
        <p:nvPicPr>
          <p:cNvPr id="19" name="Picture 18"/>
          <p:cNvPicPr>
            <a:picLocks noChangeAspect="1"/>
          </p:cNvPicPr>
          <p:nvPr/>
        </p:nvPicPr>
        <p:blipFill rotWithShape="1">
          <a:blip r:embed="rId3"/>
          <a:srcRect l="3690" t="27657" r="2751" b="17378"/>
          <a:stretch/>
        </p:blipFill>
        <p:spPr>
          <a:xfrm>
            <a:off x="86195" y="1"/>
            <a:ext cx="9144558" cy="6857411"/>
          </a:xfrm>
          <a:prstGeom prst="rect">
            <a:avLst/>
          </a:prstGeom>
        </p:spPr>
      </p:pic>
      <p:pic>
        <p:nvPicPr>
          <p:cNvPr id="23" name="Picture 22"/>
          <p:cNvPicPr>
            <a:picLocks noChangeAspect="1"/>
          </p:cNvPicPr>
          <p:nvPr/>
        </p:nvPicPr>
        <p:blipFill rotWithShape="1">
          <a:blip r:embed="rId4"/>
          <a:srcRect l="5796" t="5241" b="19866"/>
          <a:stretch/>
        </p:blipFill>
        <p:spPr>
          <a:xfrm>
            <a:off x="0" y="-48462"/>
            <a:ext cx="6832323" cy="6930105"/>
          </a:xfrm>
          <a:prstGeom prst="rect">
            <a:avLst/>
          </a:prstGeom>
        </p:spPr>
      </p:pic>
      <p:sp>
        <p:nvSpPr>
          <p:cNvPr id="1381" name="Title 1"/>
          <p:cNvSpPr txBox="1">
            <a:spLocks/>
          </p:cNvSpPr>
          <p:nvPr/>
        </p:nvSpPr>
        <p:spPr>
          <a:xfrm>
            <a:off x="227853" y="333918"/>
            <a:ext cx="3856027" cy="3406726"/>
          </a:xfrm>
          <a:prstGeom prst="rect">
            <a:avLst/>
          </a:prstGeom>
        </p:spPr>
        <p:txBody>
          <a:bodyPr vert="horz" wrap="square" lIns="107555" tIns="67223" rIns="107555" bIns="67223"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3970" dirty="0">
              <a:solidFill>
                <a:srgbClr val="0072C6"/>
              </a:solidFill>
            </a:endParaRPr>
          </a:p>
        </p:txBody>
      </p:sp>
      <p:sp>
        <p:nvSpPr>
          <p:cNvPr id="1382" name="Title 1"/>
          <p:cNvSpPr>
            <a:spLocks noGrp="1"/>
          </p:cNvSpPr>
          <p:nvPr>
            <p:ph type="title"/>
          </p:nvPr>
        </p:nvSpPr>
        <p:spPr>
          <a:xfrm>
            <a:off x="201930" y="289514"/>
            <a:ext cx="3944097" cy="2386171"/>
          </a:xfrm>
        </p:spPr>
        <p:txBody>
          <a:bodyPr/>
          <a:lstStyle>
            <a:lvl1pPr>
              <a:defRPr sz="3971">
                <a:solidFill>
                  <a:schemeClr val="accent4"/>
                </a:solidFill>
              </a:defRPr>
            </a:lvl1pPr>
          </a:lstStyle>
          <a:p>
            <a:r>
              <a:rPr lang="en-US" dirty="0"/>
              <a:t>Click to edit Master title style</a:t>
            </a:r>
          </a:p>
        </p:txBody>
      </p:sp>
      <p:grpSp>
        <p:nvGrpSpPr>
          <p:cNvPr id="1383" name="Group 1382"/>
          <p:cNvGrpSpPr/>
          <p:nvPr/>
        </p:nvGrpSpPr>
        <p:grpSpPr>
          <a:xfrm>
            <a:off x="924856" y="2978459"/>
            <a:ext cx="1305393" cy="1740771"/>
            <a:chOff x="1257868" y="2914778"/>
            <a:chExt cx="1775425" cy="1775425"/>
          </a:xfrm>
        </p:grpSpPr>
        <p:grpSp>
          <p:nvGrpSpPr>
            <p:cNvPr id="1384" name="Group 1383"/>
            <p:cNvGrpSpPr/>
            <p:nvPr userDrawn="1"/>
          </p:nvGrpSpPr>
          <p:grpSpPr>
            <a:xfrm>
              <a:off x="1257868" y="2914778"/>
              <a:ext cx="1775425" cy="1775425"/>
              <a:chOff x="1068968" y="3223626"/>
              <a:chExt cx="1775425" cy="1775425"/>
            </a:xfrm>
            <a:solidFill>
              <a:srgbClr val="BA141A"/>
            </a:solidFill>
          </p:grpSpPr>
          <p:sp>
            <p:nvSpPr>
              <p:cNvPr id="1387" name="Donut 1386"/>
              <p:cNvSpPr/>
              <p:nvPr/>
            </p:nvSpPr>
            <p:spPr bwMode="auto">
              <a:xfrm>
                <a:off x="1068968" y="3223626"/>
                <a:ext cx="1775425" cy="1775425"/>
              </a:xfrm>
              <a:prstGeom prst="donut">
                <a:avLst>
                  <a:gd name="adj" fmla="val 7423"/>
                </a:avLst>
              </a:prstGeom>
              <a:solidFill>
                <a:srgbClr val="BA141A">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252060" marR="0" lvl="0" indent="-252060" algn="ctr" defTabSz="685445"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147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88" name="Freeform 5"/>
              <p:cNvSpPr>
                <a:spLocks/>
              </p:cNvSpPr>
              <p:nvPr/>
            </p:nvSpPr>
            <p:spPr bwMode="auto">
              <a:xfrm rot="18900000">
                <a:off x="1616206" y="3474252"/>
                <a:ext cx="376606" cy="352694"/>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89" name="Freeform 6"/>
              <p:cNvSpPr>
                <a:spLocks/>
              </p:cNvSpPr>
              <p:nvPr/>
            </p:nvSpPr>
            <p:spPr bwMode="auto">
              <a:xfrm rot="18900000">
                <a:off x="1942016" y="3461858"/>
                <a:ext cx="352695" cy="379596"/>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90" name="Freeform 7"/>
              <p:cNvSpPr>
                <a:spLocks/>
              </p:cNvSpPr>
              <p:nvPr/>
            </p:nvSpPr>
            <p:spPr bwMode="auto">
              <a:xfrm rot="18900000">
                <a:off x="1311425" y="3777538"/>
                <a:ext cx="379596" cy="352694"/>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91" name="Freeform 8"/>
              <p:cNvSpPr>
                <a:spLocks/>
              </p:cNvSpPr>
              <p:nvPr/>
            </p:nvSpPr>
            <p:spPr bwMode="auto">
              <a:xfrm rot="18900000">
                <a:off x="1331654" y="4082167"/>
                <a:ext cx="349706" cy="379596"/>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grpSp>
        <p:sp>
          <p:nvSpPr>
            <p:cNvPr id="1385" name="Freeform 1384"/>
            <p:cNvSpPr>
              <a:spLocks/>
            </p:cNvSpPr>
            <p:nvPr userDrawn="1"/>
          </p:nvSpPr>
          <p:spPr bwMode="auto">
            <a:xfrm rot="18900000">
              <a:off x="2170096" y="3434382"/>
              <a:ext cx="593840" cy="477384"/>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BA141A"/>
            </a:solidFill>
            <a:ln>
              <a:noFill/>
            </a:ln>
            <a:extLst/>
          </p:spPr>
          <p:txBody>
            <a:bodyPr vert="horz" wrap="square" lIns="91427" tIns="45713" rIns="91427" bIns="45713" numCol="1" anchor="t" anchorCtr="0" compatLnSpc="1">
              <a:prstTxWarp prst="textNoShape">
                <a:avLst/>
              </a:prstTxWarp>
              <a:noAutofit/>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86" name="Freeform 1385"/>
            <p:cNvSpPr>
              <a:spLocks/>
            </p:cNvSpPr>
            <p:nvPr userDrawn="1"/>
          </p:nvSpPr>
          <p:spPr bwMode="auto">
            <a:xfrm rot="19005034">
              <a:off x="2115065" y="3501231"/>
              <a:ext cx="616889" cy="599616"/>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BA141A">
                <a:lumMod val="50000"/>
              </a:srgbClr>
            </a:solidFill>
            <a:ln>
              <a:noFill/>
            </a:ln>
            <a:extLst/>
          </p:spPr>
          <p:txBody>
            <a:bodyPr vert="horz" wrap="square" lIns="91427" tIns="45713" rIns="91427" bIns="45713" numCol="1" anchor="t" anchorCtr="0" compatLnSpc="1">
              <a:prstTxWarp prst="textNoShape">
                <a:avLst/>
              </a:prstTxWarp>
              <a:noAutofit/>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grpSp>
    </p:spTree>
    <p:extLst>
      <p:ext uri="{BB962C8B-B14F-4D97-AF65-F5344CB8AC3E}">
        <p14:creationId xmlns:p14="http://schemas.microsoft.com/office/powerpoint/2010/main" val="37135082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4"/>
            <a:ext cx="8741309"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3148722"/>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p:nvGrpSpPr>
        <p:grpSpPr>
          <a:xfrm>
            <a:off x="-883" y="6514984"/>
            <a:ext cx="9144235" cy="353924"/>
            <a:chOff x="-1200" y="6644680"/>
            <a:chExt cx="12436794" cy="360970"/>
          </a:xfrm>
        </p:grpSpPr>
        <p:sp>
          <p:nvSpPr>
            <p:cNvPr id="5" name="TextBox 4"/>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615937001"/>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6"/>
            <a:ext cx="8740142" cy="1881541"/>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3897"/>
            </a:lvl1pPr>
          </a:lstStyle>
          <a:p>
            <a:r>
              <a:rPr lang="en-US" dirty="0"/>
              <a:t>Click to edit Master title style</a:t>
            </a:r>
          </a:p>
        </p:txBody>
      </p:sp>
    </p:spTree>
    <p:extLst>
      <p:ext uri="{BB962C8B-B14F-4D97-AF65-F5344CB8AC3E}">
        <p14:creationId xmlns:p14="http://schemas.microsoft.com/office/powerpoint/2010/main" val="174813804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881541"/>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990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1" y="304802"/>
            <a:ext cx="8458200" cy="685800"/>
          </a:xfrm>
          <a:noFill/>
        </p:spPr>
        <p:txBody>
          <a:bodyPr rIns="91440">
            <a:noAutofit/>
          </a:bodyPr>
          <a:lstStyle>
            <a:lvl1pPr>
              <a:defRPr sz="2699" baseline="0">
                <a:solidFill>
                  <a:schemeClr val="accent1"/>
                </a:solidFill>
                <a:latin typeface="Segoe UI Light" panose="020B0502040204020203" pitchFamily="34" charset="0"/>
                <a:cs typeface="Segoe UI Light"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304800" y="1143000"/>
            <a:ext cx="8382000" cy="4953000"/>
          </a:xfrm>
          <a:prstGeom prst="rect">
            <a:avLst/>
          </a:prstGeom>
        </p:spPr>
        <p:txBody>
          <a:bodyPr vert="horz" lIns="91440" tIns="45720">
            <a:normAutofit/>
          </a:bodyPr>
          <a:lstStyle>
            <a:lvl1pPr marL="0" indent="0">
              <a:lnSpc>
                <a:spcPct val="100000"/>
              </a:lnSpc>
              <a:spcBef>
                <a:spcPts val="225"/>
              </a:spcBef>
              <a:buFontTx/>
              <a:buNone/>
              <a:defRPr sz="1799" baseline="0">
                <a:solidFill>
                  <a:srgbClr val="3F3F3F"/>
                </a:solidFill>
                <a:latin typeface="Segoe UI Light" pitchFamily="34" charset="0"/>
              </a:defRPr>
            </a:lvl1pPr>
          </a:lstStyle>
          <a:p>
            <a:pPr lvl="0"/>
            <a:r>
              <a:rPr lang="en-US" dirty="0"/>
              <a:t>Click to edit slide content</a:t>
            </a:r>
          </a:p>
        </p:txBody>
      </p:sp>
      <p:sp>
        <p:nvSpPr>
          <p:cNvPr id="7" name="Slide Number Placeholder 3"/>
          <p:cNvSpPr>
            <a:spLocks noGrp="1"/>
          </p:cNvSpPr>
          <p:nvPr>
            <p:ph type="sldNum" sz="quarter" idx="11"/>
          </p:nvPr>
        </p:nvSpPr>
        <p:spPr>
          <a:xfrm>
            <a:off x="7015506" y="6492880"/>
            <a:ext cx="2133600" cy="365125"/>
          </a:xfrm>
        </p:spPr>
        <p:txBody>
          <a:bodyPr/>
          <a:lstStyle>
            <a:lvl1pPr>
              <a:defRPr>
                <a:solidFill>
                  <a:srgbClr val="3F3F3F"/>
                </a:solidFill>
                <a:latin typeface="+mn-lt"/>
              </a:defRPr>
            </a:lvl1pPr>
          </a:lstStyle>
          <a:p>
            <a:pPr defTabSz="685503"/>
            <a:fld id="{74A398B2-5A34-1A4A-811E-F4027282568C}" type="slidenum">
              <a:rPr lang="en-US" smtClean="0"/>
              <a:pPr defTabSz="685503"/>
              <a:t>‹#›</a:t>
            </a:fld>
            <a:endParaRPr lang="en-US"/>
          </a:p>
        </p:txBody>
      </p:sp>
      <p:sp>
        <p:nvSpPr>
          <p:cNvPr id="8" name="Slide Number Placeholder 3"/>
          <p:cNvSpPr txBox="1">
            <a:spLocks/>
          </p:cNvSpPr>
          <p:nvPr/>
        </p:nvSpPr>
        <p:spPr>
          <a:xfrm>
            <a:off x="3505201" y="6477005"/>
            <a:ext cx="2133600" cy="365125"/>
          </a:xfrm>
          <a:prstGeom prst="rect">
            <a:avLst/>
          </a:prstGeom>
        </p:spPr>
        <p:txBody>
          <a:bodyPr vert="horz" lIns="137086" tIns="34271" rIns="137086" bIns="34271"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3601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2885906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26951" y="1350549"/>
            <a:ext cx="5063639" cy="4826969"/>
          </a:xfrm>
          <a:solidFill>
            <a:schemeClr val="bg1">
              <a:lumMod val="95000"/>
            </a:schemeClr>
          </a:solidFill>
          <a:ln w="63500">
            <a:solidFill>
              <a:schemeClr val="accent4"/>
            </a:solidFill>
            <a:miter lim="800000"/>
          </a:ln>
        </p:spPr>
        <p:txBody>
          <a:bodyPr wrap="square">
            <a:normAutofit/>
          </a:bodyPr>
          <a:lstStyle>
            <a:lvl1pPr marL="0" indent="0" defTabSz="274268">
              <a:lnSpc>
                <a:spcPct val="100000"/>
              </a:lnSpc>
              <a:spcBef>
                <a:spcPts val="0"/>
              </a:spcBef>
              <a:buClr>
                <a:schemeClr val="tx1"/>
              </a:buClr>
              <a:buFont typeface="Wingdings" pitchFamily="2" charset="2"/>
              <a:buNone/>
              <a:defRPr sz="1350" baseline="0">
                <a:solidFill>
                  <a:schemeClr val="tx1"/>
                </a:solidFill>
                <a:latin typeface="Consolas" panose="020B0609020204030204" pitchFamily="49" charset="0"/>
                <a:cs typeface="Consolas" panose="020B0609020204030204" pitchFamily="49" charset="0"/>
              </a:defRPr>
            </a:lvl1pPr>
            <a:lvl2pPr marL="274268" indent="0" defTabSz="274268">
              <a:lnSpc>
                <a:spcPct val="100000"/>
              </a:lnSpc>
              <a:spcBef>
                <a:spcPts val="0"/>
              </a:spcBef>
              <a:buNone/>
              <a:defRPr sz="1350">
                <a:latin typeface="Consolas" panose="020B0609020204030204" pitchFamily="49" charset="0"/>
                <a:cs typeface="Consolas" panose="020B0609020204030204" pitchFamily="49" charset="0"/>
              </a:defRPr>
            </a:lvl2pPr>
            <a:lvl3pPr marL="548534" indent="0" defTabSz="274268">
              <a:lnSpc>
                <a:spcPct val="100000"/>
              </a:lnSpc>
              <a:spcBef>
                <a:spcPts val="0"/>
              </a:spcBef>
              <a:buNone/>
              <a:tabLst/>
              <a:defRPr sz="1350">
                <a:latin typeface="Consolas" panose="020B0609020204030204" pitchFamily="49" charset="0"/>
                <a:cs typeface="Consolas" panose="020B0609020204030204" pitchFamily="49" charset="0"/>
              </a:defRPr>
            </a:lvl3pPr>
            <a:lvl4pPr marL="822802" indent="0" defTabSz="274268">
              <a:lnSpc>
                <a:spcPct val="100000"/>
              </a:lnSpc>
              <a:spcBef>
                <a:spcPts val="0"/>
              </a:spcBef>
              <a:buNone/>
              <a:defRPr sz="1350">
                <a:latin typeface="Consolas" panose="020B0609020204030204" pitchFamily="49" charset="0"/>
                <a:cs typeface="Consolas" panose="020B0609020204030204" pitchFamily="49" charset="0"/>
              </a:defRPr>
            </a:lvl4pPr>
            <a:lvl5pPr marL="1097069" indent="0" defTabSz="274268">
              <a:lnSpc>
                <a:spcPct val="100000"/>
              </a:lnSpc>
              <a:spcBef>
                <a:spcPts val="0"/>
              </a:spcBef>
              <a:buNone/>
              <a:tabLst/>
              <a:defRPr sz="135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p:nvGrpSpPr>
        <p:grpSpPr>
          <a:xfrm>
            <a:off x="-883" y="6514984"/>
            <a:ext cx="9144235" cy="353924"/>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20" name="Text Placeholder 2"/>
          <p:cNvSpPr>
            <a:spLocks noGrp="1"/>
          </p:cNvSpPr>
          <p:nvPr>
            <p:ph type="body" sz="quarter" idx="13" hasCustomPrompt="1"/>
          </p:nvPr>
        </p:nvSpPr>
        <p:spPr>
          <a:xfrm>
            <a:off x="5561803" y="1324594"/>
            <a:ext cx="3381436" cy="4827325"/>
          </a:xfrm>
        </p:spPr>
        <p:txBody>
          <a:bodyPr/>
          <a:lstStyle>
            <a:lvl1pPr marL="0" indent="0">
              <a:lnSpc>
                <a:spcPct val="100000"/>
              </a:lnSpc>
              <a:spcBef>
                <a:spcPts val="1471"/>
              </a:spcBef>
              <a:buFontTx/>
              <a:buNone/>
              <a:defRPr lang="en-US" sz="1765" kern="1200" dirty="0" smtClean="0">
                <a:solidFill>
                  <a:schemeClr val="accent4"/>
                </a:solidFill>
                <a:latin typeface="+mj-lt"/>
                <a:ea typeface="ＭＳ Ｐゴシック" charset="0"/>
                <a:cs typeface="ＭＳ Ｐゴシック" charset="0"/>
              </a:defRPr>
            </a:lvl1pPr>
            <a:lvl2pPr marL="252109" indent="0">
              <a:lnSpc>
                <a:spcPct val="100000"/>
              </a:lnSpc>
              <a:spcBef>
                <a:spcPts val="1471"/>
              </a:spcBef>
              <a:buFontTx/>
              <a:buNone/>
              <a:defRPr lang="en-US" sz="1441" b="0" kern="1200" dirty="0" smtClean="0">
                <a:solidFill>
                  <a:schemeClr val="tx1"/>
                </a:solidFill>
                <a:latin typeface="+mn-lt"/>
                <a:ea typeface="ＭＳ Ｐゴシック" charset="0"/>
                <a:cs typeface="Segoe UI Semibold" panose="020B0702040204020203" pitchFamily="34" charset="0"/>
              </a:defRPr>
            </a:lvl2pPr>
            <a:lvl3pPr marL="420181" indent="0">
              <a:lnSpc>
                <a:spcPct val="100000"/>
              </a:lnSpc>
              <a:spcBef>
                <a:spcPts val="1471"/>
              </a:spcBef>
              <a:buFontTx/>
              <a:buNone/>
              <a:defRPr/>
            </a:lvl3pPr>
            <a:lvl4pPr marL="588254" indent="0">
              <a:lnSpc>
                <a:spcPct val="100000"/>
              </a:lnSpc>
              <a:spcBef>
                <a:spcPts val="1471"/>
              </a:spcBef>
              <a:buFontTx/>
              <a:buNone/>
              <a:defRPr/>
            </a:lvl4pPr>
            <a:lvl5pPr marL="756326" indent="0">
              <a:lnSpc>
                <a:spcPct val="100000"/>
              </a:lnSpc>
              <a:spcBef>
                <a:spcPts val="1471"/>
              </a:spcBef>
              <a:buFontTx/>
              <a:buNone/>
              <a:defRPr/>
            </a:lvl5pPr>
          </a:lstStyle>
          <a:p>
            <a:pPr marL="0" lvl="0" indent="0" algn="l" defTabSz="685129" rtl="0" fontAlgn="base">
              <a:lnSpc>
                <a:spcPct val="100000"/>
              </a:lnSpc>
              <a:spcBef>
                <a:spcPts val="900"/>
              </a:spcBef>
              <a:spcAft>
                <a:spcPts val="882"/>
              </a:spcAft>
              <a:buClr>
                <a:schemeClr val="tx1"/>
              </a:buClr>
              <a:buSzPct val="90000"/>
              <a:buFont typeface="Wingdings" pitchFamily="2" charset="2"/>
              <a:buNone/>
            </a:pPr>
            <a:r>
              <a:rPr lang="en-US" dirty="0"/>
              <a:t>Click to edit Master text styles</a:t>
            </a:r>
          </a:p>
          <a:p>
            <a:pPr marL="0" lvl="1" indent="0" algn="l" defTabSz="685129" rtl="0" fontAlgn="base">
              <a:lnSpc>
                <a:spcPct val="100000"/>
              </a:lnSpc>
              <a:spcBef>
                <a:spcPts val="450"/>
              </a:spcBef>
              <a:spcAft>
                <a:spcPts val="882"/>
              </a:spcAft>
              <a:buSzPct val="90000"/>
              <a:buFont typeface="Arial" charset="0"/>
              <a:buNone/>
            </a:pPr>
            <a:r>
              <a:rPr lang="en-US" dirty="0"/>
              <a:t>Second level</a:t>
            </a:r>
          </a:p>
        </p:txBody>
      </p:sp>
      <p:sp>
        <p:nvSpPr>
          <p:cNvPr id="23" name="Text Placeholder 4"/>
          <p:cNvSpPr>
            <a:spLocks noGrp="1"/>
          </p:cNvSpPr>
          <p:nvPr>
            <p:ph type="body" sz="quarter" idx="14"/>
          </p:nvPr>
        </p:nvSpPr>
        <p:spPr>
          <a:xfrm>
            <a:off x="197961" y="121888"/>
            <a:ext cx="8565339" cy="1057931"/>
          </a:xfrm>
        </p:spPr>
        <p:txBody>
          <a:bodyPr lIns="146304" tIns="91440" rIns="146304" bIns="91440" anchor="ctr" anchorCtr="0"/>
          <a:lstStyle>
            <a:lvl1pPr marL="0" indent="0">
              <a:buNone/>
              <a:defRPr sz="2941">
                <a:solidFill>
                  <a:schemeClr val="tx1">
                    <a:lumMod val="90000"/>
                    <a:lumOff val="10000"/>
                  </a:schemeClr>
                </a:solidFill>
              </a:defRPr>
            </a:lvl1pPr>
            <a:lvl5pPr marL="756326" indent="0">
              <a:buNone/>
              <a:defRPr/>
            </a:lvl5pPr>
          </a:lstStyle>
          <a:p>
            <a:pPr lvl="0"/>
            <a:r>
              <a:rPr lang="en-US"/>
              <a:t>Click to edit Master text styles</a:t>
            </a:r>
          </a:p>
        </p:txBody>
      </p:sp>
    </p:spTree>
    <p:extLst>
      <p:ext uri="{BB962C8B-B14F-4D97-AF65-F5344CB8AC3E}">
        <p14:creationId xmlns:p14="http://schemas.microsoft.com/office/powerpoint/2010/main" val="375285027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01931" y="1187645"/>
            <a:ext cx="4033911" cy="207973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7644"/>
            <a:ext cx="4033911" cy="2027030"/>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dirty="0"/>
              <a:t>Click to edit Master text styles</a:t>
            </a:r>
          </a:p>
          <a:p>
            <a:pPr marL="313969" marR="0" lvl="1" indent="-126054"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470370" marR="0" lvl="2" indent="-13889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609263" marR="0" lvl="3" indent="-129557"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752825" marR="0" lvl="4" indent="-124888"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9392681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Insights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882" y="254721"/>
            <a:ext cx="8767172" cy="1054884"/>
          </a:xfrm>
        </p:spPr>
        <p:txBody>
          <a:bodyPr lIns="457200" tIns="91440" rIns="146304" bIns="91440"/>
          <a:lstStyle>
            <a:lvl1pPr>
              <a:lnSpc>
                <a:spcPct val="100000"/>
              </a:lnSpc>
              <a:defRPr sz="294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5561459" y="1324186"/>
            <a:ext cx="3204830" cy="4853157"/>
          </a:xfrm>
        </p:spPr>
        <p:txBody>
          <a:bodyPr wrap="square">
            <a:normAutofit/>
          </a:bodyPr>
          <a:lstStyle>
            <a:lvl1pPr marL="0" indent="0">
              <a:lnSpc>
                <a:spcPct val="100000"/>
              </a:lnSpc>
              <a:spcBef>
                <a:spcPts val="882"/>
              </a:spcBef>
              <a:spcAft>
                <a:spcPts val="882"/>
              </a:spcAft>
              <a:buClr>
                <a:schemeClr val="tx1"/>
              </a:buClr>
              <a:buFont typeface="Wingdings" pitchFamily="2" charset="2"/>
              <a:buNone/>
              <a:defRPr sz="1765">
                <a:solidFill>
                  <a:schemeClr val="accent5"/>
                </a:solidFill>
              </a:defRPr>
            </a:lvl1pPr>
            <a:lvl2pPr marL="0" indent="0">
              <a:lnSpc>
                <a:spcPct val="100000"/>
              </a:lnSpc>
              <a:spcAft>
                <a:spcPts val="882"/>
              </a:spcAft>
              <a:buNone/>
              <a:defRPr sz="1442">
                <a:solidFill>
                  <a:schemeClr val="tx1"/>
                </a:solidFill>
              </a:defRPr>
            </a:lvl2pPr>
            <a:lvl3pPr marL="167050" indent="0">
              <a:lnSpc>
                <a:spcPct val="100000"/>
              </a:lnSpc>
              <a:spcAft>
                <a:spcPts val="882"/>
              </a:spcAft>
              <a:buNone/>
              <a:tabLst/>
              <a:defRPr sz="1442">
                <a:solidFill>
                  <a:schemeClr val="tx1"/>
                </a:solidFill>
              </a:defRPr>
            </a:lvl3pPr>
            <a:lvl4pPr marL="331811" indent="0">
              <a:buNone/>
              <a:defRPr/>
            </a:lvl4pPr>
            <a:lvl5pPr marL="494285"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198428" y="1324595"/>
            <a:ext cx="5363375" cy="485274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883" y="6514984"/>
            <a:ext cx="9144235" cy="353924"/>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38276221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Insights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197961" y="1312655"/>
            <a:ext cx="5063639" cy="4826969"/>
          </a:xfrm>
          <a:solidFill>
            <a:schemeClr val="bg1">
              <a:lumMod val="95000"/>
            </a:schemeClr>
          </a:solidFill>
          <a:ln w="63500">
            <a:solidFill>
              <a:schemeClr val="accent5"/>
            </a:solidFill>
            <a:miter lim="800000"/>
          </a:ln>
        </p:spPr>
        <p:txBody>
          <a:bodyPr wrap="square">
            <a:normAutofit/>
          </a:bodyPr>
          <a:lstStyle>
            <a:lvl1pPr marL="0" indent="0" defTabSz="274268">
              <a:lnSpc>
                <a:spcPct val="100000"/>
              </a:lnSpc>
              <a:spcBef>
                <a:spcPts val="0"/>
              </a:spcBef>
              <a:buClr>
                <a:schemeClr val="tx1"/>
              </a:buClr>
              <a:buFont typeface="Wingdings" pitchFamily="2" charset="2"/>
              <a:buNone/>
              <a:defRPr sz="1350" baseline="0">
                <a:solidFill>
                  <a:schemeClr val="tx1"/>
                </a:solidFill>
                <a:latin typeface="Consolas" panose="020B0609020204030204" pitchFamily="49" charset="0"/>
                <a:cs typeface="Consolas" panose="020B0609020204030204" pitchFamily="49" charset="0"/>
              </a:defRPr>
            </a:lvl1pPr>
            <a:lvl2pPr marL="274268" indent="0" defTabSz="274268">
              <a:lnSpc>
                <a:spcPct val="100000"/>
              </a:lnSpc>
              <a:spcBef>
                <a:spcPts val="0"/>
              </a:spcBef>
              <a:buNone/>
              <a:defRPr sz="1350">
                <a:latin typeface="Consolas" panose="020B0609020204030204" pitchFamily="49" charset="0"/>
                <a:cs typeface="Consolas" panose="020B0609020204030204" pitchFamily="49" charset="0"/>
              </a:defRPr>
            </a:lvl2pPr>
            <a:lvl3pPr marL="548534" indent="0" defTabSz="274268">
              <a:lnSpc>
                <a:spcPct val="100000"/>
              </a:lnSpc>
              <a:spcBef>
                <a:spcPts val="0"/>
              </a:spcBef>
              <a:buNone/>
              <a:tabLst/>
              <a:defRPr sz="1350">
                <a:latin typeface="Consolas" panose="020B0609020204030204" pitchFamily="49" charset="0"/>
                <a:cs typeface="Consolas" panose="020B0609020204030204" pitchFamily="49" charset="0"/>
              </a:defRPr>
            </a:lvl3pPr>
            <a:lvl4pPr marL="822802" indent="0" defTabSz="274268">
              <a:lnSpc>
                <a:spcPct val="100000"/>
              </a:lnSpc>
              <a:spcBef>
                <a:spcPts val="0"/>
              </a:spcBef>
              <a:buNone/>
              <a:defRPr sz="1350">
                <a:latin typeface="Consolas" panose="020B0609020204030204" pitchFamily="49" charset="0"/>
                <a:cs typeface="Consolas" panose="020B0609020204030204" pitchFamily="49" charset="0"/>
              </a:defRPr>
            </a:lvl4pPr>
            <a:lvl5pPr marL="1097069" indent="0" defTabSz="274268">
              <a:lnSpc>
                <a:spcPct val="100000"/>
              </a:lnSpc>
              <a:spcBef>
                <a:spcPts val="0"/>
              </a:spcBef>
              <a:buNone/>
              <a:tabLst/>
              <a:defRPr sz="135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5390590" y="1312652"/>
            <a:ext cx="3383735" cy="4826970"/>
          </a:xfrm>
        </p:spPr>
        <p:txBody>
          <a:bodyPr wrap="square">
            <a:normAutofit/>
          </a:bodyPr>
          <a:lstStyle>
            <a:lvl1pPr marL="0" indent="0">
              <a:lnSpc>
                <a:spcPct val="100000"/>
              </a:lnSpc>
              <a:spcBef>
                <a:spcPts val="900"/>
              </a:spcBef>
              <a:spcAft>
                <a:spcPts val="882"/>
              </a:spcAft>
              <a:buClr>
                <a:schemeClr val="tx1"/>
              </a:buClr>
              <a:buFont typeface="Wingdings" pitchFamily="2" charset="2"/>
              <a:buNone/>
              <a:defRPr sz="1765">
                <a:solidFill>
                  <a:schemeClr val="accent5"/>
                </a:solidFill>
              </a:defRPr>
            </a:lvl1pPr>
            <a:lvl2pPr marL="0" indent="0">
              <a:lnSpc>
                <a:spcPct val="100000"/>
              </a:lnSpc>
              <a:spcBef>
                <a:spcPts val="450"/>
              </a:spcBef>
              <a:spcAft>
                <a:spcPts val="882"/>
              </a:spcAft>
              <a:buNone/>
              <a:defRPr sz="1441" b="0">
                <a:latin typeface="+mn-lt"/>
                <a:cs typeface="Segoe UI Semibold" panose="020B0702040204020203" pitchFamily="34" charset="0"/>
              </a:defRPr>
            </a:lvl2pPr>
            <a:lvl3pPr marL="170374" indent="0">
              <a:buNone/>
              <a:tabLst/>
              <a:defRPr sz="1471"/>
            </a:lvl3pPr>
            <a:lvl4pPr marL="338414" indent="0">
              <a:buNone/>
              <a:defRPr/>
            </a:lvl4pPr>
            <a:lvl5pPr marL="504121"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883" y="6514984"/>
            <a:ext cx="9144235" cy="353924"/>
            <a:chOff x="-1200" y="6644680"/>
            <a:chExt cx="12436794" cy="360970"/>
          </a:xfrm>
        </p:grpSpPr>
        <p:sp>
          <p:nvSpPr>
            <p:cNvPr id="13" name="TextBox 12"/>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18" name="Text Placeholder 4"/>
          <p:cNvSpPr>
            <a:spLocks noGrp="1"/>
          </p:cNvSpPr>
          <p:nvPr>
            <p:ph type="body" sz="quarter" idx="14"/>
          </p:nvPr>
        </p:nvSpPr>
        <p:spPr>
          <a:xfrm>
            <a:off x="197961" y="254722"/>
            <a:ext cx="8565339" cy="1057931"/>
          </a:xfrm>
        </p:spPr>
        <p:txBody>
          <a:bodyPr lIns="146304" tIns="91440" rIns="146304" bIns="91440" anchor="ctr" anchorCtr="0"/>
          <a:lstStyle>
            <a:lvl1pPr marL="0" indent="0">
              <a:buNone/>
              <a:defRPr sz="2941">
                <a:solidFill>
                  <a:schemeClr val="tx1">
                    <a:lumMod val="90000"/>
                    <a:lumOff val="10000"/>
                  </a:schemeClr>
                </a:solidFill>
              </a:defRPr>
            </a:lvl1pPr>
            <a:lvl5pPr marL="756326" indent="0">
              <a:buNone/>
              <a:defRPr/>
            </a:lvl5pPr>
          </a:lstStyle>
          <a:p>
            <a:pPr lvl="0"/>
            <a:r>
              <a:rPr lang="en-US" dirty="0"/>
              <a:t>Click to edit Master text styles</a:t>
            </a:r>
          </a:p>
        </p:txBody>
      </p:sp>
    </p:spTree>
    <p:extLst>
      <p:ext uri="{BB962C8B-B14F-4D97-AF65-F5344CB8AC3E}">
        <p14:creationId xmlns:p14="http://schemas.microsoft.com/office/powerpoint/2010/main" val="18931878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 y="286897"/>
            <a:ext cx="8766290" cy="1054884"/>
          </a:xfrm>
        </p:spPr>
        <p:txBody>
          <a:bodyPr lIns="457200" tIns="91440" rIns="146304" bIns="91440"/>
          <a:lstStyle>
            <a:lvl1pPr>
              <a:lnSpc>
                <a:spcPts val="4541"/>
              </a:lnSpc>
              <a:defRPr sz="294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5561459" y="1363507"/>
            <a:ext cx="3204830" cy="4813835"/>
          </a:xfrm>
        </p:spPr>
        <p:txBody>
          <a:bodyPr wrap="square">
            <a:normAutofit/>
          </a:bodyPr>
          <a:lstStyle>
            <a:lvl1pPr marL="0" indent="0">
              <a:lnSpc>
                <a:spcPct val="100000"/>
              </a:lnSpc>
              <a:spcBef>
                <a:spcPts val="882"/>
              </a:spcBef>
              <a:spcAft>
                <a:spcPts val="882"/>
              </a:spcAft>
              <a:buClr>
                <a:schemeClr val="tx1"/>
              </a:buClr>
              <a:buFont typeface="Wingdings" pitchFamily="2" charset="2"/>
              <a:buNone/>
              <a:defRPr sz="1765">
                <a:solidFill>
                  <a:schemeClr val="accent1"/>
                </a:solidFill>
              </a:defRPr>
            </a:lvl1pPr>
            <a:lvl2pPr marL="0" indent="0">
              <a:lnSpc>
                <a:spcPct val="100000"/>
              </a:lnSpc>
              <a:spcAft>
                <a:spcPts val="882"/>
              </a:spcAft>
              <a:buNone/>
              <a:defRPr sz="1442">
                <a:solidFill>
                  <a:schemeClr val="tx1"/>
                </a:solidFill>
              </a:defRPr>
            </a:lvl2pPr>
            <a:lvl3pPr marL="167050" indent="0">
              <a:lnSpc>
                <a:spcPct val="100000"/>
              </a:lnSpc>
              <a:spcAft>
                <a:spcPts val="882"/>
              </a:spcAft>
              <a:buNone/>
              <a:tabLst/>
              <a:defRPr sz="1442">
                <a:solidFill>
                  <a:schemeClr val="tx1"/>
                </a:solidFill>
              </a:defRPr>
            </a:lvl3pPr>
            <a:lvl4pPr marL="331811" indent="0">
              <a:buNone/>
              <a:defRPr/>
            </a:lvl4pPr>
            <a:lvl5pPr marL="494285"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1" y="1363507"/>
            <a:ext cx="5561803" cy="4813835"/>
          </a:xfrm>
          <a:ln w="152400">
            <a:noFill/>
          </a:ln>
        </p:spPr>
        <p:txBody>
          <a:bodyPr lIns="457200"/>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883" y="6512639"/>
            <a:ext cx="9144235"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685608">
                <a:lnSpc>
                  <a:spcPts val="2250"/>
                </a:lnSpc>
              </a:pPr>
              <a:r>
                <a:rPr lang="en-US" sz="21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685271">
                <a:lnSpc>
                  <a:spcPts val="2207"/>
                </a:lnSpc>
                <a:defRPr/>
              </a:pPr>
              <a:endParaRPr lang="en-US" sz="2100" kern="0" dirty="0">
                <a:solidFill>
                  <a:srgbClr val="FFFFFF"/>
                </a:solidFill>
                <a:latin typeface="Segoe UI Light"/>
              </a:endParaRPr>
            </a:p>
          </p:txBody>
        </p:sp>
      </p:grpSp>
    </p:spTree>
    <p:extLst>
      <p:ext uri="{BB962C8B-B14F-4D97-AF65-F5344CB8AC3E}">
        <p14:creationId xmlns:p14="http://schemas.microsoft.com/office/powerpoint/2010/main" val="248023578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loud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26951" y="1350549"/>
            <a:ext cx="5063639" cy="4826969"/>
          </a:xfrm>
          <a:solidFill>
            <a:schemeClr val="bg1">
              <a:lumMod val="95000"/>
            </a:schemeClr>
          </a:solidFill>
          <a:ln w="73025">
            <a:solidFill>
              <a:srgbClr val="0072C6"/>
            </a:solidFill>
            <a:miter lim="800000"/>
          </a:ln>
        </p:spPr>
        <p:txBody>
          <a:bodyPr wrap="square">
            <a:normAutofit/>
          </a:bodyPr>
          <a:lstStyle>
            <a:lvl1pPr marL="0" indent="0" defTabSz="274268">
              <a:lnSpc>
                <a:spcPct val="100000"/>
              </a:lnSpc>
              <a:spcBef>
                <a:spcPts val="0"/>
              </a:spcBef>
              <a:buClr>
                <a:schemeClr val="tx1"/>
              </a:buClr>
              <a:buFont typeface="Wingdings" pitchFamily="2" charset="2"/>
              <a:buNone/>
              <a:defRPr sz="1350" baseline="0">
                <a:solidFill>
                  <a:schemeClr val="tx1"/>
                </a:solidFill>
                <a:latin typeface="Consolas" panose="020B0609020204030204" pitchFamily="49" charset="0"/>
                <a:cs typeface="Consolas" panose="020B0609020204030204" pitchFamily="49" charset="0"/>
              </a:defRPr>
            </a:lvl1pPr>
            <a:lvl2pPr marL="274268" indent="0" defTabSz="274268">
              <a:lnSpc>
                <a:spcPct val="100000"/>
              </a:lnSpc>
              <a:spcBef>
                <a:spcPts val="0"/>
              </a:spcBef>
              <a:buNone/>
              <a:defRPr sz="1350">
                <a:latin typeface="Consolas" panose="020B0609020204030204" pitchFamily="49" charset="0"/>
                <a:cs typeface="Consolas" panose="020B0609020204030204" pitchFamily="49" charset="0"/>
              </a:defRPr>
            </a:lvl2pPr>
            <a:lvl3pPr marL="548534" indent="0" defTabSz="274268">
              <a:lnSpc>
                <a:spcPct val="100000"/>
              </a:lnSpc>
              <a:spcBef>
                <a:spcPts val="0"/>
              </a:spcBef>
              <a:buNone/>
              <a:tabLst/>
              <a:defRPr sz="1350">
                <a:latin typeface="Consolas" panose="020B0609020204030204" pitchFamily="49" charset="0"/>
                <a:cs typeface="Consolas" panose="020B0609020204030204" pitchFamily="49" charset="0"/>
              </a:defRPr>
            </a:lvl3pPr>
            <a:lvl4pPr marL="822802" indent="0" defTabSz="274268">
              <a:lnSpc>
                <a:spcPct val="100000"/>
              </a:lnSpc>
              <a:spcBef>
                <a:spcPts val="0"/>
              </a:spcBef>
              <a:buNone/>
              <a:defRPr sz="1350">
                <a:latin typeface="Consolas" panose="020B0609020204030204" pitchFamily="49" charset="0"/>
                <a:cs typeface="Consolas" panose="020B0609020204030204" pitchFamily="49" charset="0"/>
              </a:defRPr>
            </a:lvl4pPr>
            <a:lvl5pPr marL="1097069" indent="0" defTabSz="274268">
              <a:lnSpc>
                <a:spcPct val="100000"/>
              </a:lnSpc>
              <a:spcBef>
                <a:spcPts val="0"/>
              </a:spcBef>
              <a:buNone/>
              <a:tabLst/>
              <a:defRPr sz="135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5672980" y="1350547"/>
            <a:ext cx="2987240" cy="4826970"/>
          </a:xfrm>
        </p:spPr>
        <p:txBody>
          <a:bodyPr wrap="square">
            <a:normAutofit/>
          </a:bodyPr>
          <a:lstStyle>
            <a:lvl1pPr marL="0" indent="0">
              <a:lnSpc>
                <a:spcPct val="100000"/>
              </a:lnSpc>
              <a:spcBef>
                <a:spcPts val="900"/>
              </a:spcBef>
              <a:spcAft>
                <a:spcPts val="882"/>
              </a:spcAft>
              <a:buClr>
                <a:schemeClr val="tx1"/>
              </a:buClr>
              <a:buFont typeface="Wingdings" pitchFamily="2" charset="2"/>
              <a:buNone/>
              <a:defRPr sz="1765">
                <a:solidFill>
                  <a:srgbClr val="0072C6"/>
                </a:solidFill>
              </a:defRPr>
            </a:lvl1pPr>
            <a:lvl2pPr marL="0" indent="0">
              <a:lnSpc>
                <a:spcPct val="100000"/>
              </a:lnSpc>
              <a:spcBef>
                <a:spcPts val="0"/>
              </a:spcBef>
              <a:spcAft>
                <a:spcPts val="882"/>
              </a:spcAft>
              <a:buNone/>
              <a:defRPr sz="1441">
                <a:latin typeface="+mj-lt"/>
              </a:defRPr>
            </a:lvl2pPr>
            <a:lvl3pPr marL="170374" indent="0">
              <a:buNone/>
              <a:tabLst/>
              <a:defRPr sz="1471"/>
            </a:lvl3pPr>
            <a:lvl4pPr marL="338414" indent="0">
              <a:buNone/>
              <a:defRPr/>
            </a:lvl4pPr>
            <a:lvl5pPr marL="504121"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883" y="6514984"/>
            <a:ext cx="9144235" cy="353924"/>
            <a:chOff x="-1200" y="6644680"/>
            <a:chExt cx="12436794" cy="360970"/>
          </a:xfrm>
        </p:grpSpPr>
        <p:sp>
          <p:nvSpPr>
            <p:cNvPr id="13" name="TextBox 12"/>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16" name="Text Placeholder 4"/>
          <p:cNvSpPr>
            <a:spLocks noGrp="1"/>
          </p:cNvSpPr>
          <p:nvPr>
            <p:ph type="body" sz="quarter" idx="14"/>
          </p:nvPr>
        </p:nvSpPr>
        <p:spPr>
          <a:xfrm>
            <a:off x="-882" y="286898"/>
            <a:ext cx="8764183" cy="1057931"/>
          </a:xfrm>
        </p:spPr>
        <p:txBody>
          <a:bodyPr lIns="457200" tIns="91440" rIns="146304" bIns="91440" anchor="ctr" anchorCtr="0"/>
          <a:lstStyle>
            <a:lvl1pPr marL="0" indent="0">
              <a:buNone/>
              <a:defRPr sz="2941">
                <a:solidFill>
                  <a:schemeClr val="tx1">
                    <a:lumMod val="90000"/>
                    <a:lumOff val="10000"/>
                  </a:schemeClr>
                </a:solidFill>
              </a:defRPr>
            </a:lvl1pPr>
            <a:lvl5pPr marL="756326" indent="0">
              <a:buNone/>
              <a:defRPr/>
            </a:lvl5pPr>
          </a:lstStyle>
          <a:p>
            <a:pPr lvl="0"/>
            <a:r>
              <a:rPr lang="en-US" dirty="0"/>
              <a:t>Click to edit Master text styles</a:t>
            </a:r>
          </a:p>
        </p:txBody>
      </p:sp>
    </p:spTree>
    <p:extLst>
      <p:ext uri="{BB962C8B-B14F-4D97-AF65-F5344CB8AC3E}">
        <p14:creationId xmlns:p14="http://schemas.microsoft.com/office/powerpoint/2010/main" val="193044527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Insights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54721"/>
            <a:ext cx="8568328" cy="1054884"/>
          </a:xfrm>
        </p:spPr>
        <p:txBody>
          <a:bodyPr lIns="146304" tIns="91440" rIns="146304" bIns="91440"/>
          <a:lstStyle>
            <a:lvl1pPr>
              <a:lnSpc>
                <a:spcPts val="4541"/>
              </a:lnSpc>
              <a:defRPr sz="294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197962" y="1324186"/>
            <a:ext cx="8568327" cy="4853157"/>
          </a:xfrm>
        </p:spPr>
        <p:txBody>
          <a:bodyPr wrap="square">
            <a:normAutofit/>
          </a:bodyPr>
          <a:lstStyle>
            <a:lvl1pPr marL="0" indent="0">
              <a:lnSpc>
                <a:spcPct val="100000"/>
              </a:lnSpc>
              <a:spcBef>
                <a:spcPts val="882"/>
              </a:spcBef>
              <a:spcAft>
                <a:spcPts val="882"/>
              </a:spcAft>
              <a:buClr>
                <a:schemeClr val="tx1"/>
              </a:buClr>
              <a:buFont typeface="Wingdings" pitchFamily="2" charset="2"/>
              <a:buNone/>
              <a:defRPr sz="1765">
                <a:solidFill>
                  <a:schemeClr val="accent5"/>
                </a:solidFill>
              </a:defRPr>
            </a:lvl1pPr>
            <a:lvl2pPr marL="0" indent="0">
              <a:lnSpc>
                <a:spcPct val="100000"/>
              </a:lnSpc>
              <a:spcAft>
                <a:spcPts val="882"/>
              </a:spcAft>
              <a:buNone/>
              <a:defRPr sz="1442">
                <a:solidFill>
                  <a:schemeClr val="tx1"/>
                </a:solidFill>
              </a:defRPr>
            </a:lvl2pPr>
            <a:lvl3pPr marL="167050" indent="0">
              <a:lnSpc>
                <a:spcPct val="100000"/>
              </a:lnSpc>
              <a:spcAft>
                <a:spcPts val="882"/>
              </a:spcAft>
              <a:buNone/>
              <a:tabLst/>
              <a:defRPr sz="1442">
                <a:solidFill>
                  <a:schemeClr val="tx1"/>
                </a:solidFill>
              </a:defRPr>
            </a:lvl3pPr>
            <a:lvl4pPr marL="331811" indent="0">
              <a:buNone/>
              <a:defRPr/>
            </a:lvl4pPr>
            <a:lvl5pPr marL="494285" indent="0">
              <a:buNone/>
              <a:tabLst/>
              <a:defRPr/>
            </a:lvl5pPr>
          </a:lstStyle>
          <a:p>
            <a:pPr lvl="0"/>
            <a:r>
              <a:rPr lang="en-US" dirty="0"/>
              <a:t>Click to edit Master text styles</a:t>
            </a:r>
          </a:p>
          <a:p>
            <a:pPr lvl="1"/>
            <a:r>
              <a:rPr lang="en-US" dirty="0"/>
              <a:t>Second level</a:t>
            </a:r>
          </a:p>
          <a:p>
            <a:pPr lvl="2"/>
            <a:r>
              <a:rPr lang="en-US" dirty="0"/>
              <a:t>Third level</a:t>
            </a:r>
          </a:p>
        </p:txBody>
      </p:sp>
      <p:grpSp>
        <p:nvGrpSpPr>
          <p:cNvPr id="11" name="Group 10"/>
          <p:cNvGrpSpPr/>
          <p:nvPr userDrawn="1"/>
        </p:nvGrpSpPr>
        <p:grpSpPr>
          <a:xfrm>
            <a:off x="-883" y="6514984"/>
            <a:ext cx="9144235" cy="353924"/>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53033597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946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1232898"/>
          </a:xfrm>
        </p:spPr>
        <p:txBody>
          <a:bodyPr lIns="393192" tIns="393192" bIns="91440">
            <a:normAutofit/>
          </a:bodyPr>
          <a:lstStyle>
            <a:lvl1pPr marL="0" indent="0">
              <a:buNone/>
              <a:defRPr sz="33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9144000" cy="904286"/>
          </a:xfrm>
        </p:spPr>
        <p:txBody>
          <a:bodyPr lIns="393192" bIns="91440"/>
          <a:lstStyle>
            <a:lvl1pPr marL="0" indent="0">
              <a:buNone/>
              <a:defRPr>
                <a:solidFill>
                  <a:schemeClr val="tx2"/>
                </a:solidFill>
              </a:defRPr>
            </a:lvl1pPr>
            <a:lvl2pPr marL="3429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9144000" cy="4700587"/>
          </a:xfrm>
        </p:spPr>
        <p:txBody>
          <a:bodyPr lIns="393192" tIns="91440" bIns="91440">
            <a:normAutofit/>
          </a:bodyPr>
          <a:lstStyle>
            <a:lvl1pPr marL="0" indent="0">
              <a:buNone/>
              <a:defRPr sz="1500">
                <a:solidFill>
                  <a:schemeClr val="tx1"/>
                </a:solidFill>
              </a:defRPr>
            </a:lvl1pPr>
          </a:lstStyle>
          <a:p>
            <a:pPr lvl="0"/>
            <a:r>
              <a:rPr lang="en-US" dirty="0"/>
              <a:t>Body copy</a:t>
            </a:r>
          </a:p>
        </p:txBody>
      </p:sp>
    </p:spTree>
    <p:extLst>
      <p:ext uri="{BB962C8B-B14F-4D97-AF65-F5344CB8AC3E}">
        <p14:creationId xmlns:p14="http://schemas.microsoft.com/office/powerpoint/2010/main" val="3318128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759972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140612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33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214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51691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57702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2052"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3611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5969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51076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53680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7"/>
            <a:ext cx="8929396"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71816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162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72349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9977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10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992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274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730340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853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285072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468589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847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2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92510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26293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4100"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2038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960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79226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37126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30047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6340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761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552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4549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2542729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01811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768570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114753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265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999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53239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81424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6148"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0856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1643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24925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0287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7882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77898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4499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1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4765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19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1796895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4950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83EBD-AA5D-4B95-ADFE-6F4D80C7A6EB}"/>
              </a:ext>
            </a:extLst>
          </p:cNvPr>
          <p:cNvSpPr>
            <a:spLocks noGrp="1"/>
          </p:cNvSpPr>
          <p:nvPr>
            <p:ph type="ctrTitle"/>
          </p:nvPr>
        </p:nvSpPr>
        <p:spPr>
          <a:xfrm>
            <a:off x="1143000" y="1122363"/>
            <a:ext cx="6858000" cy="2387600"/>
          </a:xfrm>
        </p:spPr>
        <p:txBody>
          <a:bodyPr anchor="b"/>
          <a:lstStyle>
            <a:lvl1pPr algn="ctr">
              <a:defRPr sz="4499"/>
            </a:lvl1pPr>
          </a:lstStyle>
          <a:p>
            <a:r>
              <a:rPr lang="en-US"/>
              <a:t>Click to edit Master title style</a:t>
            </a:r>
          </a:p>
        </p:txBody>
      </p:sp>
      <p:sp>
        <p:nvSpPr>
          <p:cNvPr id="3" name="Subtitle 2">
            <a:extLst>
              <a:ext uri="{FF2B5EF4-FFF2-40B4-BE49-F238E27FC236}">
                <a16:creationId xmlns:a16="http://schemas.microsoft.com/office/drawing/2014/main" id="{A66EEB47-89D1-4997-B0F6-7627320E8126}"/>
              </a:ext>
            </a:extLst>
          </p:cNvPr>
          <p:cNvSpPr>
            <a:spLocks noGrp="1"/>
          </p:cNvSpPr>
          <p:nvPr>
            <p:ph type="subTitle" idx="1"/>
          </p:nvPr>
        </p:nvSpPr>
        <p:spPr>
          <a:xfrm>
            <a:off x="1143000" y="3602038"/>
            <a:ext cx="6858000" cy="1655762"/>
          </a:xfrm>
        </p:spPr>
        <p:txBody>
          <a:bodyPr/>
          <a:lstStyle>
            <a:lvl1pPr marL="0" indent="0" algn="ctr">
              <a:buNone/>
              <a:defRPr sz="1800"/>
            </a:lvl1pPr>
            <a:lvl2pPr marL="342834" indent="0" algn="ctr">
              <a:buNone/>
              <a:defRPr sz="1500"/>
            </a:lvl2pPr>
            <a:lvl3pPr marL="685669" indent="0" algn="ctr">
              <a:buNone/>
              <a:defRPr sz="1350"/>
            </a:lvl3pPr>
            <a:lvl4pPr marL="1028503" indent="0" algn="ctr">
              <a:buNone/>
              <a:defRPr sz="1200"/>
            </a:lvl4pPr>
            <a:lvl5pPr marL="1371337" indent="0" algn="ctr">
              <a:buNone/>
              <a:defRPr sz="1200"/>
            </a:lvl5pPr>
            <a:lvl6pPr marL="1714171" indent="0" algn="ctr">
              <a:buNone/>
              <a:defRPr sz="1200"/>
            </a:lvl6pPr>
            <a:lvl7pPr marL="2057006" indent="0" algn="ctr">
              <a:buNone/>
              <a:defRPr sz="1200"/>
            </a:lvl7pPr>
            <a:lvl8pPr marL="2399839" indent="0" algn="ctr">
              <a:buNone/>
              <a:defRPr sz="1200"/>
            </a:lvl8pPr>
            <a:lvl9pPr marL="2742673"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BA15958-3869-418B-9F4A-817A3FEEB4D9}"/>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C6008EC4-33F1-4B25-BC14-4D0A03BFEC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31EE91-42B3-4614-8595-61659208F2E6}"/>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9285063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EBEF0-3F9A-4666-8E1B-879470BCB0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5A7A54-9F97-4934-8A5F-DF71F56ABE7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4D9FB3-198B-4DA4-A7F8-4C7693E44218}"/>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B7FDE053-A6C2-4281-8645-797726E1D5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3B0C7-66C7-4C5C-A1C9-39AFFC29BA5F}"/>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36405763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4F536-C4BC-4722-BF03-27A6C5B0CB75}"/>
              </a:ext>
            </a:extLst>
          </p:cNvPr>
          <p:cNvSpPr>
            <a:spLocks noGrp="1"/>
          </p:cNvSpPr>
          <p:nvPr>
            <p:ph type="title"/>
          </p:nvPr>
        </p:nvSpPr>
        <p:spPr>
          <a:xfrm>
            <a:off x="623888" y="1709740"/>
            <a:ext cx="7886700" cy="2852737"/>
          </a:xfrm>
        </p:spPr>
        <p:txBody>
          <a:bodyPr anchor="b"/>
          <a:lstStyle>
            <a:lvl1pPr>
              <a:defRPr sz="4499"/>
            </a:lvl1pPr>
          </a:lstStyle>
          <a:p>
            <a:r>
              <a:rPr lang="en-US"/>
              <a:t>Click to edit Master title style</a:t>
            </a:r>
          </a:p>
        </p:txBody>
      </p:sp>
      <p:sp>
        <p:nvSpPr>
          <p:cNvPr id="3" name="Text Placeholder 2">
            <a:extLst>
              <a:ext uri="{FF2B5EF4-FFF2-40B4-BE49-F238E27FC236}">
                <a16:creationId xmlns:a16="http://schemas.microsoft.com/office/drawing/2014/main" id="{DF39802C-A2B9-4C1D-8BD2-830FD437C56B}"/>
              </a:ext>
            </a:extLst>
          </p:cNvPr>
          <p:cNvSpPr>
            <a:spLocks noGrp="1"/>
          </p:cNvSpPr>
          <p:nvPr>
            <p:ph type="body" idx="1"/>
          </p:nvPr>
        </p:nvSpPr>
        <p:spPr>
          <a:xfrm>
            <a:off x="623888" y="4589465"/>
            <a:ext cx="7886700" cy="1500187"/>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A64D1E6-3AA2-453F-B541-84228A65DC1E}"/>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4A845A51-6FB3-46A9-9AAE-5F4F9954E0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228EFD-D765-4938-9E64-2F5AB57987C3}"/>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85071721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5F957-E865-4B94-BEBB-719CF29D8D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04E71E-0124-44DC-A043-5D3668C9E904}"/>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501EA0-3112-4CB4-B3A6-35FB20EE452E}"/>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4EF496-73D3-4035-9490-D5FB1D1B532F}"/>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6" name="Footer Placeholder 5">
            <a:extLst>
              <a:ext uri="{FF2B5EF4-FFF2-40B4-BE49-F238E27FC236}">
                <a16:creationId xmlns:a16="http://schemas.microsoft.com/office/drawing/2014/main" id="{2ED16CA1-D111-46F3-B2F0-F8F35AFE8D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D0565E-6A67-4A6C-A22C-395ADE903420}"/>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26168384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DAF92-3BEE-4B84-8569-743C4A827B37}"/>
              </a:ext>
            </a:extLst>
          </p:cNvPr>
          <p:cNvSpPr>
            <a:spLocks noGrp="1"/>
          </p:cNvSpPr>
          <p:nvPr>
            <p:ph type="title"/>
          </p:nvPr>
        </p:nvSpPr>
        <p:spPr>
          <a:xfrm>
            <a:off x="629841" y="365127"/>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2891BC-B881-4A56-BA25-35B1EF248EA9}"/>
              </a:ext>
            </a:extLst>
          </p:cNvPr>
          <p:cNvSpPr>
            <a:spLocks noGrp="1"/>
          </p:cNvSpPr>
          <p:nvPr>
            <p:ph type="body" idx="1"/>
          </p:nvPr>
        </p:nvSpPr>
        <p:spPr>
          <a:xfrm>
            <a:off x="629842" y="1681163"/>
            <a:ext cx="3868340" cy="823912"/>
          </a:xfrm>
        </p:spPr>
        <p:txBody>
          <a:bodyPr anchor="b"/>
          <a:lstStyle>
            <a:lvl1pPr marL="0" indent="0">
              <a:buNone/>
              <a:defRPr sz="1800" b="1"/>
            </a:lvl1pPr>
            <a:lvl2pPr marL="342834" indent="0">
              <a:buNone/>
              <a:defRPr sz="1500" b="1"/>
            </a:lvl2pPr>
            <a:lvl3pPr marL="685669" indent="0">
              <a:buNone/>
              <a:defRPr sz="1350" b="1"/>
            </a:lvl3pPr>
            <a:lvl4pPr marL="1028503" indent="0">
              <a:buNone/>
              <a:defRPr sz="1200" b="1"/>
            </a:lvl4pPr>
            <a:lvl5pPr marL="1371337" indent="0">
              <a:buNone/>
              <a:defRPr sz="1200" b="1"/>
            </a:lvl5pPr>
            <a:lvl6pPr marL="1714171" indent="0">
              <a:buNone/>
              <a:defRPr sz="1200" b="1"/>
            </a:lvl6pPr>
            <a:lvl7pPr marL="2057006" indent="0">
              <a:buNone/>
              <a:defRPr sz="1200" b="1"/>
            </a:lvl7pPr>
            <a:lvl8pPr marL="2399839" indent="0">
              <a:buNone/>
              <a:defRPr sz="1200" b="1"/>
            </a:lvl8pPr>
            <a:lvl9pPr marL="2742673"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5A8E20DB-1564-4D87-9C36-29A468137B72}"/>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C0AB832-C98E-40A3-9A26-52DC8C53BE8D}"/>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834" indent="0">
              <a:buNone/>
              <a:defRPr sz="1500" b="1"/>
            </a:lvl2pPr>
            <a:lvl3pPr marL="685669" indent="0">
              <a:buNone/>
              <a:defRPr sz="1350" b="1"/>
            </a:lvl3pPr>
            <a:lvl4pPr marL="1028503" indent="0">
              <a:buNone/>
              <a:defRPr sz="1200" b="1"/>
            </a:lvl4pPr>
            <a:lvl5pPr marL="1371337" indent="0">
              <a:buNone/>
              <a:defRPr sz="1200" b="1"/>
            </a:lvl5pPr>
            <a:lvl6pPr marL="1714171" indent="0">
              <a:buNone/>
              <a:defRPr sz="1200" b="1"/>
            </a:lvl6pPr>
            <a:lvl7pPr marL="2057006" indent="0">
              <a:buNone/>
              <a:defRPr sz="1200" b="1"/>
            </a:lvl7pPr>
            <a:lvl8pPr marL="2399839" indent="0">
              <a:buNone/>
              <a:defRPr sz="1200" b="1"/>
            </a:lvl8pPr>
            <a:lvl9pPr marL="2742673"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084D6912-6542-4D69-89A7-53264C2DA876}"/>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C64C2E-D9A7-4B40-9A7C-FC2C26A341F2}"/>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8" name="Footer Placeholder 7">
            <a:extLst>
              <a:ext uri="{FF2B5EF4-FFF2-40B4-BE49-F238E27FC236}">
                <a16:creationId xmlns:a16="http://schemas.microsoft.com/office/drawing/2014/main" id="{84005381-1DF1-498C-BEA4-64EED7BA41F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924499-DCF1-4CCE-A91A-8D3873057B2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5480104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FC599-9673-4E6F-9E8E-E8762C1567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4B5728-C55F-4EAC-86E4-492DDBF4EFDC}"/>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4" name="Footer Placeholder 3">
            <a:extLst>
              <a:ext uri="{FF2B5EF4-FFF2-40B4-BE49-F238E27FC236}">
                <a16:creationId xmlns:a16="http://schemas.microsoft.com/office/drawing/2014/main" id="{23E45855-BB72-4630-9ABD-284082C598E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B3AD53D-A9ED-432F-8FD2-78DBF67F8ECF}"/>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6708811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77E0A5-866C-4CBA-9125-EA958F863CB6}"/>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3" name="Footer Placeholder 2">
            <a:extLst>
              <a:ext uri="{FF2B5EF4-FFF2-40B4-BE49-F238E27FC236}">
                <a16:creationId xmlns:a16="http://schemas.microsoft.com/office/drawing/2014/main" id="{7EB01C9C-FA78-4368-8A78-3331166840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80725B3-792C-468F-9127-FC970448699A}"/>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82920765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67A1A-0EE2-43BC-A350-12D0A2662189}"/>
              </a:ext>
            </a:extLst>
          </p:cNvPr>
          <p:cNvSpPr>
            <a:spLocks noGrp="1"/>
          </p:cNvSpPr>
          <p:nvPr>
            <p:ph type="title"/>
          </p:nvPr>
        </p:nvSpPr>
        <p:spPr>
          <a:xfrm>
            <a:off x="629842"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D8633B4E-1BA1-4106-ADCA-65EB4AA83938}"/>
              </a:ext>
            </a:extLst>
          </p:cNvPr>
          <p:cNvSpPr>
            <a:spLocks noGrp="1"/>
          </p:cNvSpPr>
          <p:nvPr>
            <p:ph idx="1"/>
          </p:nvPr>
        </p:nvSpPr>
        <p:spPr>
          <a:xfrm>
            <a:off x="3887392" y="987427"/>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6D0442D-DC2C-4F31-BF5F-4A8E0D9BB425}"/>
              </a:ext>
            </a:extLst>
          </p:cNvPr>
          <p:cNvSpPr>
            <a:spLocks noGrp="1"/>
          </p:cNvSpPr>
          <p:nvPr>
            <p:ph type="body" sz="half" idx="2"/>
          </p:nvPr>
        </p:nvSpPr>
        <p:spPr>
          <a:xfrm>
            <a:off x="629842" y="2057400"/>
            <a:ext cx="2949178" cy="3811588"/>
          </a:xfrm>
        </p:spPr>
        <p:txBody>
          <a:bodyPr/>
          <a:lstStyle>
            <a:lvl1pPr marL="0" indent="0">
              <a:buNone/>
              <a:defRPr sz="1200"/>
            </a:lvl1pPr>
            <a:lvl2pPr marL="342834" indent="0">
              <a:buNone/>
              <a:defRPr sz="1050"/>
            </a:lvl2pPr>
            <a:lvl3pPr marL="685669" indent="0">
              <a:buNone/>
              <a:defRPr sz="900"/>
            </a:lvl3pPr>
            <a:lvl4pPr marL="1028503" indent="0">
              <a:buNone/>
              <a:defRPr sz="750"/>
            </a:lvl4pPr>
            <a:lvl5pPr marL="1371337" indent="0">
              <a:buNone/>
              <a:defRPr sz="750"/>
            </a:lvl5pPr>
            <a:lvl6pPr marL="1714171" indent="0">
              <a:buNone/>
              <a:defRPr sz="750"/>
            </a:lvl6pPr>
            <a:lvl7pPr marL="2057006" indent="0">
              <a:buNone/>
              <a:defRPr sz="750"/>
            </a:lvl7pPr>
            <a:lvl8pPr marL="2399839" indent="0">
              <a:buNone/>
              <a:defRPr sz="750"/>
            </a:lvl8pPr>
            <a:lvl9pPr marL="2742673"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4D41D47F-F3BF-4194-8127-90E0400B1502}"/>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6" name="Footer Placeholder 5">
            <a:extLst>
              <a:ext uri="{FF2B5EF4-FFF2-40B4-BE49-F238E27FC236}">
                <a16:creationId xmlns:a16="http://schemas.microsoft.com/office/drawing/2014/main" id="{D22F9A4B-9BB7-421E-BCE8-90233BAE18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42A0FD-FB68-4D39-943F-0EC16CBD080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97840876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97A62-05F9-49B3-BC3A-40F538CC6317}"/>
              </a:ext>
            </a:extLst>
          </p:cNvPr>
          <p:cNvSpPr>
            <a:spLocks noGrp="1"/>
          </p:cNvSpPr>
          <p:nvPr>
            <p:ph type="title"/>
          </p:nvPr>
        </p:nvSpPr>
        <p:spPr>
          <a:xfrm>
            <a:off x="629842"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FD6FDB31-588F-43B3-B2D8-A2CAA110036E}"/>
              </a:ext>
            </a:extLst>
          </p:cNvPr>
          <p:cNvSpPr>
            <a:spLocks noGrp="1"/>
          </p:cNvSpPr>
          <p:nvPr>
            <p:ph type="pic" idx="1"/>
          </p:nvPr>
        </p:nvSpPr>
        <p:spPr>
          <a:xfrm>
            <a:off x="3887392" y="987427"/>
            <a:ext cx="4629150" cy="4873625"/>
          </a:xfrm>
        </p:spPr>
        <p:txBody>
          <a:bodyPr/>
          <a:lstStyle>
            <a:lvl1pPr marL="0" indent="0">
              <a:buNone/>
              <a:defRPr sz="2400"/>
            </a:lvl1pPr>
            <a:lvl2pPr marL="342834" indent="0">
              <a:buNone/>
              <a:defRPr sz="2100"/>
            </a:lvl2pPr>
            <a:lvl3pPr marL="685669" indent="0">
              <a:buNone/>
              <a:defRPr sz="1800"/>
            </a:lvl3pPr>
            <a:lvl4pPr marL="1028503" indent="0">
              <a:buNone/>
              <a:defRPr sz="1500"/>
            </a:lvl4pPr>
            <a:lvl5pPr marL="1371337" indent="0">
              <a:buNone/>
              <a:defRPr sz="1500"/>
            </a:lvl5pPr>
            <a:lvl6pPr marL="1714171" indent="0">
              <a:buNone/>
              <a:defRPr sz="1500"/>
            </a:lvl6pPr>
            <a:lvl7pPr marL="2057006" indent="0">
              <a:buNone/>
              <a:defRPr sz="1500"/>
            </a:lvl7pPr>
            <a:lvl8pPr marL="2399839" indent="0">
              <a:buNone/>
              <a:defRPr sz="1500"/>
            </a:lvl8pPr>
            <a:lvl9pPr marL="2742673" indent="0">
              <a:buNone/>
              <a:defRPr sz="1500"/>
            </a:lvl9pPr>
          </a:lstStyle>
          <a:p>
            <a:endParaRPr lang="en-US"/>
          </a:p>
        </p:txBody>
      </p:sp>
      <p:sp>
        <p:nvSpPr>
          <p:cNvPr id="4" name="Text Placeholder 3">
            <a:extLst>
              <a:ext uri="{FF2B5EF4-FFF2-40B4-BE49-F238E27FC236}">
                <a16:creationId xmlns:a16="http://schemas.microsoft.com/office/drawing/2014/main" id="{DA06525D-43BD-4B47-9DC9-D2AF496F1FF2}"/>
              </a:ext>
            </a:extLst>
          </p:cNvPr>
          <p:cNvSpPr>
            <a:spLocks noGrp="1"/>
          </p:cNvSpPr>
          <p:nvPr>
            <p:ph type="body" sz="half" idx="2"/>
          </p:nvPr>
        </p:nvSpPr>
        <p:spPr>
          <a:xfrm>
            <a:off x="629842" y="2057400"/>
            <a:ext cx="2949178" cy="3811588"/>
          </a:xfrm>
        </p:spPr>
        <p:txBody>
          <a:bodyPr/>
          <a:lstStyle>
            <a:lvl1pPr marL="0" indent="0">
              <a:buNone/>
              <a:defRPr sz="1200"/>
            </a:lvl1pPr>
            <a:lvl2pPr marL="342834" indent="0">
              <a:buNone/>
              <a:defRPr sz="1050"/>
            </a:lvl2pPr>
            <a:lvl3pPr marL="685669" indent="0">
              <a:buNone/>
              <a:defRPr sz="900"/>
            </a:lvl3pPr>
            <a:lvl4pPr marL="1028503" indent="0">
              <a:buNone/>
              <a:defRPr sz="750"/>
            </a:lvl4pPr>
            <a:lvl5pPr marL="1371337" indent="0">
              <a:buNone/>
              <a:defRPr sz="750"/>
            </a:lvl5pPr>
            <a:lvl6pPr marL="1714171" indent="0">
              <a:buNone/>
              <a:defRPr sz="750"/>
            </a:lvl6pPr>
            <a:lvl7pPr marL="2057006" indent="0">
              <a:buNone/>
              <a:defRPr sz="750"/>
            </a:lvl7pPr>
            <a:lvl8pPr marL="2399839" indent="0">
              <a:buNone/>
              <a:defRPr sz="750"/>
            </a:lvl8pPr>
            <a:lvl9pPr marL="2742673"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9CC9E83E-767C-4DCD-80EA-4A3ADC3AF6F4}"/>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6" name="Footer Placeholder 5">
            <a:extLst>
              <a:ext uri="{FF2B5EF4-FFF2-40B4-BE49-F238E27FC236}">
                <a16:creationId xmlns:a16="http://schemas.microsoft.com/office/drawing/2014/main" id="{039DB6DB-88B4-4AA8-BD3F-E080E87645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62F145-5A01-4526-BEBA-84390C84E42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46847214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D8189-C745-43FC-B255-15EEE65CBC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DAE2DAA-0107-4DCF-BD6F-7F63E03DA68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45AF27-662F-46AE-B3B5-3148A7019A9E}"/>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18B60F3E-1448-4A7E-AADC-14D0BD4792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D6C746-5AB1-472D-A548-32EE95D254A3}"/>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01015379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19C05-F4AA-46C6-8E71-B9994037DD85}"/>
              </a:ext>
            </a:extLst>
          </p:cNvPr>
          <p:cNvSpPr>
            <a:spLocks noGrp="1"/>
          </p:cNvSpPr>
          <p:nvPr>
            <p:ph type="title" orient="vert"/>
          </p:nvPr>
        </p:nvSpPr>
        <p:spPr>
          <a:xfrm>
            <a:off x="6543675" y="365126"/>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16CF2FC-82E5-4AC0-90A3-7685B92809A9}"/>
              </a:ext>
            </a:extLst>
          </p:cNvPr>
          <p:cNvSpPr>
            <a:spLocks noGrp="1"/>
          </p:cNvSpPr>
          <p:nvPr>
            <p:ph type="body" orient="vert" idx="1"/>
          </p:nvPr>
        </p:nvSpPr>
        <p:spPr>
          <a:xfrm>
            <a:off x="628651" y="365126"/>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482B9C-FD3C-436A-A003-05D95DF7EE00}"/>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5418E497-FBC3-4367-B820-A624DAC952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2D7F74-B1D9-4213-B564-4C68DB9928CE}"/>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506027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548148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2094677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363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1654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02301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41578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8196"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4948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89265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69548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11933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109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5524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502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639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27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6730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3056744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80012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1395907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336159" y="470069"/>
            <a:ext cx="1545494"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r>
              <a:rPr kumimoji="0" lang="en-US" sz="205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336159" y="863773"/>
            <a:ext cx="1545494"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r>
              <a:rPr kumimoji="0" lang="en-US" sz="102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909407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44238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77621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01930" y="1189178"/>
            <a:ext cx="8740142" cy="1421928"/>
          </a:xfrm>
        </p:spPr>
        <p:txBody>
          <a:bodyPr/>
          <a:lstStyle>
            <a:lvl1pPr marL="0" indent="0">
              <a:buNone/>
              <a:defRPr sz="2700">
                <a:solidFill>
                  <a:schemeClr val="bg1"/>
                </a:solidFill>
              </a:defRPr>
            </a:lvl1pPr>
            <a:lvl2pPr marL="0" indent="0">
              <a:buFontTx/>
              <a:buNone/>
              <a:defRPr sz="1350">
                <a:solidFill>
                  <a:schemeClr val="bg1"/>
                </a:solidFill>
              </a:defRPr>
            </a:lvl2pPr>
            <a:lvl3pPr marL="168073" indent="0">
              <a:buNone/>
              <a:defRPr sz="1350">
                <a:solidFill>
                  <a:schemeClr val="bg1"/>
                </a:solidFill>
              </a:defRPr>
            </a:lvl3pPr>
            <a:lvl4pPr marL="336145" indent="0">
              <a:buNone/>
              <a:defRPr sz="1200">
                <a:solidFill>
                  <a:schemeClr val="bg1"/>
                </a:solidFill>
              </a:defRPr>
            </a:lvl4pPr>
            <a:lvl5pPr marL="504218" indent="0">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518339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214754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440010"/>
          </a:xfrm>
        </p:spPr>
        <p:txBody>
          <a:bodyPr>
            <a:spAutoFit/>
          </a:bodyPr>
          <a:lstStyle>
            <a:lvl1pPr>
              <a:defRPr sz="264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4399051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3414292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5"/>
            <a:ext cx="4033911" cy="1414746"/>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5"/>
            <a:ext cx="4033911" cy="1414746"/>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99389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1790362"/>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6"/>
            <a:ext cx="4033911" cy="1790362"/>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51801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871015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01931" y="964751"/>
            <a:ext cx="8741880" cy="558614"/>
          </a:xfrm>
        </p:spPr>
        <p:txBody>
          <a:bodyPr/>
          <a:lstStyle>
            <a:lvl1pPr marL="0" indent="0" algn="l" defTabSz="685775" rtl="0" eaLnBrk="1" latinLnBrk="0" hangingPunct="1">
              <a:lnSpc>
                <a:spcPct val="90000"/>
              </a:lnSpc>
              <a:spcBef>
                <a:spcPct val="0"/>
              </a:spcBef>
              <a:buNone/>
              <a:defRPr kumimoji="0" lang="en-US" sz="2700" b="0" i="1" u="none" strike="noStrike" kern="1200" cap="none" spc="-75"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7484981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01931" y="1625151"/>
            <a:ext cx="8741880" cy="558614"/>
          </a:xfrm>
        </p:spPr>
        <p:txBody>
          <a:bodyPr/>
          <a:lstStyle>
            <a:lvl1pPr marL="0" indent="0" algn="l" defTabSz="685775" rtl="0" eaLnBrk="1" latinLnBrk="0" hangingPunct="1">
              <a:lnSpc>
                <a:spcPct val="90000"/>
              </a:lnSpc>
              <a:spcBef>
                <a:spcPct val="0"/>
              </a:spcBef>
              <a:buNone/>
              <a:defRPr kumimoji="0" lang="en-US" sz="2700" b="0" i="1" u="none" strike="noStrike" kern="1200" cap="none" spc="-75"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0103908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62104"/>
          </a:xfrm>
          <a:noFill/>
        </p:spPr>
        <p:txBody>
          <a:bodyPr lIns="182880" tIns="146304" rIns="182880" bIns="146304">
            <a:sp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06481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30890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78685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842070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93797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21822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13068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60567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9100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73660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3"/>
            <a:ext cx="8740142" cy="1409360"/>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1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79656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6170059"/>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3083654"/>
            <a:ext cx="2417896" cy="690695"/>
          </a:xfrm>
          <a:prstGeom prst="rect">
            <a:avLst/>
          </a:prstGeom>
        </p:spPr>
      </p:pic>
    </p:spTree>
    <p:extLst>
      <p:ext uri="{BB962C8B-B14F-4D97-AF65-F5344CB8AC3E}">
        <p14:creationId xmlns:p14="http://schemas.microsoft.com/office/powerpoint/2010/main" val="210260673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0636196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9144000" cy="532814"/>
          </a:xfrm>
          <a:prstGeom prst="rect">
            <a:avLst/>
          </a:prstGeom>
          <a:solidFill>
            <a:srgbClr val="409AE1"/>
          </a:solidFill>
          <a:ln w="28575">
            <a:noFill/>
          </a:ln>
        </p:spPr>
        <p:txBody>
          <a:bodyPr vert="horz" wrap="square" lIns="68570" tIns="34285" rIns="68570" bIns="34285" numCol="1" anchor="t" anchorCtr="0" compatLnSpc="1">
            <a:prstTxWarp prst="textNoShape">
              <a:avLst/>
            </a:prstTxWarp>
          </a:bodyPr>
          <a:lstStyle/>
          <a:p>
            <a:pPr marR="0" lvl="0" indent="0" defTabSz="699422" fontAlgn="auto">
              <a:lnSpc>
                <a:spcPct val="100000"/>
              </a:lnSpc>
              <a:spcBef>
                <a:spcPts val="0"/>
              </a:spcBef>
              <a:spcAft>
                <a:spcPts val="0"/>
              </a:spcAft>
              <a:buClrTx/>
              <a:buSzTx/>
              <a:buFontTx/>
              <a:buNone/>
              <a:tabLst/>
            </a:pPr>
            <a:endParaRPr kumimoji="0" lang="en-US" sz="788"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6977847" y="5959092"/>
            <a:ext cx="1476041"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68570" tIns="34285" rIns="68570" bIns="34285" numCol="1" anchor="t" anchorCtr="0" compatLnSpc="1">
            <a:prstTxWarp prst="textNoShape">
              <a:avLst/>
            </a:prstTxWarp>
          </a:bodyPr>
          <a:lstStyle/>
          <a:p>
            <a:pPr marL="0" marR="0" lvl="0" indent="0" defTabSz="699422"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7003931" y="6216163"/>
            <a:ext cx="1368470"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699354"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1992114" y="4479168"/>
            <a:ext cx="182438" cy="4166664"/>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4264712" y="6687741"/>
            <a:ext cx="2865101"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1537261" y="5710544"/>
            <a:ext cx="5882898"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8418283" y="6302645"/>
            <a:ext cx="531988"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6"/>
            <a:ext cx="9144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45" name="Bent Arrow 44"/>
          <p:cNvSpPr/>
          <p:nvPr userDrawn="1"/>
        </p:nvSpPr>
        <p:spPr bwMode="auto">
          <a:xfrm rot="16200000">
            <a:off x="8611890" y="6643428"/>
            <a:ext cx="325590" cy="199541"/>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3291924" y="6600371"/>
            <a:ext cx="9117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3323727" y="6462555"/>
            <a:ext cx="28094"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163200" y="6858001"/>
            <a:ext cx="9399815"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52" name="Rectangle 51"/>
          <p:cNvSpPr/>
          <p:nvPr userDrawn="1"/>
        </p:nvSpPr>
        <p:spPr bwMode="auto">
          <a:xfrm>
            <a:off x="-293915" y="6074230"/>
            <a:ext cx="293915"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9144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28633" y="6491045"/>
            <a:ext cx="702457" cy="206372"/>
          </a:xfrm>
          <a:prstGeom prst="rect">
            <a:avLst/>
          </a:prstGeom>
        </p:spPr>
      </p:pic>
    </p:spTree>
    <p:extLst>
      <p:ext uri="{BB962C8B-B14F-4D97-AF65-F5344CB8AC3E}">
        <p14:creationId xmlns:p14="http://schemas.microsoft.com/office/powerpoint/2010/main" val="402322309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151194" y="1231902"/>
            <a:ext cx="8833654" cy="5423281"/>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24965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44140" y="347874"/>
            <a:ext cx="5444490" cy="923330"/>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271204"/>
            <a:ext cx="8741880" cy="464191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5" name="Rectangle 4"/>
          <p:cNvSpPr/>
          <p:nvPr userDrawn="1"/>
        </p:nvSpPr>
        <p:spPr>
          <a:xfrm>
            <a:off x="201060" y="347874"/>
            <a:ext cx="3235181" cy="715581"/>
          </a:xfrm>
          <a:prstGeom prst="rect">
            <a:avLst/>
          </a:prstGeom>
        </p:spPr>
        <p:txBody>
          <a:bodyPr wrap="none">
            <a:spAutoFit/>
          </a:bodyPr>
          <a:lstStyle/>
          <a:p>
            <a:pPr algn="l"/>
            <a:r>
              <a:rPr lang="en-US" sz="4050" b="1" dirty="0"/>
              <a:t>EXAM TIP!</a:t>
            </a:r>
          </a:p>
        </p:txBody>
      </p:sp>
    </p:spTree>
    <p:extLst>
      <p:ext uri="{BB962C8B-B14F-4D97-AF65-F5344CB8AC3E}">
        <p14:creationId xmlns:p14="http://schemas.microsoft.com/office/powerpoint/2010/main" val="298224644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30085" y="1"/>
            <a:ext cx="775476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151194" y="1231902"/>
            <a:ext cx="8833654"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151194" y="6219372"/>
            <a:ext cx="8833654" cy="587829"/>
          </a:xfrm>
          <a:prstGeom prst="rect">
            <a:avLst/>
          </a:prstGeom>
          <a:solidFill>
            <a:schemeClr val="bg1"/>
          </a:solidFill>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500" u="sng" dirty="0">
                <a:solidFill>
                  <a:srgbClr val="0070C0"/>
                </a:solidFill>
              </a:rPr>
              <a:t>Click to edit Lab URL</a:t>
            </a:r>
          </a:p>
        </p:txBody>
      </p:sp>
    </p:spTree>
    <p:extLst>
      <p:ext uri="{BB962C8B-B14F-4D97-AF65-F5344CB8AC3E}">
        <p14:creationId xmlns:p14="http://schemas.microsoft.com/office/powerpoint/2010/main" val="1702188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123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3686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dirty="0"/>
              <a:t>Click to edit Master title styl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p:spPr>
        <p:txBody>
          <a:bodyPr>
            <a:normAutofit/>
          </a:bodyPr>
          <a:lstStyle>
            <a:lvl1pPr marL="0" indent="0" defTabSz="0">
              <a:buFont typeface="Arial" panose="020B0604020202020204" pitchFamily="34" charset="0"/>
              <a:buNone/>
              <a:defRPr sz="75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75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75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75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75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79536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721207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151194" y="1231902"/>
            <a:ext cx="8833654"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95386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527" y="358017"/>
            <a:ext cx="7886700" cy="2275854"/>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519527" y="2994923"/>
            <a:ext cx="7886700" cy="1500187"/>
          </a:xfrm>
        </p:spPr>
        <p:txBody>
          <a:bodyPr/>
          <a:lstStyle>
            <a:lvl1pPr marL="0" indent="0">
              <a:buNone/>
              <a:defRPr sz="1800" baseline="0">
                <a:solidFill>
                  <a:srgbClr val="0070C0"/>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Tree>
    <p:extLst>
      <p:ext uri="{BB962C8B-B14F-4D97-AF65-F5344CB8AC3E}">
        <p14:creationId xmlns:p14="http://schemas.microsoft.com/office/powerpoint/2010/main" val="554798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271615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19619"/>
            <a:ext cx="78867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67640" y="1279525"/>
            <a:ext cx="427482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8690" y="1279525"/>
            <a:ext cx="427482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1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8469276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12/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561053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174626"/>
            <a:ext cx="8286750" cy="993775"/>
          </a:xfrm>
        </p:spPr>
        <p:txBody>
          <a:bodyPr>
            <a:normAutofit/>
          </a:bodyPr>
          <a:lstStyle>
            <a:lvl1pPr>
              <a:defRPr sz="405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4/12/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804344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12/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065833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622950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7996050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50094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24778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endParaRPr lang="en-US" sz="1324"/>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endParaRPr lang="en-US" sz="1324"/>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3328" y="3877272"/>
            <a:ext cx="4705064"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Tree>
    <p:extLst>
      <p:ext uri="{BB962C8B-B14F-4D97-AF65-F5344CB8AC3E}">
        <p14:creationId xmlns:p14="http://schemas.microsoft.com/office/powerpoint/2010/main" val="10600720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70"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48400" y="6586706"/>
            <a:ext cx="2647200"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5376031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23578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8729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44140" y="347874"/>
            <a:ext cx="6298800" cy="923330"/>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271204"/>
            <a:ext cx="8741880" cy="464191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5" name="Rectangle 4"/>
          <p:cNvSpPr/>
          <p:nvPr userDrawn="1"/>
        </p:nvSpPr>
        <p:spPr>
          <a:xfrm>
            <a:off x="201060" y="347874"/>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7338554" cy="823460"/>
          </a:xfrm>
          <a:solidFill>
            <a:srgbClr val="92D050"/>
          </a:solidFill>
        </p:spPr>
        <p:txBody>
          <a:bodyPr>
            <a:noAutofit/>
          </a:bodyPr>
          <a:lstStyle>
            <a:lvl1pPr marL="0" indent="0">
              <a:buFontTx/>
              <a:buNone/>
              <a:defRPr sz="1500" u="sng">
                <a:solidFill>
                  <a:srgbClr val="0070C0"/>
                </a:solidFill>
              </a:defRPr>
            </a:lvl1pPr>
            <a:lvl2pPr marL="342900" indent="0">
              <a:buFontTx/>
              <a:buNone/>
              <a:defRPr sz="1500" u="sng">
                <a:solidFill>
                  <a:srgbClr val="0070C0"/>
                </a:solidFill>
              </a:defRPr>
            </a:lvl2pPr>
            <a:lvl3pPr marL="685800" indent="0">
              <a:buFontTx/>
              <a:buNone/>
              <a:defRPr sz="1500" u="sng">
                <a:solidFill>
                  <a:srgbClr val="0070C0"/>
                </a:solidFill>
              </a:defRPr>
            </a:lvl3pPr>
            <a:lvl4pPr marL="1028700" indent="0">
              <a:buFontTx/>
              <a:buNone/>
              <a:defRPr sz="1500" u="sng">
                <a:solidFill>
                  <a:srgbClr val="0070C0"/>
                </a:solidFill>
              </a:defRPr>
            </a:lvl4pPr>
            <a:lvl5pPr marL="1371600" indent="0">
              <a:buFontTx/>
              <a:buNone/>
              <a:defRPr sz="15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950354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1326247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2333625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113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700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584460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08471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209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13797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10911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90280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2918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7482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3239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502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8099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4412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1354195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0949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p:bg>
      <p:bgPr>
        <a:solidFill>
          <a:schemeClr val="accent1"/>
        </a:solidFill>
        <a:effectLst/>
      </p:bgPr>
    </p:bg>
    <p:spTree>
      <p:nvGrpSpPr>
        <p:cNvPr id="1" name=""/>
        <p:cNvGrpSpPr/>
        <p:nvPr/>
      </p:nvGrpSpPr>
      <p:grpSpPr>
        <a:xfrm>
          <a:off x="0" y="0"/>
          <a:ext cx="0" cy="0"/>
          <a:chOff x="0" y="0"/>
          <a:chExt cx="0" cy="0"/>
        </a:xfrm>
      </p:grpSpPr>
      <p:grpSp>
        <p:nvGrpSpPr>
          <p:cNvPr id="27" name="Group 17"/>
          <p:cNvGrpSpPr>
            <a:grpSpLocks noChangeAspect="1"/>
          </p:cNvGrpSpPr>
          <p:nvPr/>
        </p:nvGrpSpPr>
        <p:grpSpPr bwMode="auto">
          <a:xfrm>
            <a:off x="2317657" y="126993"/>
            <a:ext cx="6782801" cy="6634630"/>
            <a:chOff x="1951" y="0"/>
            <a:chExt cx="5890" cy="4321"/>
          </a:xfrm>
          <a:solidFill>
            <a:schemeClr val="accent1">
              <a:lumMod val="75000"/>
            </a:schemeClr>
          </a:solidFill>
        </p:grpSpPr>
        <p:grpSp>
          <p:nvGrpSpPr>
            <p:cNvPr id="29" name="Group 218"/>
            <p:cNvGrpSpPr>
              <a:grpSpLocks/>
            </p:cNvGrpSpPr>
            <p:nvPr userDrawn="1"/>
          </p:nvGrpSpPr>
          <p:grpSpPr bwMode="auto">
            <a:xfrm>
              <a:off x="1951" y="2190"/>
              <a:ext cx="5871" cy="2131"/>
              <a:chOff x="1951" y="2190"/>
              <a:chExt cx="5871" cy="2131"/>
            </a:xfrm>
            <a:grpFill/>
          </p:grpSpPr>
          <p:sp>
            <p:nvSpPr>
              <p:cNvPr id="1561" name="Freeform 18"/>
              <p:cNvSpPr>
                <a:spLocks noEditPoints="1"/>
              </p:cNvSpPr>
              <p:nvPr userDrawn="1"/>
            </p:nvSpPr>
            <p:spPr bwMode="auto">
              <a:xfrm>
                <a:off x="1951"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2" name="Freeform 19"/>
              <p:cNvSpPr>
                <a:spLocks/>
              </p:cNvSpPr>
              <p:nvPr userDrawn="1"/>
            </p:nvSpPr>
            <p:spPr bwMode="auto">
              <a:xfrm>
                <a:off x="2149"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3" name="Freeform 20"/>
              <p:cNvSpPr>
                <a:spLocks/>
              </p:cNvSpPr>
              <p:nvPr userDrawn="1"/>
            </p:nvSpPr>
            <p:spPr bwMode="auto">
              <a:xfrm>
                <a:off x="2299" y="219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4" name="Freeform 21"/>
              <p:cNvSpPr>
                <a:spLocks noEditPoints="1"/>
              </p:cNvSpPr>
              <p:nvPr userDrawn="1"/>
            </p:nvSpPr>
            <p:spPr bwMode="auto">
              <a:xfrm>
                <a:off x="2446"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5" name="Freeform 22"/>
              <p:cNvSpPr>
                <a:spLocks/>
              </p:cNvSpPr>
              <p:nvPr userDrawn="1"/>
            </p:nvSpPr>
            <p:spPr bwMode="auto">
              <a:xfrm>
                <a:off x="2643"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6" name="Freeform 23"/>
              <p:cNvSpPr>
                <a:spLocks noEditPoints="1"/>
              </p:cNvSpPr>
              <p:nvPr userDrawn="1"/>
            </p:nvSpPr>
            <p:spPr bwMode="auto">
              <a:xfrm>
                <a:off x="2792"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7" name="Freeform 24"/>
              <p:cNvSpPr>
                <a:spLocks/>
              </p:cNvSpPr>
              <p:nvPr userDrawn="1"/>
            </p:nvSpPr>
            <p:spPr bwMode="auto">
              <a:xfrm>
                <a:off x="2990" y="2197"/>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8" name="Freeform 25"/>
              <p:cNvSpPr>
                <a:spLocks/>
              </p:cNvSpPr>
              <p:nvPr userDrawn="1"/>
            </p:nvSpPr>
            <p:spPr bwMode="auto">
              <a:xfrm>
                <a:off x="3140" y="219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9" name="Freeform 26"/>
              <p:cNvSpPr>
                <a:spLocks/>
              </p:cNvSpPr>
              <p:nvPr userDrawn="1"/>
            </p:nvSpPr>
            <p:spPr bwMode="auto">
              <a:xfrm>
                <a:off x="3288"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0" name="Freeform 27"/>
              <p:cNvSpPr>
                <a:spLocks noEditPoints="1"/>
              </p:cNvSpPr>
              <p:nvPr userDrawn="1"/>
            </p:nvSpPr>
            <p:spPr bwMode="auto">
              <a:xfrm>
                <a:off x="3437"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1"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1" name="Freeform 28"/>
              <p:cNvSpPr>
                <a:spLocks noEditPoints="1"/>
              </p:cNvSpPr>
              <p:nvPr userDrawn="1"/>
            </p:nvSpPr>
            <p:spPr bwMode="auto">
              <a:xfrm>
                <a:off x="3632"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2" name="Freeform 29"/>
              <p:cNvSpPr>
                <a:spLocks noEditPoints="1"/>
              </p:cNvSpPr>
              <p:nvPr userDrawn="1"/>
            </p:nvSpPr>
            <p:spPr bwMode="auto">
              <a:xfrm>
                <a:off x="3827"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3" name="Freeform 30"/>
              <p:cNvSpPr>
                <a:spLocks noEditPoints="1"/>
              </p:cNvSpPr>
              <p:nvPr userDrawn="1"/>
            </p:nvSpPr>
            <p:spPr bwMode="auto">
              <a:xfrm>
                <a:off x="4228"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4" name="Freeform 31"/>
              <p:cNvSpPr>
                <a:spLocks/>
              </p:cNvSpPr>
              <p:nvPr userDrawn="1"/>
            </p:nvSpPr>
            <p:spPr bwMode="auto">
              <a:xfrm>
                <a:off x="4425"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5" name="Freeform 32"/>
              <p:cNvSpPr>
                <a:spLocks/>
              </p:cNvSpPr>
              <p:nvPr userDrawn="1"/>
            </p:nvSpPr>
            <p:spPr bwMode="auto">
              <a:xfrm>
                <a:off x="4575"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6" name="Freeform 33"/>
              <p:cNvSpPr>
                <a:spLocks noEditPoints="1"/>
              </p:cNvSpPr>
              <p:nvPr userDrawn="1"/>
            </p:nvSpPr>
            <p:spPr bwMode="auto">
              <a:xfrm>
                <a:off x="4723" y="219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7" name="Freeform 34"/>
              <p:cNvSpPr>
                <a:spLocks/>
              </p:cNvSpPr>
              <p:nvPr userDrawn="1"/>
            </p:nvSpPr>
            <p:spPr bwMode="auto">
              <a:xfrm>
                <a:off x="4920"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8" name="Freeform 35"/>
              <p:cNvSpPr>
                <a:spLocks/>
              </p:cNvSpPr>
              <p:nvPr userDrawn="1"/>
            </p:nvSpPr>
            <p:spPr bwMode="auto">
              <a:xfrm>
                <a:off x="5070"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9" name="Freeform 36"/>
              <p:cNvSpPr>
                <a:spLocks noEditPoints="1"/>
              </p:cNvSpPr>
              <p:nvPr userDrawn="1"/>
            </p:nvSpPr>
            <p:spPr bwMode="auto">
              <a:xfrm>
                <a:off x="5219"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0" name="Freeform 37"/>
              <p:cNvSpPr>
                <a:spLocks noEditPoints="1"/>
              </p:cNvSpPr>
              <p:nvPr userDrawn="1"/>
            </p:nvSpPr>
            <p:spPr bwMode="auto">
              <a:xfrm>
                <a:off x="5414"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1" name="Freeform 38"/>
              <p:cNvSpPr>
                <a:spLocks noEditPoints="1"/>
              </p:cNvSpPr>
              <p:nvPr userDrawn="1"/>
            </p:nvSpPr>
            <p:spPr bwMode="auto">
              <a:xfrm>
                <a:off x="5609"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2" name="Freeform 39"/>
              <p:cNvSpPr>
                <a:spLocks/>
              </p:cNvSpPr>
              <p:nvPr userDrawn="1"/>
            </p:nvSpPr>
            <p:spPr bwMode="auto">
              <a:xfrm>
                <a:off x="5806"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3" name="Freeform 40"/>
              <p:cNvSpPr>
                <a:spLocks noEditPoints="1"/>
              </p:cNvSpPr>
              <p:nvPr userDrawn="1"/>
            </p:nvSpPr>
            <p:spPr bwMode="auto">
              <a:xfrm>
                <a:off x="5943" y="2202"/>
                <a:ext cx="188" cy="220"/>
              </a:xfrm>
              <a:custGeom>
                <a:avLst/>
                <a:gdLst>
                  <a:gd name="T0" fmla="*/ 188 w 188"/>
                  <a:gd name="T1" fmla="*/ 67 h 220"/>
                  <a:gd name="T2" fmla="*/ 185 w 188"/>
                  <a:gd name="T3" fmla="*/ 86 h 220"/>
                  <a:gd name="T4" fmla="*/ 141 w 188"/>
                  <a:gd name="T5" fmla="*/ 86 h 220"/>
                  <a:gd name="T6" fmla="*/ 130 w 188"/>
                  <a:gd name="T7" fmla="*/ 136 h 220"/>
                  <a:gd name="T8" fmla="*/ 177 w 188"/>
                  <a:gd name="T9" fmla="*/ 136 h 220"/>
                  <a:gd name="T10" fmla="*/ 173 w 188"/>
                  <a:gd name="T11" fmla="*/ 153 h 220"/>
                  <a:gd name="T12" fmla="*/ 126 w 188"/>
                  <a:gd name="T13" fmla="*/ 153 h 220"/>
                  <a:gd name="T14" fmla="*/ 112 w 188"/>
                  <a:gd name="T15" fmla="*/ 220 h 220"/>
                  <a:gd name="T16" fmla="*/ 91 w 188"/>
                  <a:gd name="T17" fmla="*/ 220 h 220"/>
                  <a:gd name="T18" fmla="*/ 106 w 188"/>
                  <a:gd name="T19" fmla="*/ 153 h 220"/>
                  <a:gd name="T20" fmla="*/ 64 w 188"/>
                  <a:gd name="T21" fmla="*/ 153 h 220"/>
                  <a:gd name="T22" fmla="*/ 49 w 188"/>
                  <a:gd name="T23" fmla="*/ 220 h 220"/>
                  <a:gd name="T24" fmla="*/ 29 w 188"/>
                  <a:gd name="T25" fmla="*/ 220 h 220"/>
                  <a:gd name="T26" fmla="*/ 43 w 188"/>
                  <a:gd name="T27" fmla="*/ 153 h 220"/>
                  <a:gd name="T28" fmla="*/ 0 w 188"/>
                  <a:gd name="T29" fmla="*/ 153 h 220"/>
                  <a:gd name="T30" fmla="*/ 3 w 188"/>
                  <a:gd name="T31" fmla="*/ 136 h 220"/>
                  <a:gd name="T32" fmla="*/ 47 w 188"/>
                  <a:gd name="T33" fmla="*/ 136 h 220"/>
                  <a:gd name="T34" fmla="*/ 57 w 188"/>
                  <a:gd name="T35" fmla="*/ 86 h 220"/>
                  <a:gd name="T36" fmla="*/ 10 w 188"/>
                  <a:gd name="T37" fmla="*/ 86 h 220"/>
                  <a:gd name="T38" fmla="*/ 14 w 188"/>
                  <a:gd name="T39" fmla="*/ 67 h 220"/>
                  <a:gd name="T40" fmla="*/ 60 w 188"/>
                  <a:gd name="T41" fmla="*/ 67 h 220"/>
                  <a:gd name="T42" fmla="*/ 74 w 188"/>
                  <a:gd name="T43" fmla="*/ 0 h 220"/>
                  <a:gd name="T44" fmla="*/ 96 w 188"/>
                  <a:gd name="T45" fmla="*/ 0 h 220"/>
                  <a:gd name="T46" fmla="*/ 81 w 188"/>
                  <a:gd name="T47" fmla="*/ 67 h 220"/>
                  <a:gd name="T48" fmla="*/ 124 w 188"/>
                  <a:gd name="T49" fmla="*/ 67 h 220"/>
                  <a:gd name="T50" fmla="*/ 137 w 188"/>
                  <a:gd name="T51" fmla="*/ 0 h 220"/>
                  <a:gd name="T52" fmla="*/ 158 w 188"/>
                  <a:gd name="T53" fmla="*/ 0 h 220"/>
                  <a:gd name="T54" fmla="*/ 145 w 188"/>
                  <a:gd name="T55" fmla="*/ 67 h 220"/>
                  <a:gd name="T56" fmla="*/ 188 w 188"/>
                  <a:gd name="T57" fmla="*/ 67 h 220"/>
                  <a:gd name="T58" fmla="*/ 120 w 188"/>
                  <a:gd name="T59" fmla="*/ 86 h 220"/>
                  <a:gd name="T60" fmla="*/ 78 w 188"/>
                  <a:gd name="T61" fmla="*/ 86 h 220"/>
                  <a:gd name="T62" fmla="*/ 67 w 188"/>
                  <a:gd name="T63" fmla="*/ 136 h 220"/>
                  <a:gd name="T64" fmla="*/ 109 w 188"/>
                  <a:gd name="T65" fmla="*/ 136 h 220"/>
                  <a:gd name="T66" fmla="*/ 120 w 188"/>
                  <a:gd name="T67" fmla="*/ 8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20">
                    <a:moveTo>
                      <a:pt x="188" y="67"/>
                    </a:moveTo>
                    <a:lnTo>
                      <a:pt x="185" y="86"/>
                    </a:lnTo>
                    <a:lnTo>
                      <a:pt x="141" y="86"/>
                    </a:lnTo>
                    <a:lnTo>
                      <a:pt x="130" y="136"/>
                    </a:lnTo>
                    <a:lnTo>
                      <a:pt x="177" y="136"/>
                    </a:lnTo>
                    <a:lnTo>
                      <a:pt x="173" y="153"/>
                    </a:lnTo>
                    <a:lnTo>
                      <a:pt x="126" y="153"/>
                    </a:lnTo>
                    <a:lnTo>
                      <a:pt x="112" y="220"/>
                    </a:lnTo>
                    <a:lnTo>
                      <a:pt x="91" y="220"/>
                    </a:lnTo>
                    <a:lnTo>
                      <a:pt x="106" y="153"/>
                    </a:lnTo>
                    <a:lnTo>
                      <a:pt x="64" y="153"/>
                    </a:lnTo>
                    <a:lnTo>
                      <a:pt x="49" y="220"/>
                    </a:lnTo>
                    <a:lnTo>
                      <a:pt x="29" y="220"/>
                    </a:lnTo>
                    <a:lnTo>
                      <a:pt x="43" y="153"/>
                    </a:lnTo>
                    <a:lnTo>
                      <a:pt x="0" y="153"/>
                    </a:lnTo>
                    <a:lnTo>
                      <a:pt x="3" y="136"/>
                    </a:lnTo>
                    <a:lnTo>
                      <a:pt x="47" y="136"/>
                    </a:lnTo>
                    <a:lnTo>
                      <a:pt x="57" y="86"/>
                    </a:lnTo>
                    <a:lnTo>
                      <a:pt x="10" y="86"/>
                    </a:lnTo>
                    <a:lnTo>
                      <a:pt x="14" y="67"/>
                    </a:lnTo>
                    <a:lnTo>
                      <a:pt x="60" y="67"/>
                    </a:lnTo>
                    <a:lnTo>
                      <a:pt x="74" y="0"/>
                    </a:lnTo>
                    <a:lnTo>
                      <a:pt x="96" y="0"/>
                    </a:lnTo>
                    <a:lnTo>
                      <a:pt x="81" y="67"/>
                    </a:lnTo>
                    <a:lnTo>
                      <a:pt x="124" y="67"/>
                    </a:lnTo>
                    <a:lnTo>
                      <a:pt x="137" y="0"/>
                    </a:lnTo>
                    <a:lnTo>
                      <a:pt x="158" y="0"/>
                    </a:lnTo>
                    <a:lnTo>
                      <a:pt x="145" y="67"/>
                    </a:lnTo>
                    <a:lnTo>
                      <a:pt x="188" y="67"/>
                    </a:lnTo>
                    <a:close/>
                    <a:moveTo>
                      <a:pt x="120" y="86"/>
                    </a:moveTo>
                    <a:lnTo>
                      <a:pt x="78" y="86"/>
                    </a:lnTo>
                    <a:lnTo>
                      <a:pt x="67" y="136"/>
                    </a:lnTo>
                    <a:lnTo>
                      <a:pt x="109" y="136"/>
                    </a:lnTo>
                    <a:lnTo>
                      <a:pt x="12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4" name="Freeform 41"/>
              <p:cNvSpPr>
                <a:spLocks noEditPoints="1"/>
              </p:cNvSpPr>
              <p:nvPr userDrawn="1"/>
            </p:nvSpPr>
            <p:spPr bwMode="auto">
              <a:xfrm>
                <a:off x="6159"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5" name="Freeform 42"/>
              <p:cNvSpPr>
                <a:spLocks/>
              </p:cNvSpPr>
              <p:nvPr userDrawn="1"/>
            </p:nvSpPr>
            <p:spPr bwMode="auto">
              <a:xfrm>
                <a:off x="6357"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6" name="Freeform 43"/>
              <p:cNvSpPr>
                <a:spLocks noEditPoints="1"/>
              </p:cNvSpPr>
              <p:nvPr userDrawn="1"/>
            </p:nvSpPr>
            <p:spPr bwMode="auto">
              <a:xfrm>
                <a:off x="6506" y="2198"/>
                <a:ext cx="154"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7" name="Freeform 44"/>
              <p:cNvSpPr>
                <a:spLocks noEditPoints="1"/>
              </p:cNvSpPr>
              <p:nvPr userDrawn="1"/>
            </p:nvSpPr>
            <p:spPr bwMode="auto">
              <a:xfrm>
                <a:off x="6701"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89"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8" name="Freeform 45"/>
              <p:cNvSpPr>
                <a:spLocks/>
              </p:cNvSpPr>
              <p:nvPr userDrawn="1"/>
            </p:nvSpPr>
            <p:spPr bwMode="auto">
              <a:xfrm>
                <a:off x="6898"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9" name="Freeform 46"/>
              <p:cNvSpPr>
                <a:spLocks noEditPoints="1"/>
              </p:cNvSpPr>
              <p:nvPr userDrawn="1"/>
            </p:nvSpPr>
            <p:spPr bwMode="auto">
              <a:xfrm>
                <a:off x="7045" y="219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0" name="Freeform 47"/>
              <p:cNvSpPr>
                <a:spLocks/>
              </p:cNvSpPr>
              <p:nvPr userDrawn="1"/>
            </p:nvSpPr>
            <p:spPr bwMode="auto">
              <a:xfrm>
                <a:off x="7244" y="2197"/>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1" name="Freeform 48"/>
              <p:cNvSpPr>
                <a:spLocks noEditPoints="1"/>
              </p:cNvSpPr>
              <p:nvPr userDrawn="1"/>
            </p:nvSpPr>
            <p:spPr bwMode="auto">
              <a:xfrm>
                <a:off x="7392"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2" name="Freeform 49"/>
              <p:cNvSpPr>
                <a:spLocks/>
              </p:cNvSpPr>
              <p:nvPr userDrawn="1"/>
            </p:nvSpPr>
            <p:spPr bwMode="auto">
              <a:xfrm>
                <a:off x="7589"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3" name="Freeform 50"/>
              <p:cNvSpPr>
                <a:spLocks/>
              </p:cNvSpPr>
              <p:nvPr userDrawn="1"/>
            </p:nvSpPr>
            <p:spPr bwMode="auto">
              <a:xfrm>
                <a:off x="7739"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4" name="Freeform 51"/>
              <p:cNvSpPr>
                <a:spLocks noEditPoints="1"/>
              </p:cNvSpPr>
              <p:nvPr userDrawn="1"/>
            </p:nvSpPr>
            <p:spPr bwMode="auto">
              <a:xfrm>
                <a:off x="3986" y="2190"/>
                <a:ext cx="219" cy="255"/>
              </a:xfrm>
              <a:custGeom>
                <a:avLst/>
                <a:gdLst>
                  <a:gd name="T0" fmla="*/ 175 w 179"/>
                  <a:gd name="T1" fmla="*/ 174 h 209"/>
                  <a:gd name="T2" fmla="*/ 134 w 179"/>
                  <a:gd name="T3" fmla="*/ 208 h 209"/>
                  <a:gd name="T4" fmla="*/ 80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59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1 h 209"/>
                  <a:gd name="T44" fmla="*/ 101 w 179"/>
                  <a:gd name="T45" fmla="*/ 68 h 209"/>
                  <a:gd name="T46" fmla="*/ 73 w 179"/>
                  <a:gd name="T47" fmla="*/ 79 h 209"/>
                  <a:gd name="T48" fmla="*/ 63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6 w 179"/>
                  <a:gd name="T85" fmla="*/ 42 h 209"/>
                  <a:gd name="T86" fmla="*/ 78 w 179"/>
                  <a:gd name="T87" fmla="*/ 44 h 209"/>
                  <a:gd name="T88" fmla="*/ 65 w 179"/>
                  <a:gd name="T89" fmla="*/ 34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1"/>
                    </a:cubicBezTo>
                    <a:cubicBezTo>
                      <a:pt x="172" y="172"/>
                      <a:pt x="174" y="173"/>
                      <a:pt x="175" y="174"/>
                    </a:cubicBezTo>
                    <a:cubicBezTo>
                      <a:pt x="179" y="176"/>
                      <a:pt x="179" y="180"/>
                      <a:pt x="176" y="183"/>
                    </a:cubicBezTo>
                    <a:cubicBezTo>
                      <a:pt x="173" y="186"/>
                      <a:pt x="170" y="188"/>
                      <a:pt x="166" y="189"/>
                    </a:cubicBezTo>
                    <a:cubicBezTo>
                      <a:pt x="157" y="193"/>
                      <a:pt x="148" y="199"/>
                      <a:pt x="141" y="206"/>
                    </a:cubicBezTo>
                    <a:cubicBezTo>
                      <a:pt x="139" y="208"/>
                      <a:pt x="137" y="208"/>
                      <a:pt x="134" y="208"/>
                    </a:cubicBezTo>
                    <a:cubicBezTo>
                      <a:pt x="131" y="209"/>
                      <a:pt x="128" y="209"/>
                      <a:pt x="125" y="208"/>
                    </a:cubicBezTo>
                    <a:cubicBezTo>
                      <a:pt x="122" y="207"/>
                      <a:pt x="119" y="206"/>
                      <a:pt x="118" y="203"/>
                    </a:cubicBezTo>
                    <a:cubicBezTo>
                      <a:pt x="116" y="200"/>
                      <a:pt x="113" y="198"/>
                      <a:pt x="109" y="198"/>
                    </a:cubicBezTo>
                    <a:cubicBezTo>
                      <a:pt x="100" y="198"/>
                      <a:pt x="90" y="198"/>
                      <a:pt x="80" y="198"/>
                    </a:cubicBezTo>
                    <a:cubicBezTo>
                      <a:pt x="76" y="198"/>
                      <a:pt x="72" y="199"/>
                      <a:pt x="68" y="202"/>
                    </a:cubicBezTo>
                    <a:cubicBezTo>
                      <a:pt x="66" y="203"/>
                      <a:pt x="64" y="204"/>
                      <a:pt x="63" y="205"/>
                    </a:cubicBezTo>
                    <a:cubicBezTo>
                      <a:pt x="58" y="208"/>
                      <a:pt x="53" y="209"/>
                      <a:pt x="48" y="207"/>
                    </a:cubicBezTo>
                    <a:cubicBezTo>
                      <a:pt x="43" y="205"/>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4" y="176"/>
                      <a:pt x="3" y="172"/>
                    </a:cubicBezTo>
                    <a:cubicBezTo>
                      <a:pt x="3" y="170"/>
                      <a:pt x="2" y="168"/>
                      <a:pt x="2" y="166"/>
                    </a:cubicBezTo>
                    <a:cubicBezTo>
                      <a:pt x="1" y="162"/>
                      <a:pt x="3" y="160"/>
                      <a:pt x="7" y="160"/>
                    </a:cubicBezTo>
                    <a:cubicBezTo>
                      <a:pt x="9" y="160"/>
                      <a:pt x="12" y="160"/>
                      <a:pt x="14" y="159"/>
                    </a:cubicBezTo>
                    <a:cubicBezTo>
                      <a:pt x="19" y="158"/>
                      <a:pt x="22" y="155"/>
                      <a:pt x="23" y="150"/>
                    </a:cubicBezTo>
                    <a:cubicBezTo>
                      <a:pt x="23" y="150"/>
                      <a:pt x="23" y="150"/>
                      <a:pt x="23" y="149"/>
                    </a:cubicBezTo>
                    <a:cubicBezTo>
                      <a:pt x="25" y="153"/>
                      <a:pt x="23" y="160"/>
                      <a:pt x="17" y="161"/>
                    </a:cubicBezTo>
                    <a:cubicBezTo>
                      <a:pt x="15" y="162"/>
                      <a:pt x="12" y="162"/>
                      <a:pt x="9" y="162"/>
                    </a:cubicBezTo>
                    <a:cubicBezTo>
                      <a:pt x="9" y="162"/>
                      <a:pt x="9" y="162"/>
                      <a:pt x="9" y="162"/>
                    </a:cubicBezTo>
                    <a:cubicBezTo>
                      <a:pt x="5" y="162"/>
                      <a:pt x="3" y="164"/>
                      <a:pt x="4" y="168"/>
                    </a:cubicBezTo>
                    <a:cubicBezTo>
                      <a:pt x="5" y="169"/>
                      <a:pt x="5" y="171"/>
                      <a:pt x="6" y="172"/>
                    </a:cubicBezTo>
                    <a:cubicBezTo>
                      <a:pt x="8" y="176"/>
                      <a:pt x="8" y="180"/>
                      <a:pt x="6" y="183"/>
                    </a:cubicBezTo>
                    <a:cubicBezTo>
                      <a:pt x="6" y="185"/>
                      <a:pt x="5" y="186"/>
                      <a:pt x="4" y="188"/>
                    </a:cubicBezTo>
                    <a:cubicBezTo>
                      <a:pt x="4" y="190"/>
                      <a:pt x="4" y="191"/>
                      <a:pt x="6" y="192"/>
                    </a:cubicBezTo>
                    <a:cubicBezTo>
                      <a:pt x="9" y="193"/>
                      <a:pt x="11" y="194"/>
                      <a:pt x="13" y="194"/>
                    </a:cubicBezTo>
                    <a:cubicBezTo>
                      <a:pt x="24" y="196"/>
                      <a:pt x="35" y="199"/>
                      <a:pt x="45" y="202"/>
                    </a:cubicBezTo>
                    <a:cubicBezTo>
                      <a:pt x="49" y="203"/>
                      <a:pt x="52" y="204"/>
                      <a:pt x="55" y="203"/>
                    </a:cubicBezTo>
                    <a:cubicBezTo>
                      <a:pt x="63" y="202"/>
                      <a:pt x="66" y="197"/>
                      <a:pt x="64" y="190"/>
                    </a:cubicBezTo>
                    <a:cubicBezTo>
                      <a:pt x="64" y="186"/>
                      <a:pt x="62" y="182"/>
                      <a:pt x="60" y="179"/>
                    </a:cubicBezTo>
                    <a:cubicBezTo>
                      <a:pt x="54" y="170"/>
                      <a:pt x="49" y="160"/>
                      <a:pt x="42" y="152"/>
                    </a:cubicBezTo>
                    <a:cubicBezTo>
                      <a:pt x="40" y="149"/>
                      <a:pt x="37" y="147"/>
                      <a:pt x="35" y="145"/>
                    </a:cubicBezTo>
                    <a:cubicBezTo>
                      <a:pt x="32" y="143"/>
                      <a:pt x="29" y="143"/>
                      <a:pt x="27" y="144"/>
                    </a:cubicBezTo>
                    <a:cubicBezTo>
                      <a:pt x="26" y="145"/>
                      <a:pt x="25" y="145"/>
                      <a:pt x="25" y="143"/>
                    </a:cubicBezTo>
                    <a:cubicBezTo>
                      <a:pt x="24" y="140"/>
                      <a:pt x="24" y="137"/>
                      <a:pt x="25" y="134"/>
                    </a:cubicBezTo>
                    <a:cubicBezTo>
                      <a:pt x="26" y="132"/>
                      <a:pt x="26" y="131"/>
                      <a:pt x="27" y="130"/>
                    </a:cubicBezTo>
                    <a:cubicBezTo>
                      <a:pt x="30" y="125"/>
                      <a:pt x="32" y="119"/>
                      <a:pt x="35" y="112"/>
                    </a:cubicBezTo>
                    <a:cubicBezTo>
                      <a:pt x="37" y="106"/>
                      <a:pt x="39" y="100"/>
                      <a:pt x="43" y="94"/>
                    </a:cubicBezTo>
                    <a:cubicBezTo>
                      <a:pt x="46" y="90"/>
                      <a:pt x="49" y="87"/>
                      <a:pt x="52" y="83"/>
                    </a:cubicBezTo>
                    <a:cubicBezTo>
                      <a:pt x="54" y="80"/>
                      <a:pt x="56" y="77"/>
                      <a:pt x="58" y="73"/>
                    </a:cubicBezTo>
                    <a:cubicBezTo>
                      <a:pt x="60" y="71"/>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0" y="23"/>
                      <a:pt x="122" y="30"/>
                      <a:pt x="122" y="36"/>
                    </a:cubicBezTo>
                    <a:cubicBezTo>
                      <a:pt x="122" y="40"/>
                      <a:pt x="122" y="43"/>
                      <a:pt x="123" y="47"/>
                    </a:cubicBezTo>
                    <a:cubicBezTo>
                      <a:pt x="124" y="61"/>
                      <a:pt x="128" y="74"/>
                      <a:pt x="138" y="85"/>
                    </a:cubicBezTo>
                    <a:cubicBezTo>
                      <a:pt x="150" y="97"/>
                      <a:pt x="156" y="112"/>
                      <a:pt x="159" y="128"/>
                    </a:cubicBezTo>
                    <a:cubicBezTo>
                      <a:pt x="160" y="133"/>
                      <a:pt x="161" y="138"/>
                      <a:pt x="160" y="143"/>
                    </a:cubicBezTo>
                    <a:cubicBezTo>
                      <a:pt x="159" y="144"/>
                      <a:pt x="159" y="145"/>
                      <a:pt x="159" y="146"/>
                    </a:cubicBezTo>
                    <a:cubicBezTo>
                      <a:pt x="158" y="147"/>
                      <a:pt x="158" y="148"/>
                      <a:pt x="157" y="148"/>
                    </a:cubicBezTo>
                    <a:cubicBezTo>
                      <a:pt x="155" y="149"/>
                      <a:pt x="154" y="150"/>
                      <a:pt x="153" y="152"/>
                    </a:cubicBezTo>
                    <a:cubicBezTo>
                      <a:pt x="151" y="154"/>
                      <a:pt x="149" y="156"/>
                      <a:pt x="147" y="158"/>
                    </a:cubicBezTo>
                    <a:cubicBezTo>
                      <a:pt x="143" y="160"/>
                      <a:pt x="139" y="161"/>
                      <a:pt x="135" y="159"/>
                    </a:cubicBezTo>
                    <a:cubicBezTo>
                      <a:pt x="133" y="159"/>
                      <a:pt x="132" y="157"/>
                      <a:pt x="131" y="155"/>
                    </a:cubicBezTo>
                    <a:cubicBezTo>
                      <a:pt x="130" y="154"/>
                      <a:pt x="129" y="152"/>
                      <a:pt x="128" y="151"/>
                    </a:cubicBezTo>
                    <a:cubicBezTo>
                      <a:pt x="127" y="149"/>
                      <a:pt x="126" y="148"/>
                      <a:pt x="124" y="148"/>
                    </a:cubicBezTo>
                    <a:cubicBezTo>
                      <a:pt x="123" y="148"/>
                      <a:pt x="122" y="150"/>
                      <a:pt x="121" y="151"/>
                    </a:cubicBezTo>
                    <a:cubicBezTo>
                      <a:pt x="120" y="155"/>
                      <a:pt x="120" y="159"/>
                      <a:pt x="121" y="163"/>
                    </a:cubicBezTo>
                    <a:cubicBezTo>
                      <a:pt x="123" y="171"/>
                      <a:pt x="123" y="178"/>
                      <a:pt x="122" y="186"/>
                    </a:cubicBezTo>
                    <a:cubicBezTo>
                      <a:pt x="121" y="189"/>
                      <a:pt x="121" y="191"/>
                      <a:pt x="122" y="194"/>
                    </a:cubicBezTo>
                    <a:cubicBezTo>
                      <a:pt x="123" y="201"/>
                      <a:pt x="129" y="205"/>
                      <a:pt x="136" y="202"/>
                    </a:cubicBezTo>
                    <a:cubicBezTo>
                      <a:pt x="139" y="201"/>
                      <a:pt x="142" y="199"/>
                      <a:pt x="144" y="197"/>
                    </a:cubicBezTo>
                    <a:cubicBezTo>
                      <a:pt x="150" y="192"/>
                      <a:pt x="158" y="189"/>
                      <a:pt x="165" y="186"/>
                    </a:cubicBezTo>
                    <a:cubicBezTo>
                      <a:pt x="168" y="185"/>
                      <a:pt x="170" y="184"/>
                      <a:pt x="173" y="183"/>
                    </a:cubicBezTo>
                    <a:cubicBezTo>
                      <a:pt x="174" y="182"/>
                      <a:pt x="174" y="181"/>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0"/>
                      <a:pt x="160" y="158"/>
                      <a:pt x="160" y="155"/>
                    </a:cubicBezTo>
                    <a:cubicBezTo>
                      <a:pt x="160" y="154"/>
                      <a:pt x="160" y="154"/>
                      <a:pt x="161" y="153"/>
                    </a:cubicBezTo>
                    <a:close/>
                    <a:moveTo>
                      <a:pt x="71" y="69"/>
                    </a:moveTo>
                    <a:cubicBezTo>
                      <a:pt x="71" y="69"/>
                      <a:pt x="71" y="69"/>
                      <a:pt x="71" y="69"/>
                    </a:cubicBezTo>
                    <a:cubicBezTo>
                      <a:pt x="72" y="71"/>
                      <a:pt x="74" y="73"/>
                      <a:pt x="77" y="73"/>
                    </a:cubicBezTo>
                    <a:cubicBezTo>
                      <a:pt x="81" y="74"/>
                      <a:pt x="85" y="73"/>
                      <a:pt x="88" y="71"/>
                    </a:cubicBezTo>
                    <a:cubicBezTo>
                      <a:pt x="91" y="70"/>
                      <a:pt x="94" y="68"/>
                      <a:pt x="97" y="67"/>
                    </a:cubicBezTo>
                    <a:cubicBezTo>
                      <a:pt x="98" y="66"/>
                      <a:pt x="100" y="66"/>
                      <a:pt x="101" y="66"/>
                    </a:cubicBezTo>
                    <a:cubicBezTo>
                      <a:pt x="101" y="65"/>
                      <a:pt x="102" y="66"/>
                      <a:pt x="102" y="66"/>
                    </a:cubicBezTo>
                    <a:cubicBezTo>
                      <a:pt x="102" y="67"/>
                      <a:pt x="102" y="68"/>
                      <a:pt x="101" y="68"/>
                    </a:cubicBezTo>
                    <a:cubicBezTo>
                      <a:pt x="101" y="68"/>
                      <a:pt x="100" y="69"/>
                      <a:pt x="99" y="69"/>
                    </a:cubicBezTo>
                    <a:cubicBezTo>
                      <a:pt x="94" y="71"/>
                      <a:pt x="90" y="74"/>
                      <a:pt x="86" y="77"/>
                    </a:cubicBezTo>
                    <a:cubicBezTo>
                      <a:pt x="85" y="78"/>
                      <a:pt x="83" y="80"/>
                      <a:pt x="81" y="81"/>
                    </a:cubicBezTo>
                    <a:cubicBezTo>
                      <a:pt x="78" y="82"/>
                      <a:pt x="75" y="82"/>
                      <a:pt x="73" y="79"/>
                    </a:cubicBezTo>
                    <a:cubicBezTo>
                      <a:pt x="71" y="77"/>
                      <a:pt x="69" y="74"/>
                      <a:pt x="67" y="71"/>
                    </a:cubicBezTo>
                    <a:cubicBezTo>
                      <a:pt x="67" y="71"/>
                      <a:pt x="66" y="70"/>
                      <a:pt x="65" y="69"/>
                    </a:cubicBezTo>
                    <a:cubicBezTo>
                      <a:pt x="65" y="70"/>
                      <a:pt x="65" y="70"/>
                      <a:pt x="65" y="71"/>
                    </a:cubicBezTo>
                    <a:cubicBezTo>
                      <a:pt x="64" y="73"/>
                      <a:pt x="64" y="75"/>
                      <a:pt x="63" y="77"/>
                    </a:cubicBezTo>
                    <a:cubicBezTo>
                      <a:pt x="63" y="79"/>
                      <a:pt x="61" y="81"/>
                      <a:pt x="60" y="83"/>
                    </a:cubicBezTo>
                    <a:cubicBezTo>
                      <a:pt x="59" y="86"/>
                      <a:pt x="57" y="89"/>
                      <a:pt x="57" y="92"/>
                    </a:cubicBezTo>
                    <a:cubicBezTo>
                      <a:pt x="57" y="94"/>
                      <a:pt x="58" y="96"/>
                      <a:pt x="58" y="98"/>
                    </a:cubicBezTo>
                    <a:cubicBezTo>
                      <a:pt x="57" y="99"/>
                      <a:pt x="57" y="99"/>
                      <a:pt x="56" y="100"/>
                    </a:cubicBezTo>
                    <a:cubicBezTo>
                      <a:pt x="54" y="104"/>
                      <a:pt x="51" y="108"/>
                      <a:pt x="50" y="112"/>
                    </a:cubicBezTo>
                    <a:cubicBezTo>
                      <a:pt x="47" y="117"/>
                      <a:pt x="46" y="122"/>
                      <a:pt x="46" y="127"/>
                    </a:cubicBezTo>
                    <a:cubicBezTo>
                      <a:pt x="45" y="130"/>
                      <a:pt x="46" y="133"/>
                      <a:pt x="46" y="136"/>
                    </a:cubicBezTo>
                    <a:cubicBezTo>
                      <a:pt x="45" y="137"/>
                      <a:pt x="45" y="139"/>
                      <a:pt x="45" y="140"/>
                    </a:cubicBezTo>
                    <a:cubicBezTo>
                      <a:pt x="44" y="141"/>
                      <a:pt x="43" y="142"/>
                      <a:pt x="42" y="141"/>
                    </a:cubicBezTo>
                    <a:cubicBezTo>
                      <a:pt x="42" y="140"/>
                      <a:pt x="41" y="139"/>
                      <a:pt x="40" y="138"/>
                    </a:cubicBezTo>
                    <a:cubicBezTo>
                      <a:pt x="38" y="134"/>
                      <a:pt x="37" y="129"/>
                      <a:pt x="37" y="125"/>
                    </a:cubicBezTo>
                    <a:cubicBezTo>
                      <a:pt x="38" y="123"/>
                      <a:pt x="38" y="122"/>
                      <a:pt x="38" y="121"/>
                    </a:cubicBezTo>
                    <a:cubicBezTo>
                      <a:pt x="38" y="121"/>
                      <a:pt x="38" y="121"/>
                      <a:pt x="38" y="121"/>
                    </a:cubicBezTo>
                    <a:cubicBezTo>
                      <a:pt x="37" y="122"/>
                      <a:pt x="37" y="122"/>
                      <a:pt x="36"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69" y="169"/>
                      <a:pt x="69" y="172"/>
                    </a:cubicBezTo>
                    <a:cubicBezTo>
                      <a:pt x="68" y="175"/>
                      <a:pt x="67" y="176"/>
                      <a:pt x="64" y="177"/>
                    </a:cubicBezTo>
                    <a:cubicBezTo>
                      <a:pt x="64" y="178"/>
                      <a:pt x="63" y="178"/>
                      <a:pt x="62" y="178"/>
                    </a:cubicBezTo>
                    <a:cubicBezTo>
                      <a:pt x="63" y="180"/>
                      <a:pt x="64" y="181"/>
                      <a:pt x="66" y="183"/>
                    </a:cubicBezTo>
                    <a:cubicBezTo>
                      <a:pt x="68" y="186"/>
                      <a:pt x="69" y="189"/>
                      <a:pt x="69" y="192"/>
                    </a:cubicBezTo>
                    <a:cubicBezTo>
                      <a:pt x="70" y="194"/>
                      <a:pt x="70" y="195"/>
                      <a:pt x="70" y="197"/>
                    </a:cubicBezTo>
                    <a:cubicBezTo>
                      <a:pt x="70" y="197"/>
                      <a:pt x="70" y="197"/>
                      <a:pt x="70" y="197"/>
                    </a:cubicBezTo>
                    <a:cubicBezTo>
                      <a:pt x="73" y="195"/>
                      <a:pt x="73" y="193"/>
                      <a:pt x="72" y="191"/>
                    </a:cubicBezTo>
                    <a:cubicBezTo>
                      <a:pt x="72" y="188"/>
                      <a:pt x="70" y="186"/>
                      <a:pt x="69" y="184"/>
                    </a:cubicBezTo>
                    <a:cubicBezTo>
                      <a:pt x="68" y="184"/>
                      <a:pt x="68" y="183"/>
                      <a:pt x="68" y="183"/>
                    </a:cubicBezTo>
                    <a:cubicBezTo>
                      <a:pt x="69" y="181"/>
                      <a:pt x="71" y="181"/>
                      <a:pt x="72" y="182"/>
                    </a:cubicBezTo>
                    <a:cubicBezTo>
                      <a:pt x="74" y="184"/>
                      <a:pt x="76" y="185"/>
                      <a:pt x="79" y="186"/>
                    </a:cubicBezTo>
                    <a:cubicBezTo>
                      <a:pt x="85" y="187"/>
                      <a:pt x="91" y="187"/>
                      <a:pt x="97" y="185"/>
                    </a:cubicBezTo>
                    <a:cubicBezTo>
                      <a:pt x="101" y="184"/>
                      <a:pt x="106" y="182"/>
                      <a:pt x="109" y="179"/>
                    </a:cubicBezTo>
                    <a:cubicBezTo>
                      <a:pt x="111" y="177"/>
                      <a:pt x="112" y="175"/>
                      <a:pt x="113" y="174"/>
                    </a:cubicBezTo>
                    <a:cubicBezTo>
                      <a:pt x="114" y="173"/>
                      <a:pt x="115" y="172"/>
                      <a:pt x="115" y="173"/>
                    </a:cubicBezTo>
                    <a:cubicBezTo>
                      <a:pt x="116" y="173"/>
                      <a:pt x="116" y="174"/>
                      <a:pt x="117" y="174"/>
                    </a:cubicBezTo>
                    <a:cubicBezTo>
                      <a:pt x="117" y="178"/>
                      <a:pt x="116" y="182"/>
                      <a:pt x="115" y="186"/>
                    </a:cubicBezTo>
                    <a:cubicBezTo>
                      <a:pt x="115" y="188"/>
                      <a:pt x="114" y="190"/>
                      <a:pt x="113" y="193"/>
                    </a:cubicBezTo>
                    <a:cubicBezTo>
                      <a:pt x="113" y="195"/>
                      <a:pt x="114" y="195"/>
                      <a:pt x="116" y="195"/>
                    </a:cubicBezTo>
                    <a:cubicBezTo>
                      <a:pt x="117" y="191"/>
                      <a:pt x="118" y="187"/>
                      <a:pt x="119" y="182"/>
                    </a:cubicBezTo>
                    <a:cubicBezTo>
                      <a:pt x="119" y="179"/>
                      <a:pt x="120" y="175"/>
                      <a:pt x="119" y="171"/>
                    </a:cubicBezTo>
                    <a:cubicBezTo>
                      <a:pt x="119" y="167"/>
                      <a:pt x="118" y="163"/>
                      <a:pt x="118" y="160"/>
                    </a:cubicBezTo>
                    <a:cubicBezTo>
                      <a:pt x="118" y="156"/>
                      <a:pt x="118" y="153"/>
                      <a:pt x="119" y="150"/>
                    </a:cubicBezTo>
                    <a:cubicBezTo>
                      <a:pt x="120" y="147"/>
                      <a:pt x="122" y="146"/>
                      <a:pt x="125" y="146"/>
                    </a:cubicBezTo>
                    <a:cubicBezTo>
                      <a:pt x="126" y="146"/>
                      <a:pt x="126" y="146"/>
                      <a:pt x="126" y="146"/>
                    </a:cubicBezTo>
                    <a:cubicBezTo>
                      <a:pt x="127" y="142"/>
                      <a:pt x="129" y="140"/>
                      <a:pt x="132" y="139"/>
                    </a:cubicBezTo>
                    <a:cubicBezTo>
                      <a:pt x="137" y="138"/>
                      <a:pt x="141" y="138"/>
                      <a:pt x="146" y="141"/>
                    </a:cubicBezTo>
                    <a:cubicBezTo>
                      <a:pt x="145" y="138"/>
                      <a:pt x="142" y="137"/>
                      <a:pt x="140" y="136"/>
                    </a:cubicBezTo>
                    <a:cubicBezTo>
                      <a:pt x="145" y="119"/>
                      <a:pt x="135" y="97"/>
                      <a:pt x="126" y="92"/>
                    </a:cubicBezTo>
                    <a:cubicBezTo>
                      <a:pt x="131" y="97"/>
                      <a:pt x="134" y="103"/>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1"/>
                      <a:pt x="126" y="114"/>
                      <a:pt x="124" y="107"/>
                    </a:cubicBezTo>
                    <a:cubicBezTo>
                      <a:pt x="122" y="103"/>
                      <a:pt x="121" y="98"/>
                      <a:pt x="117" y="95"/>
                    </a:cubicBezTo>
                    <a:cubicBezTo>
                      <a:pt x="117" y="95"/>
                      <a:pt x="117" y="94"/>
                      <a:pt x="117" y="94"/>
                    </a:cubicBezTo>
                    <a:cubicBezTo>
                      <a:pt x="115" y="86"/>
                      <a:pt x="112" y="79"/>
                      <a:pt x="107" y="73"/>
                    </a:cubicBezTo>
                    <a:cubicBezTo>
                      <a:pt x="105" y="70"/>
                      <a:pt x="105" y="67"/>
                      <a:pt x="105" y="64"/>
                    </a:cubicBezTo>
                    <a:cubicBezTo>
                      <a:pt x="106" y="62"/>
                      <a:pt x="106" y="60"/>
                      <a:pt x="107" y="59"/>
                    </a:cubicBezTo>
                    <a:cubicBezTo>
                      <a:pt x="107" y="56"/>
                      <a:pt x="106" y="54"/>
                      <a:pt x="104" y="53"/>
                    </a:cubicBezTo>
                    <a:cubicBezTo>
                      <a:pt x="100" y="53"/>
                      <a:pt x="97" y="51"/>
                      <a:pt x="94" y="50"/>
                    </a:cubicBezTo>
                    <a:cubicBezTo>
                      <a:pt x="91" y="49"/>
                      <a:pt x="91" y="47"/>
                      <a:pt x="91" y="45"/>
                    </a:cubicBezTo>
                    <a:cubicBezTo>
                      <a:pt x="91" y="43"/>
                      <a:pt x="91" y="42"/>
                      <a:pt x="92" y="40"/>
                    </a:cubicBezTo>
                    <a:cubicBezTo>
                      <a:pt x="93" y="37"/>
                      <a:pt x="95" y="36"/>
                      <a:pt x="98" y="37"/>
                    </a:cubicBezTo>
                    <a:cubicBezTo>
                      <a:pt x="99" y="37"/>
                      <a:pt x="101" y="38"/>
                      <a:pt x="102" y="40"/>
                    </a:cubicBezTo>
                    <a:cubicBezTo>
                      <a:pt x="103" y="42"/>
                      <a:pt x="103" y="45"/>
                      <a:pt x="102" y="48"/>
                    </a:cubicBezTo>
                    <a:cubicBezTo>
                      <a:pt x="102" y="49"/>
                      <a:pt x="101" y="50"/>
                      <a:pt x="102" y="50"/>
                    </a:cubicBezTo>
                    <a:cubicBezTo>
                      <a:pt x="104" y="51"/>
                      <a:pt x="107" y="50"/>
                      <a:pt x="107" y="48"/>
                    </a:cubicBezTo>
                    <a:cubicBezTo>
                      <a:pt x="107" y="44"/>
                      <a:pt x="107" y="40"/>
                      <a:pt x="105" y="35"/>
                    </a:cubicBezTo>
                    <a:cubicBezTo>
                      <a:pt x="103" y="32"/>
                      <a:pt x="100" y="29"/>
                      <a:pt x="96" y="30"/>
                    </a:cubicBezTo>
                    <a:cubicBezTo>
                      <a:pt x="91" y="30"/>
                      <a:pt x="88" y="33"/>
                      <a:pt x="87" y="38"/>
                    </a:cubicBezTo>
                    <a:cubicBezTo>
                      <a:pt x="87" y="39"/>
                      <a:pt x="86" y="40"/>
                      <a:pt x="86" y="42"/>
                    </a:cubicBezTo>
                    <a:cubicBezTo>
                      <a:pt x="87" y="44"/>
                      <a:pt x="87" y="45"/>
                      <a:pt x="87" y="47"/>
                    </a:cubicBezTo>
                    <a:cubicBezTo>
                      <a:pt x="85" y="46"/>
                      <a:pt x="83" y="46"/>
                      <a:pt x="80" y="46"/>
                    </a:cubicBezTo>
                    <a:cubicBezTo>
                      <a:pt x="80" y="46"/>
                      <a:pt x="80" y="46"/>
                      <a:pt x="79" y="46"/>
                    </a:cubicBezTo>
                    <a:cubicBezTo>
                      <a:pt x="78" y="46"/>
                      <a:pt x="78" y="46"/>
                      <a:pt x="78" y="44"/>
                    </a:cubicBezTo>
                    <a:cubicBezTo>
                      <a:pt x="77" y="41"/>
                      <a:pt x="77" y="39"/>
                      <a:pt x="76" y="36"/>
                    </a:cubicBezTo>
                    <a:cubicBezTo>
                      <a:pt x="76" y="35"/>
                      <a:pt x="76" y="35"/>
                      <a:pt x="76" y="34"/>
                    </a:cubicBezTo>
                    <a:cubicBezTo>
                      <a:pt x="74" y="32"/>
                      <a:pt x="73" y="31"/>
                      <a:pt x="70" y="31"/>
                    </a:cubicBezTo>
                    <a:cubicBezTo>
                      <a:pt x="68" y="31"/>
                      <a:pt x="66" y="33"/>
                      <a:pt x="65" y="34"/>
                    </a:cubicBezTo>
                    <a:cubicBezTo>
                      <a:pt x="63" y="40"/>
                      <a:pt x="63" y="45"/>
                      <a:pt x="66" y="50"/>
                    </a:cubicBezTo>
                    <a:cubicBezTo>
                      <a:pt x="66" y="50"/>
                      <a:pt x="67" y="51"/>
                      <a:pt x="68" y="51"/>
                    </a:cubicBezTo>
                    <a:cubicBezTo>
                      <a:pt x="69" y="51"/>
                      <a:pt x="69" y="50"/>
                      <a:pt x="69" y="49"/>
                    </a:cubicBezTo>
                    <a:cubicBezTo>
                      <a:pt x="68" y="48"/>
                      <a:pt x="68" y="48"/>
                      <a:pt x="67" y="47"/>
                    </a:cubicBezTo>
                    <a:cubicBezTo>
                      <a:pt x="66" y="45"/>
                      <a:pt x="65" y="42"/>
                      <a:pt x="66" y="40"/>
                    </a:cubicBezTo>
                    <a:cubicBezTo>
                      <a:pt x="67" y="37"/>
                      <a:pt x="71" y="36"/>
                      <a:pt x="73" y="38"/>
                    </a:cubicBezTo>
                    <a:cubicBezTo>
                      <a:pt x="74" y="40"/>
                      <a:pt x="75" y="42"/>
                      <a:pt x="75" y="44"/>
                    </a:cubicBezTo>
                    <a:cubicBezTo>
                      <a:pt x="75" y="46"/>
                      <a:pt x="74" y="47"/>
                      <a:pt x="73" y="48"/>
                    </a:cubicBezTo>
                    <a:cubicBezTo>
                      <a:pt x="73" y="48"/>
                      <a:pt x="72" y="49"/>
                      <a:pt x="72" y="49"/>
                    </a:cubicBezTo>
                    <a:cubicBezTo>
                      <a:pt x="71" y="51"/>
                      <a:pt x="69" y="52"/>
                      <a:pt x="66" y="54"/>
                    </a:cubicBezTo>
                    <a:cubicBezTo>
                      <a:pt x="65" y="54"/>
                      <a:pt x="65" y="56"/>
                      <a:pt x="64" y="57"/>
                    </a:cubicBezTo>
                    <a:cubicBezTo>
                      <a:pt x="63" y="58"/>
                      <a:pt x="64" y="59"/>
                      <a:pt x="65" y="60"/>
                    </a:cubicBezTo>
                    <a:cubicBezTo>
                      <a:pt x="66" y="60"/>
                      <a:pt x="67" y="61"/>
                      <a:pt x="68" y="62"/>
                    </a:cubicBezTo>
                    <a:cubicBezTo>
                      <a:pt x="70" y="66"/>
                      <a:pt x="74" y="66"/>
                      <a:pt x="78" y="66"/>
                    </a:cubicBezTo>
                    <a:cubicBezTo>
                      <a:pt x="82" y="66"/>
                      <a:pt x="86" y="65"/>
                      <a:pt x="91" y="64"/>
                    </a:cubicBezTo>
                    <a:cubicBezTo>
                      <a:pt x="94" y="62"/>
                      <a:pt x="98" y="62"/>
                      <a:pt x="101" y="58"/>
                    </a:cubicBezTo>
                    <a:cubicBezTo>
                      <a:pt x="101" y="58"/>
                      <a:pt x="102" y="58"/>
                      <a:pt x="103" y="58"/>
                    </a:cubicBezTo>
                    <a:cubicBezTo>
                      <a:pt x="103" y="59"/>
                      <a:pt x="103" y="60"/>
                      <a:pt x="103" y="60"/>
                    </a:cubicBezTo>
                    <a:cubicBezTo>
                      <a:pt x="103" y="61"/>
                      <a:pt x="102" y="61"/>
                      <a:pt x="102" y="61"/>
                    </a:cubicBezTo>
                    <a:cubicBezTo>
                      <a:pt x="96" y="63"/>
                      <a:pt x="91" y="65"/>
                      <a:pt x="86" y="67"/>
                    </a:cubicBezTo>
                    <a:cubicBezTo>
                      <a:pt x="82" y="69"/>
                      <a:pt x="78" y="70"/>
                      <a:pt x="74" y="69"/>
                    </a:cubicBezTo>
                    <a:cubicBezTo>
                      <a:pt x="73" y="69"/>
                      <a:pt x="72" y="69"/>
                      <a:pt x="71" y="69"/>
                    </a:cubicBezTo>
                    <a:close/>
                    <a:moveTo>
                      <a:pt x="73" y="45"/>
                    </a:moveTo>
                    <a:cubicBezTo>
                      <a:pt x="73" y="43"/>
                      <a:pt x="73" y="41"/>
                      <a:pt x="72" y="40"/>
                    </a:cubicBezTo>
                    <a:cubicBezTo>
                      <a:pt x="71" y="40"/>
                      <a:pt x="71" y="40"/>
                      <a:pt x="70" y="40"/>
                    </a:cubicBezTo>
                    <a:cubicBezTo>
                      <a:pt x="70" y="40"/>
                      <a:pt x="70" y="41"/>
                      <a:pt x="70" y="41"/>
                    </a:cubicBezTo>
                    <a:cubicBezTo>
                      <a:pt x="72" y="41"/>
                      <a:pt x="71" y="43"/>
                      <a:pt x="71" y="44"/>
                    </a:cubicBezTo>
                    <a:cubicBezTo>
                      <a:pt x="71" y="45"/>
                      <a:pt x="72" y="45"/>
                      <a:pt x="73" y="45"/>
                    </a:cubicBezTo>
                    <a:close/>
                    <a:moveTo>
                      <a:pt x="97" y="39"/>
                    </a:moveTo>
                    <a:cubicBezTo>
                      <a:pt x="99" y="40"/>
                      <a:pt x="99" y="42"/>
                      <a:pt x="100" y="44"/>
                    </a:cubicBezTo>
                    <a:cubicBezTo>
                      <a:pt x="100" y="43"/>
                      <a:pt x="101" y="43"/>
                      <a:pt x="101" y="43"/>
                    </a:cubicBezTo>
                    <a:cubicBezTo>
                      <a:pt x="101" y="41"/>
                      <a:pt x="100" y="40"/>
                      <a:pt x="99" y="39"/>
                    </a:cubicBezTo>
                    <a:cubicBezTo>
                      <a:pt x="98"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5" name="Freeform 52"/>
              <p:cNvSpPr>
                <a:spLocks/>
              </p:cNvSpPr>
              <p:nvPr userDrawn="1"/>
            </p:nvSpPr>
            <p:spPr bwMode="auto">
              <a:xfrm>
                <a:off x="4077" y="2249"/>
                <a:ext cx="2"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6" name="Freeform 53"/>
              <p:cNvSpPr>
                <a:spLocks/>
              </p:cNvSpPr>
              <p:nvPr userDrawn="1"/>
            </p:nvSpPr>
            <p:spPr bwMode="auto">
              <a:xfrm>
                <a:off x="4089" y="2249"/>
                <a:ext cx="4" cy="1"/>
              </a:xfrm>
              <a:custGeom>
                <a:avLst/>
                <a:gdLst>
                  <a:gd name="T0" fmla="*/ 0 w 3"/>
                  <a:gd name="T1" fmla="*/ 0 h 1"/>
                  <a:gd name="T2" fmla="*/ 3 w 3"/>
                  <a:gd name="T3" fmla="*/ 0 h 1"/>
                  <a:gd name="T4" fmla="*/ 3 w 3"/>
                  <a:gd name="T5" fmla="*/ 1 h 1"/>
                  <a:gd name="T6" fmla="*/ 2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1" y="0"/>
                      <a:pt x="2" y="0"/>
                      <a:pt x="3" y="0"/>
                    </a:cubicBezTo>
                    <a:cubicBezTo>
                      <a:pt x="3" y="0"/>
                      <a:pt x="3" y="1"/>
                      <a:pt x="3"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7" name="Freeform 54"/>
              <p:cNvSpPr>
                <a:spLocks noEditPoints="1"/>
              </p:cNvSpPr>
              <p:nvPr userDrawn="1"/>
            </p:nvSpPr>
            <p:spPr bwMode="auto">
              <a:xfrm>
                <a:off x="203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8" name="Freeform 55"/>
              <p:cNvSpPr>
                <a:spLocks noEditPoints="1"/>
              </p:cNvSpPr>
              <p:nvPr userDrawn="1"/>
            </p:nvSpPr>
            <p:spPr bwMode="auto">
              <a:xfrm>
                <a:off x="2228"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9" name="Freeform 56"/>
              <p:cNvSpPr>
                <a:spLocks noEditPoints="1"/>
              </p:cNvSpPr>
              <p:nvPr userDrawn="1"/>
            </p:nvSpPr>
            <p:spPr bwMode="auto">
              <a:xfrm>
                <a:off x="242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0" name="Freeform 57"/>
              <p:cNvSpPr>
                <a:spLocks/>
              </p:cNvSpPr>
              <p:nvPr userDrawn="1"/>
            </p:nvSpPr>
            <p:spPr bwMode="auto">
              <a:xfrm>
                <a:off x="2620"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1" name="Freeform 58"/>
              <p:cNvSpPr>
                <a:spLocks/>
              </p:cNvSpPr>
              <p:nvPr userDrawn="1"/>
            </p:nvSpPr>
            <p:spPr bwMode="auto">
              <a:xfrm>
                <a:off x="2770" y="292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2" name="Freeform 59"/>
              <p:cNvSpPr>
                <a:spLocks noEditPoints="1"/>
              </p:cNvSpPr>
              <p:nvPr userDrawn="1"/>
            </p:nvSpPr>
            <p:spPr bwMode="auto">
              <a:xfrm>
                <a:off x="2918"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7" y="177"/>
                    </a:cubicBezTo>
                    <a:cubicBezTo>
                      <a:pt x="11" y="169"/>
                      <a:pt x="7" y="159"/>
                      <a:pt x="4"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3" name="Freeform 60"/>
              <p:cNvSpPr>
                <a:spLocks/>
              </p:cNvSpPr>
              <p:nvPr userDrawn="1"/>
            </p:nvSpPr>
            <p:spPr bwMode="auto">
              <a:xfrm>
                <a:off x="3115"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5"/>
                      <a:pt x="19"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4" name="Freeform 61"/>
              <p:cNvSpPr>
                <a:spLocks noEditPoints="1"/>
              </p:cNvSpPr>
              <p:nvPr userDrawn="1"/>
            </p:nvSpPr>
            <p:spPr bwMode="auto">
              <a:xfrm>
                <a:off x="3264"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5" name="Freeform 62"/>
              <p:cNvSpPr>
                <a:spLocks noEditPoints="1"/>
              </p:cNvSpPr>
              <p:nvPr userDrawn="1"/>
            </p:nvSpPr>
            <p:spPr bwMode="auto">
              <a:xfrm>
                <a:off x="3459"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6" name="Freeform 63"/>
              <p:cNvSpPr>
                <a:spLocks/>
              </p:cNvSpPr>
              <p:nvPr userDrawn="1"/>
            </p:nvSpPr>
            <p:spPr bwMode="auto">
              <a:xfrm>
                <a:off x="3656"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7" name="Freeform 64"/>
              <p:cNvSpPr>
                <a:spLocks noEditPoints="1"/>
              </p:cNvSpPr>
              <p:nvPr userDrawn="1"/>
            </p:nvSpPr>
            <p:spPr bwMode="auto">
              <a:xfrm>
                <a:off x="3805" y="2929"/>
                <a:ext cx="155" cy="248"/>
              </a:xfrm>
              <a:custGeom>
                <a:avLst/>
                <a:gdLst>
                  <a:gd name="T0" fmla="*/ 127 w 127"/>
                  <a:gd name="T1" fmla="*/ 100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8" name="Freeform 65"/>
              <p:cNvSpPr>
                <a:spLocks noEditPoints="1"/>
              </p:cNvSpPr>
              <p:nvPr userDrawn="1"/>
            </p:nvSpPr>
            <p:spPr bwMode="auto">
              <a:xfrm>
                <a:off x="3989" y="2933"/>
                <a:ext cx="189" cy="218"/>
              </a:xfrm>
              <a:custGeom>
                <a:avLst/>
                <a:gdLst>
                  <a:gd name="T0" fmla="*/ 189 w 189"/>
                  <a:gd name="T1" fmla="*/ 67 h 218"/>
                  <a:gd name="T2" fmla="*/ 185 w 189"/>
                  <a:gd name="T3" fmla="*/ 84 h 218"/>
                  <a:gd name="T4" fmla="*/ 141 w 189"/>
                  <a:gd name="T5" fmla="*/ 84 h 218"/>
                  <a:gd name="T6" fmla="*/ 132 w 189"/>
                  <a:gd name="T7" fmla="*/ 134 h 218"/>
                  <a:gd name="T8" fmla="*/ 178 w 189"/>
                  <a:gd name="T9" fmla="*/ 134 h 218"/>
                  <a:gd name="T10" fmla="*/ 173 w 189"/>
                  <a:gd name="T11" fmla="*/ 152 h 218"/>
                  <a:gd name="T12" fmla="*/ 128 w 189"/>
                  <a:gd name="T13" fmla="*/ 152 h 218"/>
                  <a:gd name="T14" fmla="*/ 113 w 189"/>
                  <a:gd name="T15" fmla="*/ 218 h 218"/>
                  <a:gd name="T16" fmla="*/ 93 w 189"/>
                  <a:gd name="T17" fmla="*/ 218 h 218"/>
                  <a:gd name="T18" fmla="*/ 106 w 189"/>
                  <a:gd name="T19" fmla="*/ 152 h 218"/>
                  <a:gd name="T20" fmla="*/ 65 w 189"/>
                  <a:gd name="T21" fmla="*/ 152 h 218"/>
                  <a:gd name="T22" fmla="*/ 51 w 189"/>
                  <a:gd name="T23" fmla="*/ 218 h 218"/>
                  <a:gd name="T24" fmla="*/ 30 w 189"/>
                  <a:gd name="T25" fmla="*/ 218 h 218"/>
                  <a:gd name="T26" fmla="*/ 44 w 189"/>
                  <a:gd name="T27" fmla="*/ 152 h 218"/>
                  <a:gd name="T28" fmla="*/ 0 w 189"/>
                  <a:gd name="T29" fmla="*/ 152 h 218"/>
                  <a:gd name="T30" fmla="*/ 4 w 189"/>
                  <a:gd name="T31" fmla="*/ 134 h 218"/>
                  <a:gd name="T32" fmla="*/ 47 w 189"/>
                  <a:gd name="T33" fmla="*/ 134 h 218"/>
                  <a:gd name="T34" fmla="*/ 58 w 189"/>
                  <a:gd name="T35" fmla="*/ 84 h 218"/>
                  <a:gd name="T36" fmla="*/ 12 w 189"/>
                  <a:gd name="T37" fmla="*/ 84 h 218"/>
                  <a:gd name="T38" fmla="*/ 16 w 189"/>
                  <a:gd name="T39" fmla="*/ 67 h 218"/>
                  <a:gd name="T40" fmla="*/ 61 w 189"/>
                  <a:gd name="T41" fmla="*/ 67 h 218"/>
                  <a:gd name="T42" fmla="*/ 75 w 189"/>
                  <a:gd name="T43" fmla="*/ 0 h 218"/>
                  <a:gd name="T44" fmla="*/ 96 w 189"/>
                  <a:gd name="T45" fmla="*/ 0 h 218"/>
                  <a:gd name="T46" fmla="*/ 83 w 189"/>
                  <a:gd name="T47" fmla="*/ 67 h 218"/>
                  <a:gd name="T48" fmla="*/ 124 w 189"/>
                  <a:gd name="T49" fmla="*/ 67 h 218"/>
                  <a:gd name="T50" fmla="*/ 139 w 189"/>
                  <a:gd name="T51" fmla="*/ 0 h 218"/>
                  <a:gd name="T52" fmla="*/ 160 w 189"/>
                  <a:gd name="T53" fmla="*/ 0 h 218"/>
                  <a:gd name="T54" fmla="*/ 145 w 189"/>
                  <a:gd name="T55" fmla="*/ 67 h 218"/>
                  <a:gd name="T56" fmla="*/ 189 w 189"/>
                  <a:gd name="T57" fmla="*/ 67 h 218"/>
                  <a:gd name="T58" fmla="*/ 121 w 189"/>
                  <a:gd name="T59" fmla="*/ 84 h 218"/>
                  <a:gd name="T60" fmla="*/ 79 w 189"/>
                  <a:gd name="T61" fmla="*/ 84 h 218"/>
                  <a:gd name="T62" fmla="*/ 68 w 189"/>
                  <a:gd name="T63" fmla="*/ 134 h 218"/>
                  <a:gd name="T64" fmla="*/ 111 w 189"/>
                  <a:gd name="T65" fmla="*/ 134 h 218"/>
                  <a:gd name="T66" fmla="*/ 121 w 189"/>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8">
                    <a:moveTo>
                      <a:pt x="189" y="67"/>
                    </a:moveTo>
                    <a:lnTo>
                      <a:pt x="185" y="84"/>
                    </a:lnTo>
                    <a:lnTo>
                      <a:pt x="141" y="84"/>
                    </a:lnTo>
                    <a:lnTo>
                      <a:pt x="132" y="134"/>
                    </a:lnTo>
                    <a:lnTo>
                      <a:pt x="178" y="134"/>
                    </a:lnTo>
                    <a:lnTo>
                      <a:pt x="173" y="152"/>
                    </a:lnTo>
                    <a:lnTo>
                      <a:pt x="128" y="152"/>
                    </a:lnTo>
                    <a:lnTo>
                      <a:pt x="113" y="218"/>
                    </a:lnTo>
                    <a:lnTo>
                      <a:pt x="93" y="218"/>
                    </a:lnTo>
                    <a:lnTo>
                      <a:pt x="106" y="152"/>
                    </a:lnTo>
                    <a:lnTo>
                      <a:pt x="65" y="152"/>
                    </a:lnTo>
                    <a:lnTo>
                      <a:pt x="51" y="218"/>
                    </a:lnTo>
                    <a:lnTo>
                      <a:pt x="30" y="218"/>
                    </a:lnTo>
                    <a:lnTo>
                      <a:pt x="44" y="152"/>
                    </a:lnTo>
                    <a:lnTo>
                      <a:pt x="0" y="152"/>
                    </a:lnTo>
                    <a:lnTo>
                      <a:pt x="4" y="134"/>
                    </a:lnTo>
                    <a:lnTo>
                      <a:pt x="47" y="134"/>
                    </a:lnTo>
                    <a:lnTo>
                      <a:pt x="58" y="84"/>
                    </a:lnTo>
                    <a:lnTo>
                      <a:pt x="12" y="84"/>
                    </a:lnTo>
                    <a:lnTo>
                      <a:pt x="16" y="67"/>
                    </a:lnTo>
                    <a:lnTo>
                      <a:pt x="61" y="67"/>
                    </a:lnTo>
                    <a:lnTo>
                      <a:pt x="75" y="0"/>
                    </a:lnTo>
                    <a:lnTo>
                      <a:pt x="96" y="0"/>
                    </a:lnTo>
                    <a:lnTo>
                      <a:pt x="83" y="67"/>
                    </a:lnTo>
                    <a:lnTo>
                      <a:pt x="124" y="67"/>
                    </a:lnTo>
                    <a:lnTo>
                      <a:pt x="139" y="0"/>
                    </a:lnTo>
                    <a:lnTo>
                      <a:pt x="160" y="0"/>
                    </a:lnTo>
                    <a:lnTo>
                      <a:pt x="145" y="67"/>
                    </a:lnTo>
                    <a:lnTo>
                      <a:pt x="189" y="67"/>
                    </a:lnTo>
                    <a:close/>
                    <a:moveTo>
                      <a:pt x="121" y="84"/>
                    </a:moveTo>
                    <a:lnTo>
                      <a:pt x="79" y="84"/>
                    </a:lnTo>
                    <a:lnTo>
                      <a:pt x="68" y="134"/>
                    </a:lnTo>
                    <a:lnTo>
                      <a:pt x="111"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9" name="Freeform 66"/>
              <p:cNvSpPr>
                <a:spLocks noEditPoints="1"/>
              </p:cNvSpPr>
              <p:nvPr userDrawn="1"/>
            </p:nvSpPr>
            <p:spPr bwMode="auto">
              <a:xfrm>
                <a:off x="4207" y="2929"/>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2" y="203"/>
                    </a:cubicBezTo>
                    <a:cubicBezTo>
                      <a:pt x="52" y="203"/>
                      <a:pt x="43" y="200"/>
                      <a:pt x="35" y="196"/>
                    </a:cubicBezTo>
                    <a:cubicBezTo>
                      <a:pt x="27"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0" name="Freeform 67"/>
              <p:cNvSpPr>
                <a:spLocks noEditPoints="1"/>
              </p:cNvSpPr>
              <p:nvPr userDrawn="1"/>
            </p:nvSpPr>
            <p:spPr bwMode="auto">
              <a:xfrm>
                <a:off x="4402" y="2929"/>
                <a:ext cx="155" cy="248"/>
              </a:xfrm>
              <a:custGeom>
                <a:avLst/>
                <a:gdLst>
                  <a:gd name="T0" fmla="*/ 127 w 127"/>
                  <a:gd name="T1" fmla="*/ 100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1" y="203"/>
                    </a:cubicBezTo>
                    <a:cubicBezTo>
                      <a:pt x="52" y="203"/>
                      <a:pt x="43" y="200"/>
                      <a:pt x="35" y="196"/>
                    </a:cubicBezTo>
                    <a:cubicBezTo>
                      <a:pt x="27"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1" name="Freeform 68"/>
              <p:cNvSpPr>
                <a:spLocks/>
              </p:cNvSpPr>
              <p:nvPr userDrawn="1"/>
            </p:nvSpPr>
            <p:spPr bwMode="auto">
              <a:xfrm>
                <a:off x="4600" y="2928"/>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2" name="Freeform 69"/>
              <p:cNvSpPr>
                <a:spLocks noEditPoints="1"/>
              </p:cNvSpPr>
              <p:nvPr userDrawn="1"/>
            </p:nvSpPr>
            <p:spPr bwMode="auto">
              <a:xfrm>
                <a:off x="4747"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3" name="Freeform 70"/>
              <p:cNvSpPr>
                <a:spLocks noEditPoints="1"/>
              </p:cNvSpPr>
              <p:nvPr userDrawn="1"/>
            </p:nvSpPr>
            <p:spPr bwMode="auto">
              <a:xfrm>
                <a:off x="4942"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4" name="Freeform 71"/>
              <p:cNvSpPr>
                <a:spLocks noEditPoints="1"/>
              </p:cNvSpPr>
              <p:nvPr userDrawn="1"/>
            </p:nvSpPr>
            <p:spPr bwMode="auto">
              <a:xfrm>
                <a:off x="5137"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5" name="Freeform 72"/>
              <p:cNvSpPr>
                <a:spLocks/>
              </p:cNvSpPr>
              <p:nvPr userDrawn="1"/>
            </p:nvSpPr>
            <p:spPr bwMode="auto">
              <a:xfrm>
                <a:off x="5334"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6" name="Freeform 73"/>
              <p:cNvSpPr>
                <a:spLocks noEditPoints="1"/>
              </p:cNvSpPr>
              <p:nvPr userDrawn="1"/>
            </p:nvSpPr>
            <p:spPr bwMode="auto">
              <a:xfrm>
                <a:off x="5483"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7" name="Freeform 74"/>
              <p:cNvSpPr>
                <a:spLocks/>
              </p:cNvSpPr>
              <p:nvPr userDrawn="1"/>
            </p:nvSpPr>
            <p:spPr bwMode="auto">
              <a:xfrm>
                <a:off x="5680" y="2928"/>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7" y="43"/>
                    </a:cubicBezTo>
                    <a:cubicBezTo>
                      <a:pt x="22" y="45"/>
                      <a:pt x="18" y="48"/>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8" name="Freeform 75"/>
              <p:cNvSpPr>
                <a:spLocks/>
              </p:cNvSpPr>
              <p:nvPr userDrawn="1"/>
            </p:nvSpPr>
            <p:spPr bwMode="auto">
              <a:xfrm>
                <a:off x="5830" y="2928"/>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5"/>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9" name="Freeform 76"/>
              <p:cNvSpPr>
                <a:spLocks noEditPoints="1"/>
              </p:cNvSpPr>
              <p:nvPr userDrawn="1"/>
            </p:nvSpPr>
            <p:spPr bwMode="auto">
              <a:xfrm>
                <a:off x="5978"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3"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0" name="Freeform 77"/>
              <p:cNvSpPr>
                <a:spLocks/>
              </p:cNvSpPr>
              <p:nvPr userDrawn="1"/>
            </p:nvSpPr>
            <p:spPr bwMode="auto">
              <a:xfrm>
                <a:off x="6175"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1" name="Freeform 78"/>
              <p:cNvSpPr>
                <a:spLocks noEditPoints="1"/>
              </p:cNvSpPr>
              <p:nvPr userDrawn="1"/>
            </p:nvSpPr>
            <p:spPr bwMode="auto">
              <a:xfrm>
                <a:off x="6324"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2" name="Freeform 79"/>
              <p:cNvSpPr>
                <a:spLocks noEditPoints="1"/>
              </p:cNvSpPr>
              <p:nvPr userDrawn="1"/>
            </p:nvSpPr>
            <p:spPr bwMode="auto">
              <a:xfrm>
                <a:off x="6519"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3" name="Freeform 80"/>
              <p:cNvSpPr>
                <a:spLocks/>
              </p:cNvSpPr>
              <p:nvPr userDrawn="1"/>
            </p:nvSpPr>
            <p:spPr bwMode="auto">
              <a:xfrm>
                <a:off x="6944" y="292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4" name="Freeform 81"/>
              <p:cNvSpPr>
                <a:spLocks noEditPoints="1"/>
              </p:cNvSpPr>
              <p:nvPr userDrawn="1"/>
            </p:nvSpPr>
            <p:spPr bwMode="auto">
              <a:xfrm>
                <a:off x="7092"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5" name="Freeform 82"/>
              <p:cNvSpPr>
                <a:spLocks noEditPoints="1"/>
              </p:cNvSpPr>
              <p:nvPr userDrawn="1"/>
            </p:nvSpPr>
            <p:spPr bwMode="auto">
              <a:xfrm>
                <a:off x="7287"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6" name="Freeform 83"/>
              <p:cNvSpPr>
                <a:spLocks/>
              </p:cNvSpPr>
              <p:nvPr userDrawn="1"/>
            </p:nvSpPr>
            <p:spPr bwMode="auto">
              <a:xfrm>
                <a:off x="7484"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5"/>
                      <a:pt x="19"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7" name="Freeform 84"/>
              <p:cNvSpPr>
                <a:spLocks noEditPoints="1"/>
              </p:cNvSpPr>
              <p:nvPr userDrawn="1"/>
            </p:nvSpPr>
            <p:spPr bwMode="auto">
              <a:xfrm>
                <a:off x="763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8" name="Freeform 85"/>
              <p:cNvSpPr>
                <a:spLocks noEditPoints="1"/>
              </p:cNvSpPr>
              <p:nvPr userDrawn="1"/>
            </p:nvSpPr>
            <p:spPr bwMode="auto">
              <a:xfrm>
                <a:off x="6712" y="2920"/>
                <a:ext cx="218" cy="256"/>
              </a:xfrm>
              <a:custGeom>
                <a:avLst/>
                <a:gdLst>
                  <a:gd name="T0" fmla="*/ 176 w 179"/>
                  <a:gd name="T1" fmla="*/ 173 h 209"/>
                  <a:gd name="T2" fmla="*/ 135 w 179"/>
                  <a:gd name="T3" fmla="*/ 208 h 209"/>
                  <a:gd name="T4" fmla="*/ 81 w 179"/>
                  <a:gd name="T5" fmla="*/ 198 h 209"/>
                  <a:gd name="T6" fmla="*/ 33 w 179"/>
                  <a:gd name="T7" fmla="*/ 201 h 209"/>
                  <a:gd name="T8" fmla="*/ 3 w 179"/>
                  <a:gd name="T9" fmla="*/ 184 h 209"/>
                  <a:gd name="T10" fmla="*/ 14 w 179"/>
                  <a:gd name="T11" fmla="*/ 159 h 209"/>
                  <a:gd name="T12" fmla="*/ 10 w 179"/>
                  <a:gd name="T13" fmla="*/ 162 h 209"/>
                  <a:gd name="T14" fmla="*/ 7 w 179"/>
                  <a:gd name="T15" fmla="*/ 183 h 209"/>
                  <a:gd name="T16" fmla="*/ 46 w 179"/>
                  <a:gd name="T17" fmla="*/ 202 h 209"/>
                  <a:gd name="T18" fmla="*/ 43 w 179"/>
                  <a:gd name="T19" fmla="*/ 152 h 209"/>
                  <a:gd name="T20" fmla="*/ 26 w 179"/>
                  <a:gd name="T21" fmla="*/ 133 h 209"/>
                  <a:gd name="T22" fmla="*/ 52 w 179"/>
                  <a:gd name="T23" fmla="*/ 83 h 209"/>
                  <a:gd name="T24" fmla="*/ 59 w 179"/>
                  <a:gd name="T25" fmla="*/ 27 h 209"/>
                  <a:gd name="T26" fmla="*/ 118 w 179"/>
                  <a:gd name="T27" fmla="*/ 17 h 209"/>
                  <a:gd name="T28" fmla="*/ 160 w 179"/>
                  <a:gd name="T29" fmla="*/ 128 h 209"/>
                  <a:gd name="T30" fmla="*/ 153 w 179"/>
                  <a:gd name="T31" fmla="*/ 152 h 209"/>
                  <a:gd name="T32" fmla="*/ 128 w 179"/>
                  <a:gd name="T33" fmla="*/ 150 h 209"/>
                  <a:gd name="T34" fmla="*/ 122 w 179"/>
                  <a:gd name="T35" fmla="*/ 186 h 209"/>
                  <a:gd name="T36" fmla="*/ 166 w 179"/>
                  <a:gd name="T37" fmla="*/ 186 h 209"/>
                  <a:gd name="T38" fmla="*/ 171 w 179"/>
                  <a:gd name="T39" fmla="*/ 173 h 209"/>
                  <a:gd name="T40" fmla="*/ 161 w 179"/>
                  <a:gd name="T41" fmla="*/ 152 h 209"/>
                  <a:gd name="T42" fmla="*/ 89 w 179"/>
                  <a:gd name="T43" fmla="*/ 71 h 209"/>
                  <a:gd name="T44" fmla="*/ 102 w 179"/>
                  <a:gd name="T45" fmla="*/ 67 h 209"/>
                  <a:gd name="T46" fmla="*/ 74 w 179"/>
                  <a:gd name="T47" fmla="*/ 79 h 209"/>
                  <a:gd name="T48" fmla="*/ 64 w 179"/>
                  <a:gd name="T49" fmla="*/ 76 h 209"/>
                  <a:gd name="T50" fmla="*/ 56 w 179"/>
                  <a:gd name="T51" fmla="*/ 100 h 209"/>
                  <a:gd name="T52" fmla="*/ 45 w 179"/>
                  <a:gd name="T53" fmla="*/ 140 h 209"/>
                  <a:gd name="T54" fmla="*/ 38 w 179"/>
                  <a:gd name="T55" fmla="*/ 121 h 209"/>
                  <a:gd name="T56" fmla="*/ 40 w 179"/>
                  <a:gd name="T57" fmla="*/ 142 h 209"/>
                  <a:gd name="T58" fmla="*/ 65 w 179"/>
                  <a:gd name="T59" fmla="*/ 177 h 209"/>
                  <a:gd name="T60" fmla="*/ 70 w 179"/>
                  <a:gd name="T61" fmla="*/ 197 h 209"/>
                  <a:gd name="T62" fmla="*/ 69 w 179"/>
                  <a:gd name="T63" fmla="*/ 182 h 209"/>
                  <a:gd name="T64" fmla="*/ 109 w 179"/>
                  <a:gd name="T65" fmla="*/ 179 h 209"/>
                  <a:gd name="T66" fmla="*/ 116 w 179"/>
                  <a:gd name="T67" fmla="*/ 185 h 209"/>
                  <a:gd name="T68" fmla="*/ 120 w 179"/>
                  <a:gd name="T69" fmla="*/ 171 h 209"/>
                  <a:gd name="T70" fmla="*/ 127 w 179"/>
                  <a:gd name="T71" fmla="*/ 145 h 209"/>
                  <a:gd name="T72" fmla="*/ 127 w 179"/>
                  <a:gd name="T73" fmla="*/ 91 h 209"/>
                  <a:gd name="T74" fmla="*/ 128 w 179"/>
                  <a:gd name="T75" fmla="*/ 134 h 209"/>
                  <a:gd name="T76" fmla="*/ 117 w 179"/>
                  <a:gd name="T77" fmla="*/ 93 h 209"/>
                  <a:gd name="T78" fmla="*/ 104 w 179"/>
                  <a:gd name="T79" fmla="*/ 53 h 209"/>
                  <a:gd name="T80" fmla="*/ 98 w 179"/>
                  <a:gd name="T81" fmla="*/ 36 h 209"/>
                  <a:gd name="T82" fmla="*/ 107 w 179"/>
                  <a:gd name="T83" fmla="*/ 48 h 209"/>
                  <a:gd name="T84" fmla="*/ 87 w 179"/>
                  <a:gd name="T85" fmla="*/ 41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7 w 179"/>
                  <a:gd name="T99" fmla="*/ 67 h 209"/>
                  <a:gd name="T100" fmla="*/ 72 w 179"/>
                  <a:gd name="T101" fmla="*/ 40 h 209"/>
                  <a:gd name="T102" fmla="*/ 73 w 179"/>
                  <a:gd name="T103" fmla="*/ 45 h 209"/>
                  <a:gd name="T104" fmla="*/ 100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2" y="155"/>
                      <a:pt x="162" y="158"/>
                      <a:pt x="163" y="161"/>
                    </a:cubicBezTo>
                    <a:cubicBezTo>
                      <a:pt x="164" y="165"/>
                      <a:pt x="167" y="168"/>
                      <a:pt x="171" y="170"/>
                    </a:cubicBezTo>
                    <a:cubicBezTo>
                      <a:pt x="173" y="171"/>
                      <a:pt x="174" y="172"/>
                      <a:pt x="176" y="173"/>
                    </a:cubicBezTo>
                    <a:cubicBezTo>
                      <a:pt x="179" y="176"/>
                      <a:pt x="179" y="179"/>
                      <a:pt x="176" y="182"/>
                    </a:cubicBezTo>
                    <a:cubicBezTo>
                      <a:pt x="173" y="185"/>
                      <a:pt x="170" y="187"/>
                      <a:pt x="166" y="189"/>
                    </a:cubicBezTo>
                    <a:cubicBezTo>
                      <a:pt x="157" y="193"/>
                      <a:pt x="149" y="199"/>
                      <a:pt x="141" y="206"/>
                    </a:cubicBezTo>
                    <a:cubicBezTo>
                      <a:pt x="139" y="207"/>
                      <a:pt x="137" y="208"/>
                      <a:pt x="135" y="208"/>
                    </a:cubicBezTo>
                    <a:cubicBezTo>
                      <a:pt x="131" y="208"/>
                      <a:pt x="128" y="208"/>
                      <a:pt x="125" y="208"/>
                    </a:cubicBezTo>
                    <a:cubicBezTo>
                      <a:pt x="122" y="207"/>
                      <a:pt x="120" y="205"/>
                      <a:pt x="118" y="203"/>
                    </a:cubicBezTo>
                    <a:cubicBezTo>
                      <a:pt x="116" y="199"/>
                      <a:pt x="114" y="198"/>
                      <a:pt x="110" y="198"/>
                    </a:cubicBezTo>
                    <a:cubicBezTo>
                      <a:pt x="100" y="198"/>
                      <a:pt x="91" y="198"/>
                      <a:pt x="81" y="198"/>
                    </a:cubicBezTo>
                    <a:cubicBezTo>
                      <a:pt x="76" y="198"/>
                      <a:pt x="72" y="199"/>
                      <a:pt x="68" y="201"/>
                    </a:cubicBezTo>
                    <a:cubicBezTo>
                      <a:pt x="66" y="202"/>
                      <a:pt x="65" y="203"/>
                      <a:pt x="63" y="205"/>
                    </a:cubicBezTo>
                    <a:cubicBezTo>
                      <a:pt x="59" y="208"/>
                      <a:pt x="54" y="209"/>
                      <a:pt x="49" y="207"/>
                    </a:cubicBezTo>
                    <a:cubicBezTo>
                      <a:pt x="43" y="205"/>
                      <a:pt x="38" y="203"/>
                      <a:pt x="33" y="201"/>
                    </a:cubicBezTo>
                    <a:cubicBezTo>
                      <a:pt x="26" y="200"/>
                      <a:pt x="19" y="198"/>
                      <a:pt x="11" y="197"/>
                    </a:cubicBezTo>
                    <a:cubicBezTo>
                      <a:pt x="9" y="196"/>
                      <a:pt x="7" y="196"/>
                      <a:pt x="5" y="195"/>
                    </a:cubicBezTo>
                    <a:cubicBezTo>
                      <a:pt x="2" y="193"/>
                      <a:pt x="0" y="191"/>
                      <a:pt x="1" y="187"/>
                    </a:cubicBezTo>
                    <a:cubicBezTo>
                      <a:pt x="2" y="186"/>
                      <a:pt x="2" y="185"/>
                      <a:pt x="3" y="184"/>
                    </a:cubicBezTo>
                    <a:cubicBezTo>
                      <a:pt x="5" y="180"/>
                      <a:pt x="5" y="176"/>
                      <a:pt x="4" y="171"/>
                    </a:cubicBezTo>
                    <a:cubicBezTo>
                      <a:pt x="3" y="170"/>
                      <a:pt x="3" y="168"/>
                      <a:pt x="2" y="166"/>
                    </a:cubicBezTo>
                    <a:cubicBezTo>
                      <a:pt x="2" y="162"/>
                      <a:pt x="3" y="160"/>
                      <a:pt x="8" y="159"/>
                    </a:cubicBezTo>
                    <a:cubicBezTo>
                      <a:pt x="10" y="159"/>
                      <a:pt x="12" y="159"/>
                      <a:pt x="14" y="159"/>
                    </a:cubicBezTo>
                    <a:cubicBezTo>
                      <a:pt x="19" y="158"/>
                      <a:pt x="23" y="154"/>
                      <a:pt x="23" y="149"/>
                    </a:cubicBezTo>
                    <a:cubicBezTo>
                      <a:pt x="23" y="149"/>
                      <a:pt x="24" y="149"/>
                      <a:pt x="24" y="149"/>
                    </a:cubicBezTo>
                    <a:cubicBezTo>
                      <a:pt x="25" y="153"/>
                      <a:pt x="24" y="159"/>
                      <a:pt x="18" y="161"/>
                    </a:cubicBezTo>
                    <a:cubicBezTo>
                      <a:pt x="15" y="162"/>
                      <a:pt x="12" y="162"/>
                      <a:pt x="10" y="162"/>
                    </a:cubicBezTo>
                    <a:cubicBezTo>
                      <a:pt x="9" y="162"/>
                      <a:pt x="9" y="162"/>
                      <a:pt x="9" y="162"/>
                    </a:cubicBezTo>
                    <a:cubicBezTo>
                      <a:pt x="5" y="162"/>
                      <a:pt x="4" y="163"/>
                      <a:pt x="5" y="167"/>
                    </a:cubicBezTo>
                    <a:cubicBezTo>
                      <a:pt x="5" y="169"/>
                      <a:pt x="6" y="170"/>
                      <a:pt x="7" y="172"/>
                    </a:cubicBezTo>
                    <a:cubicBezTo>
                      <a:pt x="9" y="176"/>
                      <a:pt x="9" y="179"/>
                      <a:pt x="7" y="183"/>
                    </a:cubicBezTo>
                    <a:cubicBezTo>
                      <a:pt x="6" y="184"/>
                      <a:pt x="5" y="186"/>
                      <a:pt x="5" y="187"/>
                    </a:cubicBezTo>
                    <a:cubicBezTo>
                      <a:pt x="4" y="190"/>
                      <a:pt x="5" y="191"/>
                      <a:pt x="7" y="192"/>
                    </a:cubicBezTo>
                    <a:cubicBezTo>
                      <a:pt x="9" y="193"/>
                      <a:pt x="11" y="193"/>
                      <a:pt x="14" y="194"/>
                    </a:cubicBezTo>
                    <a:cubicBezTo>
                      <a:pt x="25" y="196"/>
                      <a:pt x="35" y="198"/>
                      <a:pt x="46" y="202"/>
                    </a:cubicBezTo>
                    <a:cubicBezTo>
                      <a:pt x="49" y="203"/>
                      <a:pt x="52" y="203"/>
                      <a:pt x="56" y="203"/>
                    </a:cubicBezTo>
                    <a:cubicBezTo>
                      <a:pt x="63" y="202"/>
                      <a:pt x="66" y="197"/>
                      <a:pt x="65" y="189"/>
                    </a:cubicBezTo>
                    <a:cubicBezTo>
                      <a:pt x="64" y="185"/>
                      <a:pt x="63" y="182"/>
                      <a:pt x="61" y="178"/>
                    </a:cubicBezTo>
                    <a:cubicBezTo>
                      <a:pt x="55" y="169"/>
                      <a:pt x="49" y="160"/>
                      <a:pt x="43" y="152"/>
                    </a:cubicBezTo>
                    <a:cubicBezTo>
                      <a:pt x="40" y="149"/>
                      <a:pt x="38" y="147"/>
                      <a:pt x="35" y="144"/>
                    </a:cubicBezTo>
                    <a:cubicBezTo>
                      <a:pt x="33" y="142"/>
                      <a:pt x="30" y="142"/>
                      <a:pt x="27" y="144"/>
                    </a:cubicBezTo>
                    <a:cubicBezTo>
                      <a:pt x="26" y="145"/>
                      <a:pt x="26" y="144"/>
                      <a:pt x="25" y="143"/>
                    </a:cubicBezTo>
                    <a:cubicBezTo>
                      <a:pt x="25" y="140"/>
                      <a:pt x="25" y="136"/>
                      <a:pt x="26" y="133"/>
                    </a:cubicBezTo>
                    <a:cubicBezTo>
                      <a:pt x="26" y="132"/>
                      <a:pt x="27" y="131"/>
                      <a:pt x="27" y="130"/>
                    </a:cubicBezTo>
                    <a:cubicBezTo>
                      <a:pt x="31" y="124"/>
                      <a:pt x="33" y="118"/>
                      <a:pt x="35" y="112"/>
                    </a:cubicBezTo>
                    <a:cubicBezTo>
                      <a:pt x="37" y="106"/>
                      <a:pt x="40" y="99"/>
                      <a:pt x="44" y="94"/>
                    </a:cubicBezTo>
                    <a:cubicBezTo>
                      <a:pt x="46" y="90"/>
                      <a:pt x="49" y="86"/>
                      <a:pt x="52" y="83"/>
                    </a:cubicBezTo>
                    <a:cubicBezTo>
                      <a:pt x="54" y="80"/>
                      <a:pt x="56" y="76"/>
                      <a:pt x="58" y="73"/>
                    </a:cubicBezTo>
                    <a:cubicBezTo>
                      <a:pt x="60" y="70"/>
                      <a:pt x="61" y="67"/>
                      <a:pt x="60" y="64"/>
                    </a:cubicBezTo>
                    <a:cubicBezTo>
                      <a:pt x="60" y="57"/>
                      <a:pt x="59" y="50"/>
                      <a:pt x="59" y="44"/>
                    </a:cubicBezTo>
                    <a:cubicBezTo>
                      <a:pt x="59" y="38"/>
                      <a:pt x="59" y="32"/>
                      <a:pt x="59" y="27"/>
                    </a:cubicBezTo>
                    <a:cubicBezTo>
                      <a:pt x="59" y="16"/>
                      <a:pt x="64" y="8"/>
                      <a:pt x="73" y="2"/>
                    </a:cubicBezTo>
                    <a:cubicBezTo>
                      <a:pt x="77" y="0"/>
                      <a:pt x="81" y="0"/>
                      <a:pt x="85" y="0"/>
                    </a:cubicBezTo>
                    <a:cubicBezTo>
                      <a:pt x="91" y="0"/>
                      <a:pt x="97" y="1"/>
                      <a:pt x="103" y="3"/>
                    </a:cubicBezTo>
                    <a:cubicBezTo>
                      <a:pt x="110" y="6"/>
                      <a:pt x="114" y="11"/>
                      <a:pt x="118" y="17"/>
                    </a:cubicBezTo>
                    <a:cubicBezTo>
                      <a:pt x="121" y="23"/>
                      <a:pt x="123" y="29"/>
                      <a:pt x="123" y="36"/>
                    </a:cubicBezTo>
                    <a:cubicBezTo>
                      <a:pt x="123" y="39"/>
                      <a:pt x="123" y="43"/>
                      <a:pt x="123" y="47"/>
                    </a:cubicBezTo>
                    <a:cubicBezTo>
                      <a:pt x="125" y="61"/>
                      <a:pt x="129" y="74"/>
                      <a:pt x="139" y="84"/>
                    </a:cubicBezTo>
                    <a:cubicBezTo>
                      <a:pt x="150" y="97"/>
                      <a:pt x="156" y="112"/>
                      <a:pt x="160" y="128"/>
                    </a:cubicBezTo>
                    <a:cubicBezTo>
                      <a:pt x="161" y="133"/>
                      <a:pt x="161" y="138"/>
                      <a:pt x="160" y="143"/>
                    </a:cubicBezTo>
                    <a:cubicBezTo>
                      <a:pt x="160" y="144"/>
                      <a:pt x="160" y="145"/>
                      <a:pt x="159" y="146"/>
                    </a:cubicBezTo>
                    <a:cubicBezTo>
                      <a:pt x="159" y="146"/>
                      <a:pt x="158" y="147"/>
                      <a:pt x="158" y="147"/>
                    </a:cubicBezTo>
                    <a:cubicBezTo>
                      <a:pt x="155" y="148"/>
                      <a:pt x="154" y="150"/>
                      <a:pt x="153" y="152"/>
                    </a:cubicBezTo>
                    <a:cubicBezTo>
                      <a:pt x="151" y="154"/>
                      <a:pt x="150" y="156"/>
                      <a:pt x="147" y="157"/>
                    </a:cubicBezTo>
                    <a:cubicBezTo>
                      <a:pt x="144" y="160"/>
                      <a:pt x="140" y="160"/>
                      <a:pt x="136" y="159"/>
                    </a:cubicBezTo>
                    <a:cubicBezTo>
                      <a:pt x="134" y="158"/>
                      <a:pt x="132" y="157"/>
                      <a:pt x="131" y="155"/>
                    </a:cubicBezTo>
                    <a:cubicBezTo>
                      <a:pt x="130" y="153"/>
                      <a:pt x="129" y="152"/>
                      <a:pt x="128" y="150"/>
                    </a:cubicBezTo>
                    <a:cubicBezTo>
                      <a:pt x="128" y="149"/>
                      <a:pt x="127" y="147"/>
                      <a:pt x="125" y="147"/>
                    </a:cubicBezTo>
                    <a:cubicBezTo>
                      <a:pt x="123" y="148"/>
                      <a:pt x="122" y="149"/>
                      <a:pt x="122" y="151"/>
                    </a:cubicBezTo>
                    <a:cubicBezTo>
                      <a:pt x="120" y="155"/>
                      <a:pt x="120" y="159"/>
                      <a:pt x="121" y="163"/>
                    </a:cubicBezTo>
                    <a:cubicBezTo>
                      <a:pt x="124" y="170"/>
                      <a:pt x="123" y="178"/>
                      <a:pt x="122" y="186"/>
                    </a:cubicBezTo>
                    <a:cubicBezTo>
                      <a:pt x="122" y="188"/>
                      <a:pt x="122" y="191"/>
                      <a:pt x="122" y="194"/>
                    </a:cubicBezTo>
                    <a:cubicBezTo>
                      <a:pt x="123" y="201"/>
                      <a:pt x="129" y="204"/>
                      <a:pt x="137" y="202"/>
                    </a:cubicBezTo>
                    <a:cubicBezTo>
                      <a:pt x="140" y="201"/>
                      <a:pt x="142" y="199"/>
                      <a:pt x="145" y="197"/>
                    </a:cubicBezTo>
                    <a:cubicBezTo>
                      <a:pt x="151" y="191"/>
                      <a:pt x="158" y="188"/>
                      <a:pt x="166" y="186"/>
                    </a:cubicBezTo>
                    <a:cubicBezTo>
                      <a:pt x="168" y="185"/>
                      <a:pt x="171" y="183"/>
                      <a:pt x="173" y="182"/>
                    </a:cubicBezTo>
                    <a:cubicBezTo>
                      <a:pt x="174" y="182"/>
                      <a:pt x="175" y="181"/>
                      <a:pt x="175" y="180"/>
                    </a:cubicBezTo>
                    <a:cubicBezTo>
                      <a:pt x="176" y="179"/>
                      <a:pt x="177" y="178"/>
                      <a:pt x="175" y="176"/>
                    </a:cubicBezTo>
                    <a:cubicBezTo>
                      <a:pt x="174" y="175"/>
                      <a:pt x="173" y="174"/>
                      <a:pt x="171" y="173"/>
                    </a:cubicBezTo>
                    <a:cubicBezTo>
                      <a:pt x="170" y="173"/>
                      <a:pt x="169" y="172"/>
                      <a:pt x="168" y="172"/>
                    </a:cubicBezTo>
                    <a:cubicBezTo>
                      <a:pt x="164" y="171"/>
                      <a:pt x="161" y="167"/>
                      <a:pt x="160" y="163"/>
                    </a:cubicBezTo>
                    <a:cubicBezTo>
                      <a:pt x="160" y="160"/>
                      <a:pt x="160" y="157"/>
                      <a:pt x="160" y="155"/>
                    </a:cubicBezTo>
                    <a:cubicBezTo>
                      <a:pt x="160" y="154"/>
                      <a:pt x="161" y="153"/>
                      <a:pt x="161" y="152"/>
                    </a:cubicBezTo>
                    <a:close/>
                    <a:moveTo>
                      <a:pt x="71" y="68"/>
                    </a:moveTo>
                    <a:cubicBezTo>
                      <a:pt x="71" y="68"/>
                      <a:pt x="71" y="68"/>
                      <a:pt x="71" y="69"/>
                    </a:cubicBezTo>
                    <a:cubicBezTo>
                      <a:pt x="73" y="71"/>
                      <a:pt x="75" y="73"/>
                      <a:pt x="78" y="73"/>
                    </a:cubicBezTo>
                    <a:cubicBezTo>
                      <a:pt x="82" y="74"/>
                      <a:pt x="85" y="73"/>
                      <a:pt x="89" y="71"/>
                    </a:cubicBezTo>
                    <a:cubicBezTo>
                      <a:pt x="92" y="70"/>
                      <a:pt x="95" y="68"/>
                      <a:pt x="98" y="66"/>
                    </a:cubicBezTo>
                    <a:cubicBezTo>
                      <a:pt x="99" y="66"/>
                      <a:pt x="100" y="65"/>
                      <a:pt x="101" y="65"/>
                    </a:cubicBezTo>
                    <a:cubicBezTo>
                      <a:pt x="102" y="65"/>
                      <a:pt x="102" y="66"/>
                      <a:pt x="102" y="66"/>
                    </a:cubicBezTo>
                    <a:cubicBezTo>
                      <a:pt x="103" y="66"/>
                      <a:pt x="102" y="67"/>
                      <a:pt x="102" y="67"/>
                    </a:cubicBezTo>
                    <a:cubicBezTo>
                      <a:pt x="101" y="68"/>
                      <a:pt x="100" y="69"/>
                      <a:pt x="99" y="69"/>
                    </a:cubicBezTo>
                    <a:cubicBezTo>
                      <a:pt x="95" y="71"/>
                      <a:pt x="91" y="74"/>
                      <a:pt x="87" y="77"/>
                    </a:cubicBezTo>
                    <a:cubicBezTo>
                      <a:pt x="85" y="78"/>
                      <a:pt x="83" y="79"/>
                      <a:pt x="81" y="80"/>
                    </a:cubicBezTo>
                    <a:cubicBezTo>
                      <a:pt x="78" y="82"/>
                      <a:pt x="76" y="81"/>
                      <a:pt x="74" y="79"/>
                    </a:cubicBezTo>
                    <a:cubicBezTo>
                      <a:pt x="71" y="76"/>
                      <a:pt x="70" y="74"/>
                      <a:pt x="68" y="71"/>
                    </a:cubicBezTo>
                    <a:cubicBezTo>
                      <a:pt x="67" y="70"/>
                      <a:pt x="66" y="70"/>
                      <a:pt x="66" y="69"/>
                    </a:cubicBezTo>
                    <a:cubicBezTo>
                      <a:pt x="65" y="70"/>
                      <a:pt x="65" y="70"/>
                      <a:pt x="65" y="70"/>
                    </a:cubicBezTo>
                    <a:cubicBezTo>
                      <a:pt x="65" y="72"/>
                      <a:pt x="65" y="74"/>
                      <a:pt x="64" y="76"/>
                    </a:cubicBezTo>
                    <a:cubicBezTo>
                      <a:pt x="63" y="79"/>
                      <a:pt x="62" y="81"/>
                      <a:pt x="61" y="83"/>
                    </a:cubicBezTo>
                    <a:cubicBezTo>
                      <a:pt x="59" y="86"/>
                      <a:pt x="58" y="88"/>
                      <a:pt x="58" y="92"/>
                    </a:cubicBezTo>
                    <a:cubicBezTo>
                      <a:pt x="58" y="94"/>
                      <a:pt x="58" y="96"/>
                      <a:pt x="59" y="98"/>
                    </a:cubicBezTo>
                    <a:cubicBezTo>
                      <a:pt x="58" y="98"/>
                      <a:pt x="57" y="99"/>
                      <a:pt x="56" y="100"/>
                    </a:cubicBezTo>
                    <a:cubicBezTo>
                      <a:pt x="54" y="104"/>
                      <a:pt x="52" y="108"/>
                      <a:pt x="50" y="112"/>
                    </a:cubicBezTo>
                    <a:cubicBezTo>
                      <a:pt x="48" y="117"/>
                      <a:pt x="46" y="122"/>
                      <a:pt x="46" y="127"/>
                    </a:cubicBezTo>
                    <a:cubicBezTo>
                      <a:pt x="46" y="130"/>
                      <a:pt x="46" y="133"/>
                      <a:pt x="46" y="135"/>
                    </a:cubicBezTo>
                    <a:cubicBezTo>
                      <a:pt x="46" y="137"/>
                      <a:pt x="46" y="138"/>
                      <a:pt x="45" y="140"/>
                    </a:cubicBezTo>
                    <a:cubicBezTo>
                      <a:pt x="45" y="141"/>
                      <a:pt x="44" y="141"/>
                      <a:pt x="43" y="141"/>
                    </a:cubicBezTo>
                    <a:cubicBezTo>
                      <a:pt x="42" y="140"/>
                      <a:pt x="41" y="139"/>
                      <a:pt x="40" y="138"/>
                    </a:cubicBezTo>
                    <a:cubicBezTo>
                      <a:pt x="38" y="134"/>
                      <a:pt x="37" y="129"/>
                      <a:pt x="38" y="124"/>
                    </a:cubicBezTo>
                    <a:cubicBezTo>
                      <a:pt x="38" y="123"/>
                      <a:pt x="38" y="122"/>
                      <a:pt x="38" y="121"/>
                    </a:cubicBezTo>
                    <a:cubicBezTo>
                      <a:pt x="38" y="121"/>
                      <a:pt x="38" y="120"/>
                      <a:pt x="38" y="120"/>
                    </a:cubicBezTo>
                    <a:cubicBezTo>
                      <a:pt x="38" y="121"/>
                      <a:pt x="37" y="122"/>
                      <a:pt x="37" y="123"/>
                    </a:cubicBezTo>
                    <a:cubicBezTo>
                      <a:pt x="36" y="127"/>
                      <a:pt x="36" y="131"/>
                      <a:pt x="37" y="135"/>
                    </a:cubicBezTo>
                    <a:cubicBezTo>
                      <a:pt x="38" y="137"/>
                      <a:pt x="38" y="140"/>
                      <a:pt x="40" y="142"/>
                    </a:cubicBezTo>
                    <a:cubicBezTo>
                      <a:pt x="44" y="146"/>
                      <a:pt x="48" y="149"/>
                      <a:pt x="52" y="153"/>
                    </a:cubicBezTo>
                    <a:cubicBezTo>
                      <a:pt x="57" y="157"/>
                      <a:pt x="62" y="161"/>
                      <a:pt x="67" y="165"/>
                    </a:cubicBezTo>
                    <a:cubicBezTo>
                      <a:pt x="69" y="166"/>
                      <a:pt x="70" y="169"/>
                      <a:pt x="69" y="172"/>
                    </a:cubicBezTo>
                    <a:cubicBezTo>
                      <a:pt x="69" y="174"/>
                      <a:pt x="67" y="176"/>
                      <a:pt x="65" y="177"/>
                    </a:cubicBezTo>
                    <a:cubicBezTo>
                      <a:pt x="64" y="177"/>
                      <a:pt x="63" y="177"/>
                      <a:pt x="63" y="177"/>
                    </a:cubicBezTo>
                    <a:cubicBezTo>
                      <a:pt x="64" y="179"/>
                      <a:pt x="65" y="181"/>
                      <a:pt x="66" y="183"/>
                    </a:cubicBezTo>
                    <a:cubicBezTo>
                      <a:pt x="68" y="185"/>
                      <a:pt x="69" y="188"/>
                      <a:pt x="70" y="191"/>
                    </a:cubicBezTo>
                    <a:cubicBezTo>
                      <a:pt x="70" y="193"/>
                      <a:pt x="70" y="195"/>
                      <a:pt x="70" y="197"/>
                    </a:cubicBezTo>
                    <a:cubicBezTo>
                      <a:pt x="71" y="197"/>
                      <a:pt x="71" y="197"/>
                      <a:pt x="71" y="197"/>
                    </a:cubicBezTo>
                    <a:cubicBezTo>
                      <a:pt x="73" y="195"/>
                      <a:pt x="73" y="193"/>
                      <a:pt x="73" y="190"/>
                    </a:cubicBezTo>
                    <a:cubicBezTo>
                      <a:pt x="72" y="188"/>
                      <a:pt x="71" y="186"/>
                      <a:pt x="69" y="184"/>
                    </a:cubicBezTo>
                    <a:cubicBezTo>
                      <a:pt x="69" y="183"/>
                      <a:pt x="68" y="182"/>
                      <a:pt x="69" y="182"/>
                    </a:cubicBezTo>
                    <a:cubicBezTo>
                      <a:pt x="69" y="181"/>
                      <a:pt x="71" y="181"/>
                      <a:pt x="72" y="182"/>
                    </a:cubicBezTo>
                    <a:cubicBezTo>
                      <a:pt x="74" y="184"/>
                      <a:pt x="77" y="185"/>
                      <a:pt x="79" y="185"/>
                    </a:cubicBezTo>
                    <a:cubicBezTo>
                      <a:pt x="85" y="187"/>
                      <a:pt x="91" y="186"/>
                      <a:pt x="97" y="185"/>
                    </a:cubicBezTo>
                    <a:cubicBezTo>
                      <a:pt x="102" y="184"/>
                      <a:pt x="106" y="182"/>
                      <a:pt x="109" y="179"/>
                    </a:cubicBezTo>
                    <a:cubicBezTo>
                      <a:pt x="111" y="177"/>
                      <a:pt x="112" y="175"/>
                      <a:pt x="114" y="173"/>
                    </a:cubicBezTo>
                    <a:cubicBezTo>
                      <a:pt x="114" y="173"/>
                      <a:pt x="115" y="172"/>
                      <a:pt x="116" y="172"/>
                    </a:cubicBezTo>
                    <a:cubicBezTo>
                      <a:pt x="116" y="172"/>
                      <a:pt x="117" y="173"/>
                      <a:pt x="117" y="174"/>
                    </a:cubicBezTo>
                    <a:cubicBezTo>
                      <a:pt x="118" y="178"/>
                      <a:pt x="117" y="182"/>
                      <a:pt x="116" y="185"/>
                    </a:cubicBezTo>
                    <a:cubicBezTo>
                      <a:pt x="115" y="188"/>
                      <a:pt x="114" y="190"/>
                      <a:pt x="114" y="192"/>
                    </a:cubicBezTo>
                    <a:cubicBezTo>
                      <a:pt x="114" y="194"/>
                      <a:pt x="114" y="195"/>
                      <a:pt x="117" y="195"/>
                    </a:cubicBezTo>
                    <a:cubicBezTo>
                      <a:pt x="117" y="191"/>
                      <a:pt x="118" y="186"/>
                      <a:pt x="119" y="182"/>
                    </a:cubicBezTo>
                    <a:cubicBezTo>
                      <a:pt x="120" y="178"/>
                      <a:pt x="120" y="174"/>
                      <a:pt x="120" y="171"/>
                    </a:cubicBezTo>
                    <a:cubicBezTo>
                      <a:pt x="119" y="167"/>
                      <a:pt x="119" y="163"/>
                      <a:pt x="118" y="159"/>
                    </a:cubicBezTo>
                    <a:cubicBezTo>
                      <a:pt x="118" y="156"/>
                      <a:pt x="118" y="153"/>
                      <a:pt x="120" y="150"/>
                    </a:cubicBezTo>
                    <a:cubicBezTo>
                      <a:pt x="121" y="147"/>
                      <a:pt x="123" y="145"/>
                      <a:pt x="126" y="145"/>
                    </a:cubicBezTo>
                    <a:cubicBezTo>
                      <a:pt x="126" y="145"/>
                      <a:pt x="127" y="145"/>
                      <a:pt x="127" y="145"/>
                    </a:cubicBezTo>
                    <a:cubicBezTo>
                      <a:pt x="127" y="142"/>
                      <a:pt x="129" y="140"/>
                      <a:pt x="133" y="139"/>
                    </a:cubicBezTo>
                    <a:cubicBezTo>
                      <a:pt x="137" y="137"/>
                      <a:pt x="142" y="138"/>
                      <a:pt x="146" y="140"/>
                    </a:cubicBezTo>
                    <a:cubicBezTo>
                      <a:pt x="145" y="138"/>
                      <a:pt x="142" y="137"/>
                      <a:pt x="140" y="136"/>
                    </a:cubicBezTo>
                    <a:cubicBezTo>
                      <a:pt x="146" y="119"/>
                      <a:pt x="136" y="97"/>
                      <a:pt x="127" y="91"/>
                    </a:cubicBezTo>
                    <a:cubicBezTo>
                      <a:pt x="131" y="97"/>
                      <a:pt x="134" y="103"/>
                      <a:pt x="137" y="110"/>
                    </a:cubicBezTo>
                    <a:cubicBezTo>
                      <a:pt x="139" y="116"/>
                      <a:pt x="140" y="123"/>
                      <a:pt x="139" y="130"/>
                    </a:cubicBezTo>
                    <a:cubicBezTo>
                      <a:pt x="138" y="135"/>
                      <a:pt x="136" y="137"/>
                      <a:pt x="132" y="137"/>
                    </a:cubicBezTo>
                    <a:cubicBezTo>
                      <a:pt x="130" y="138"/>
                      <a:pt x="129" y="137"/>
                      <a:pt x="128" y="134"/>
                    </a:cubicBezTo>
                    <a:cubicBezTo>
                      <a:pt x="128" y="132"/>
                      <a:pt x="128" y="130"/>
                      <a:pt x="128" y="128"/>
                    </a:cubicBezTo>
                    <a:cubicBezTo>
                      <a:pt x="128" y="121"/>
                      <a:pt x="127" y="114"/>
                      <a:pt x="124" y="107"/>
                    </a:cubicBezTo>
                    <a:cubicBezTo>
                      <a:pt x="123" y="102"/>
                      <a:pt x="121" y="98"/>
                      <a:pt x="118" y="95"/>
                    </a:cubicBezTo>
                    <a:cubicBezTo>
                      <a:pt x="117" y="94"/>
                      <a:pt x="117" y="94"/>
                      <a:pt x="117" y="93"/>
                    </a:cubicBezTo>
                    <a:cubicBezTo>
                      <a:pt x="115" y="86"/>
                      <a:pt x="113" y="78"/>
                      <a:pt x="108" y="72"/>
                    </a:cubicBezTo>
                    <a:cubicBezTo>
                      <a:pt x="106" y="70"/>
                      <a:pt x="105" y="67"/>
                      <a:pt x="106" y="63"/>
                    </a:cubicBezTo>
                    <a:cubicBezTo>
                      <a:pt x="106" y="62"/>
                      <a:pt x="107" y="60"/>
                      <a:pt x="107" y="58"/>
                    </a:cubicBezTo>
                    <a:cubicBezTo>
                      <a:pt x="108" y="55"/>
                      <a:pt x="107" y="54"/>
                      <a:pt x="104" y="53"/>
                    </a:cubicBezTo>
                    <a:cubicBezTo>
                      <a:pt x="101" y="52"/>
                      <a:pt x="98" y="50"/>
                      <a:pt x="94" y="49"/>
                    </a:cubicBezTo>
                    <a:cubicBezTo>
                      <a:pt x="92" y="48"/>
                      <a:pt x="91" y="46"/>
                      <a:pt x="91" y="44"/>
                    </a:cubicBezTo>
                    <a:cubicBezTo>
                      <a:pt x="91" y="43"/>
                      <a:pt x="92" y="41"/>
                      <a:pt x="92" y="40"/>
                    </a:cubicBezTo>
                    <a:cubicBezTo>
                      <a:pt x="93" y="37"/>
                      <a:pt x="95" y="36"/>
                      <a:pt x="98" y="36"/>
                    </a:cubicBezTo>
                    <a:cubicBezTo>
                      <a:pt x="100" y="37"/>
                      <a:pt x="101" y="38"/>
                      <a:pt x="102" y="39"/>
                    </a:cubicBezTo>
                    <a:cubicBezTo>
                      <a:pt x="103" y="42"/>
                      <a:pt x="104" y="45"/>
                      <a:pt x="102" y="47"/>
                    </a:cubicBezTo>
                    <a:cubicBezTo>
                      <a:pt x="102" y="48"/>
                      <a:pt x="102" y="49"/>
                      <a:pt x="103" y="50"/>
                    </a:cubicBezTo>
                    <a:cubicBezTo>
                      <a:pt x="104" y="51"/>
                      <a:pt x="107" y="50"/>
                      <a:pt x="107" y="48"/>
                    </a:cubicBezTo>
                    <a:cubicBezTo>
                      <a:pt x="108" y="43"/>
                      <a:pt x="108" y="39"/>
                      <a:pt x="106" y="35"/>
                    </a:cubicBezTo>
                    <a:cubicBezTo>
                      <a:pt x="104" y="31"/>
                      <a:pt x="100" y="29"/>
                      <a:pt x="96" y="29"/>
                    </a:cubicBezTo>
                    <a:cubicBezTo>
                      <a:pt x="92" y="30"/>
                      <a:pt x="88" y="33"/>
                      <a:pt x="87" y="37"/>
                    </a:cubicBezTo>
                    <a:cubicBezTo>
                      <a:pt x="87" y="39"/>
                      <a:pt x="87" y="40"/>
                      <a:pt x="87" y="41"/>
                    </a:cubicBezTo>
                    <a:cubicBezTo>
                      <a:pt x="87" y="43"/>
                      <a:pt x="87" y="45"/>
                      <a:pt x="87" y="47"/>
                    </a:cubicBezTo>
                    <a:cubicBezTo>
                      <a:pt x="85" y="45"/>
                      <a:pt x="83" y="45"/>
                      <a:pt x="81" y="45"/>
                    </a:cubicBezTo>
                    <a:cubicBezTo>
                      <a:pt x="81" y="45"/>
                      <a:pt x="80" y="45"/>
                      <a:pt x="80" y="45"/>
                    </a:cubicBezTo>
                    <a:cubicBezTo>
                      <a:pt x="79" y="46"/>
                      <a:pt x="78" y="45"/>
                      <a:pt x="78" y="44"/>
                    </a:cubicBezTo>
                    <a:cubicBezTo>
                      <a:pt x="78" y="41"/>
                      <a:pt x="77" y="38"/>
                      <a:pt x="77" y="35"/>
                    </a:cubicBezTo>
                    <a:cubicBezTo>
                      <a:pt x="77" y="35"/>
                      <a:pt x="76" y="34"/>
                      <a:pt x="76" y="34"/>
                    </a:cubicBezTo>
                    <a:cubicBezTo>
                      <a:pt x="75" y="32"/>
                      <a:pt x="73" y="30"/>
                      <a:pt x="71" y="30"/>
                    </a:cubicBezTo>
                    <a:cubicBezTo>
                      <a:pt x="68" y="30"/>
                      <a:pt x="67" y="32"/>
                      <a:pt x="66" y="34"/>
                    </a:cubicBezTo>
                    <a:cubicBezTo>
                      <a:pt x="63" y="39"/>
                      <a:pt x="64" y="44"/>
                      <a:pt x="66" y="49"/>
                    </a:cubicBezTo>
                    <a:cubicBezTo>
                      <a:pt x="67" y="50"/>
                      <a:pt x="68" y="51"/>
                      <a:pt x="68" y="51"/>
                    </a:cubicBezTo>
                    <a:cubicBezTo>
                      <a:pt x="69" y="51"/>
                      <a:pt x="70" y="50"/>
                      <a:pt x="70" y="49"/>
                    </a:cubicBezTo>
                    <a:cubicBezTo>
                      <a:pt x="69" y="48"/>
                      <a:pt x="68" y="48"/>
                      <a:pt x="67" y="47"/>
                    </a:cubicBezTo>
                    <a:cubicBezTo>
                      <a:pt x="66" y="45"/>
                      <a:pt x="66" y="42"/>
                      <a:pt x="67" y="39"/>
                    </a:cubicBezTo>
                    <a:cubicBezTo>
                      <a:pt x="68" y="37"/>
                      <a:pt x="71" y="36"/>
                      <a:pt x="73" y="38"/>
                    </a:cubicBezTo>
                    <a:cubicBezTo>
                      <a:pt x="75" y="39"/>
                      <a:pt x="75" y="42"/>
                      <a:pt x="75" y="44"/>
                    </a:cubicBezTo>
                    <a:cubicBezTo>
                      <a:pt x="76" y="46"/>
                      <a:pt x="75" y="47"/>
                      <a:pt x="73" y="48"/>
                    </a:cubicBezTo>
                    <a:cubicBezTo>
                      <a:pt x="73" y="48"/>
                      <a:pt x="73" y="48"/>
                      <a:pt x="73" y="49"/>
                    </a:cubicBezTo>
                    <a:cubicBezTo>
                      <a:pt x="71" y="51"/>
                      <a:pt x="69" y="52"/>
                      <a:pt x="67" y="53"/>
                    </a:cubicBezTo>
                    <a:cubicBezTo>
                      <a:pt x="66" y="54"/>
                      <a:pt x="65" y="55"/>
                      <a:pt x="64" y="56"/>
                    </a:cubicBezTo>
                    <a:cubicBezTo>
                      <a:pt x="64" y="57"/>
                      <a:pt x="64" y="58"/>
                      <a:pt x="65" y="59"/>
                    </a:cubicBezTo>
                    <a:cubicBezTo>
                      <a:pt x="66" y="60"/>
                      <a:pt x="68" y="61"/>
                      <a:pt x="68" y="62"/>
                    </a:cubicBezTo>
                    <a:cubicBezTo>
                      <a:pt x="71" y="65"/>
                      <a:pt x="74" y="66"/>
                      <a:pt x="78" y="66"/>
                    </a:cubicBezTo>
                    <a:cubicBezTo>
                      <a:pt x="83" y="66"/>
                      <a:pt x="87" y="64"/>
                      <a:pt x="91" y="63"/>
                    </a:cubicBezTo>
                    <a:cubicBezTo>
                      <a:pt x="95" y="62"/>
                      <a:pt x="99" y="61"/>
                      <a:pt x="101" y="58"/>
                    </a:cubicBezTo>
                    <a:cubicBezTo>
                      <a:pt x="101" y="57"/>
                      <a:pt x="103" y="57"/>
                      <a:pt x="103" y="58"/>
                    </a:cubicBezTo>
                    <a:cubicBezTo>
                      <a:pt x="104" y="58"/>
                      <a:pt x="104" y="59"/>
                      <a:pt x="103" y="60"/>
                    </a:cubicBezTo>
                    <a:cubicBezTo>
                      <a:pt x="103" y="60"/>
                      <a:pt x="103" y="61"/>
                      <a:pt x="102" y="61"/>
                    </a:cubicBezTo>
                    <a:cubicBezTo>
                      <a:pt x="97" y="63"/>
                      <a:pt x="92" y="65"/>
                      <a:pt x="87" y="67"/>
                    </a:cubicBezTo>
                    <a:cubicBezTo>
                      <a:pt x="83" y="68"/>
                      <a:pt x="79" y="69"/>
                      <a:pt x="75" y="69"/>
                    </a:cubicBezTo>
                    <a:cubicBezTo>
                      <a:pt x="74" y="68"/>
                      <a:pt x="72" y="68"/>
                      <a:pt x="71" y="68"/>
                    </a:cubicBezTo>
                    <a:close/>
                    <a:moveTo>
                      <a:pt x="73" y="45"/>
                    </a:moveTo>
                    <a:cubicBezTo>
                      <a:pt x="73" y="43"/>
                      <a:pt x="73" y="41"/>
                      <a:pt x="72" y="40"/>
                    </a:cubicBezTo>
                    <a:cubicBezTo>
                      <a:pt x="72" y="39"/>
                      <a:pt x="71" y="39"/>
                      <a:pt x="71" y="39"/>
                    </a:cubicBezTo>
                    <a:cubicBezTo>
                      <a:pt x="71" y="40"/>
                      <a:pt x="71" y="40"/>
                      <a:pt x="71" y="40"/>
                    </a:cubicBezTo>
                    <a:cubicBezTo>
                      <a:pt x="72" y="41"/>
                      <a:pt x="72" y="42"/>
                      <a:pt x="72" y="43"/>
                    </a:cubicBezTo>
                    <a:cubicBezTo>
                      <a:pt x="72" y="44"/>
                      <a:pt x="72" y="45"/>
                      <a:pt x="73" y="45"/>
                    </a:cubicBezTo>
                    <a:close/>
                    <a:moveTo>
                      <a:pt x="97" y="39"/>
                    </a:moveTo>
                    <a:cubicBezTo>
                      <a:pt x="99" y="40"/>
                      <a:pt x="100" y="41"/>
                      <a:pt x="100" y="43"/>
                    </a:cubicBezTo>
                    <a:cubicBezTo>
                      <a:pt x="101" y="43"/>
                      <a:pt x="101" y="43"/>
                      <a:pt x="101" y="42"/>
                    </a:cubicBezTo>
                    <a:cubicBezTo>
                      <a:pt x="101" y="41"/>
                      <a:pt x="101" y="40"/>
                      <a:pt x="100" y="39"/>
                    </a:cubicBezTo>
                    <a:cubicBezTo>
                      <a:pt x="99" y="38"/>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9" name="Freeform 86"/>
              <p:cNvSpPr>
                <a:spLocks/>
              </p:cNvSpPr>
              <p:nvPr userDrawn="1"/>
            </p:nvSpPr>
            <p:spPr bwMode="auto">
              <a:xfrm>
                <a:off x="6802" y="2978"/>
                <a:ext cx="3" cy="3"/>
              </a:xfrm>
              <a:custGeom>
                <a:avLst/>
                <a:gdLst>
                  <a:gd name="T0" fmla="*/ 3 w 3"/>
                  <a:gd name="T1" fmla="*/ 1 h 3"/>
                  <a:gd name="T2" fmla="*/ 2 w 3"/>
                  <a:gd name="T3" fmla="*/ 2 h 3"/>
                  <a:gd name="T4" fmla="*/ 0 w 3"/>
                  <a:gd name="T5" fmla="*/ 3 h 3"/>
                  <a:gd name="T6" fmla="*/ 1 w 3"/>
                  <a:gd name="T7" fmla="*/ 1 h 3"/>
                  <a:gd name="T8" fmla="*/ 2 w 3"/>
                  <a:gd name="T9" fmla="*/ 0 h 3"/>
                  <a:gd name="T10" fmla="*/ 3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3" y="1"/>
                    </a:moveTo>
                    <a:cubicBezTo>
                      <a:pt x="2" y="1"/>
                      <a:pt x="2" y="2"/>
                      <a:pt x="2" y="2"/>
                    </a:cubicBezTo>
                    <a:cubicBezTo>
                      <a:pt x="1" y="2"/>
                      <a:pt x="1" y="3"/>
                      <a:pt x="0" y="3"/>
                    </a:cubicBezTo>
                    <a:cubicBezTo>
                      <a:pt x="0" y="2"/>
                      <a:pt x="0" y="2"/>
                      <a:pt x="1" y="1"/>
                    </a:cubicBezTo>
                    <a:cubicBezTo>
                      <a:pt x="1" y="1"/>
                      <a:pt x="2" y="1"/>
                      <a:pt x="2" y="0"/>
                    </a:cubicBezTo>
                    <a:cubicBezTo>
                      <a:pt x="3" y="0"/>
                      <a:pt x="3"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0" name="Freeform 87"/>
              <p:cNvSpPr>
                <a:spLocks/>
              </p:cNvSpPr>
              <p:nvPr userDrawn="1"/>
            </p:nvSpPr>
            <p:spPr bwMode="auto">
              <a:xfrm>
                <a:off x="6815" y="2978"/>
                <a:ext cx="4" cy="2"/>
              </a:xfrm>
              <a:custGeom>
                <a:avLst/>
                <a:gdLst>
                  <a:gd name="T0" fmla="*/ 0 w 3"/>
                  <a:gd name="T1" fmla="*/ 0 h 2"/>
                  <a:gd name="T2" fmla="*/ 2 w 3"/>
                  <a:gd name="T3" fmla="*/ 1 h 2"/>
                  <a:gd name="T4" fmla="*/ 3 w 3"/>
                  <a:gd name="T5" fmla="*/ 2 h 2"/>
                  <a:gd name="T6" fmla="*/ 2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2" y="1"/>
                    </a:cubicBezTo>
                    <a:cubicBezTo>
                      <a:pt x="3" y="1"/>
                      <a:pt x="3" y="1"/>
                      <a:pt x="3" y="2"/>
                    </a:cubicBezTo>
                    <a:cubicBezTo>
                      <a:pt x="3" y="2"/>
                      <a:pt x="2" y="2"/>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1" name="Freeform 88"/>
              <p:cNvSpPr>
                <a:spLocks noEditPoints="1"/>
              </p:cNvSpPr>
              <p:nvPr userDrawn="1"/>
            </p:nvSpPr>
            <p:spPr bwMode="auto">
              <a:xfrm>
                <a:off x="203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7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7"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2" name="Freeform 89"/>
              <p:cNvSpPr>
                <a:spLocks noEditPoints="1"/>
              </p:cNvSpPr>
              <p:nvPr userDrawn="1"/>
            </p:nvSpPr>
            <p:spPr bwMode="auto">
              <a:xfrm>
                <a:off x="222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3" name="Freeform 90"/>
              <p:cNvSpPr>
                <a:spLocks/>
              </p:cNvSpPr>
              <p:nvPr userDrawn="1"/>
            </p:nvSpPr>
            <p:spPr bwMode="auto">
              <a:xfrm>
                <a:off x="2425" y="3657"/>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5"/>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4" name="Freeform 91"/>
              <p:cNvSpPr>
                <a:spLocks noEditPoints="1"/>
              </p:cNvSpPr>
              <p:nvPr userDrawn="1"/>
            </p:nvSpPr>
            <p:spPr bwMode="auto">
              <a:xfrm>
                <a:off x="2573"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5" name="Freeform 92"/>
              <p:cNvSpPr>
                <a:spLocks noEditPoints="1"/>
              </p:cNvSpPr>
              <p:nvPr userDrawn="1"/>
            </p:nvSpPr>
            <p:spPr bwMode="auto">
              <a:xfrm>
                <a:off x="2768"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6" name="Freeform 93"/>
              <p:cNvSpPr>
                <a:spLocks/>
              </p:cNvSpPr>
              <p:nvPr userDrawn="1"/>
            </p:nvSpPr>
            <p:spPr bwMode="auto">
              <a:xfrm>
                <a:off x="2965"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7"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7" name="Freeform 94"/>
              <p:cNvSpPr>
                <a:spLocks noEditPoints="1"/>
              </p:cNvSpPr>
              <p:nvPr userDrawn="1"/>
            </p:nvSpPr>
            <p:spPr bwMode="auto">
              <a:xfrm>
                <a:off x="3114"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8" name="Freeform 95"/>
              <p:cNvSpPr>
                <a:spLocks/>
              </p:cNvSpPr>
              <p:nvPr userDrawn="1"/>
            </p:nvSpPr>
            <p:spPr bwMode="auto">
              <a:xfrm>
                <a:off x="3311" y="3657"/>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5"/>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9" name="Freeform 96"/>
              <p:cNvSpPr>
                <a:spLocks/>
              </p:cNvSpPr>
              <p:nvPr userDrawn="1"/>
            </p:nvSpPr>
            <p:spPr bwMode="auto">
              <a:xfrm>
                <a:off x="3460"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5"/>
                    </a:cubicBezTo>
                    <a:cubicBezTo>
                      <a:pt x="0" y="32"/>
                      <a:pt x="0" y="32"/>
                      <a:pt x="0" y="32"/>
                    </a:cubicBezTo>
                    <a:cubicBezTo>
                      <a:pt x="5" y="30"/>
                      <a:pt x="11" y="29"/>
                      <a:pt x="16" y="26"/>
                    </a:cubicBezTo>
                    <a:cubicBezTo>
                      <a:pt x="22" y="24"/>
                      <a:pt x="27" y="21"/>
                      <a:pt x="32" y="18"/>
                    </a:cubicBezTo>
                    <a:cubicBezTo>
                      <a:pt x="38" y="16"/>
                      <a:pt x="43" y="13"/>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0" name="Freeform 97"/>
              <p:cNvSpPr>
                <a:spLocks noEditPoints="1"/>
              </p:cNvSpPr>
              <p:nvPr userDrawn="1"/>
            </p:nvSpPr>
            <p:spPr bwMode="auto">
              <a:xfrm>
                <a:off x="3609"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1" y="135"/>
                      <a:pt x="0" y="121"/>
                      <a:pt x="0" y="106"/>
                    </a:cubicBezTo>
                    <a:cubicBezTo>
                      <a:pt x="0" y="88"/>
                      <a:pt x="2" y="73"/>
                      <a:pt x="4" y="60"/>
                    </a:cubicBezTo>
                    <a:cubicBezTo>
                      <a:pt x="7" y="47"/>
                      <a:pt x="11" y="36"/>
                      <a:pt x="17" y="27"/>
                    </a:cubicBezTo>
                    <a:cubicBezTo>
                      <a:pt x="23" y="18"/>
                      <a:pt x="30"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1" name="Freeform 98"/>
              <p:cNvSpPr>
                <a:spLocks noEditPoints="1"/>
              </p:cNvSpPr>
              <p:nvPr userDrawn="1"/>
            </p:nvSpPr>
            <p:spPr bwMode="auto">
              <a:xfrm>
                <a:off x="3794" y="3663"/>
                <a:ext cx="189" cy="219"/>
              </a:xfrm>
              <a:custGeom>
                <a:avLst/>
                <a:gdLst>
                  <a:gd name="T0" fmla="*/ 189 w 189"/>
                  <a:gd name="T1" fmla="*/ 67 h 219"/>
                  <a:gd name="T2" fmla="*/ 184 w 189"/>
                  <a:gd name="T3" fmla="*/ 84 h 219"/>
                  <a:gd name="T4" fmla="*/ 141 w 189"/>
                  <a:gd name="T5" fmla="*/ 84 h 219"/>
                  <a:gd name="T6" fmla="*/ 130 w 189"/>
                  <a:gd name="T7" fmla="*/ 134 h 219"/>
                  <a:gd name="T8" fmla="*/ 177 w 189"/>
                  <a:gd name="T9" fmla="*/ 134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2 w 189"/>
                  <a:gd name="T31" fmla="*/ 134 h 219"/>
                  <a:gd name="T32" fmla="*/ 47 w 189"/>
                  <a:gd name="T33" fmla="*/ 134 h 219"/>
                  <a:gd name="T34" fmla="*/ 57 w 189"/>
                  <a:gd name="T35" fmla="*/ 84 h 219"/>
                  <a:gd name="T36" fmla="*/ 11 w 189"/>
                  <a:gd name="T37" fmla="*/ 84 h 219"/>
                  <a:gd name="T38" fmla="*/ 15 w 189"/>
                  <a:gd name="T39" fmla="*/ 67 h 219"/>
                  <a:gd name="T40" fmla="*/ 61 w 189"/>
                  <a:gd name="T41" fmla="*/ 67 h 219"/>
                  <a:gd name="T42" fmla="*/ 74 w 189"/>
                  <a:gd name="T43" fmla="*/ 0 h 219"/>
                  <a:gd name="T44" fmla="*/ 96 w 189"/>
                  <a:gd name="T45" fmla="*/ 0 h 219"/>
                  <a:gd name="T46" fmla="*/ 82 w 189"/>
                  <a:gd name="T47" fmla="*/ 67 h 219"/>
                  <a:gd name="T48" fmla="*/ 123 w 189"/>
                  <a:gd name="T49" fmla="*/ 67 h 219"/>
                  <a:gd name="T50" fmla="*/ 138 w 189"/>
                  <a:gd name="T51" fmla="*/ 0 h 219"/>
                  <a:gd name="T52" fmla="*/ 158 w 189"/>
                  <a:gd name="T53" fmla="*/ 0 h 219"/>
                  <a:gd name="T54" fmla="*/ 145 w 189"/>
                  <a:gd name="T55" fmla="*/ 67 h 219"/>
                  <a:gd name="T56" fmla="*/ 189 w 189"/>
                  <a:gd name="T57" fmla="*/ 67 h 219"/>
                  <a:gd name="T58" fmla="*/ 121 w 189"/>
                  <a:gd name="T59" fmla="*/ 84 h 219"/>
                  <a:gd name="T60" fmla="*/ 78 w 189"/>
                  <a:gd name="T61" fmla="*/ 84 h 219"/>
                  <a:gd name="T62" fmla="*/ 67 w 189"/>
                  <a:gd name="T63" fmla="*/ 134 h 219"/>
                  <a:gd name="T64" fmla="*/ 110 w 189"/>
                  <a:gd name="T65" fmla="*/ 134 h 219"/>
                  <a:gd name="T66" fmla="*/ 121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4" y="84"/>
                    </a:lnTo>
                    <a:lnTo>
                      <a:pt x="141" y="84"/>
                    </a:lnTo>
                    <a:lnTo>
                      <a:pt x="130" y="134"/>
                    </a:lnTo>
                    <a:lnTo>
                      <a:pt x="177" y="134"/>
                    </a:lnTo>
                    <a:lnTo>
                      <a:pt x="173" y="153"/>
                    </a:lnTo>
                    <a:lnTo>
                      <a:pt x="127" y="153"/>
                    </a:lnTo>
                    <a:lnTo>
                      <a:pt x="112" y="219"/>
                    </a:lnTo>
                    <a:lnTo>
                      <a:pt x="91" y="219"/>
                    </a:lnTo>
                    <a:lnTo>
                      <a:pt x="106" y="153"/>
                    </a:lnTo>
                    <a:lnTo>
                      <a:pt x="65" y="153"/>
                    </a:lnTo>
                    <a:lnTo>
                      <a:pt x="50" y="219"/>
                    </a:lnTo>
                    <a:lnTo>
                      <a:pt x="29" y="219"/>
                    </a:lnTo>
                    <a:lnTo>
                      <a:pt x="43" y="153"/>
                    </a:lnTo>
                    <a:lnTo>
                      <a:pt x="0" y="153"/>
                    </a:lnTo>
                    <a:lnTo>
                      <a:pt x="2" y="134"/>
                    </a:lnTo>
                    <a:lnTo>
                      <a:pt x="47" y="134"/>
                    </a:lnTo>
                    <a:lnTo>
                      <a:pt x="57" y="84"/>
                    </a:lnTo>
                    <a:lnTo>
                      <a:pt x="11" y="84"/>
                    </a:lnTo>
                    <a:lnTo>
                      <a:pt x="15" y="67"/>
                    </a:lnTo>
                    <a:lnTo>
                      <a:pt x="61" y="67"/>
                    </a:lnTo>
                    <a:lnTo>
                      <a:pt x="74" y="0"/>
                    </a:lnTo>
                    <a:lnTo>
                      <a:pt x="96" y="0"/>
                    </a:lnTo>
                    <a:lnTo>
                      <a:pt x="82" y="67"/>
                    </a:lnTo>
                    <a:lnTo>
                      <a:pt x="123" y="67"/>
                    </a:lnTo>
                    <a:lnTo>
                      <a:pt x="138" y="0"/>
                    </a:lnTo>
                    <a:lnTo>
                      <a:pt x="158" y="0"/>
                    </a:lnTo>
                    <a:lnTo>
                      <a:pt x="145" y="67"/>
                    </a:lnTo>
                    <a:lnTo>
                      <a:pt x="189"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2" name="Freeform 99"/>
              <p:cNvSpPr>
                <a:spLocks/>
              </p:cNvSpPr>
              <p:nvPr userDrawn="1"/>
            </p:nvSpPr>
            <p:spPr bwMode="auto">
              <a:xfrm>
                <a:off x="4223" y="3663"/>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2 h 240"/>
                  <a:gd name="T12" fmla="*/ 21 w 63"/>
                  <a:gd name="T13" fmla="*/ 43 h 240"/>
                  <a:gd name="T14" fmla="*/ 63 w 63"/>
                  <a:gd name="T15" fmla="*/ 0 h 240"/>
                  <a:gd name="T16" fmla="*/ 63 w 63"/>
                  <a:gd name="T17" fmla="*/ 17 h 240"/>
                  <a:gd name="T18" fmla="*/ 41 w 63"/>
                  <a:gd name="T19" fmla="*/ 44 h 240"/>
                  <a:gd name="T20" fmla="*/ 41 w 63"/>
                  <a:gd name="T21" fmla="*/ 84 h 240"/>
                  <a:gd name="T22" fmla="*/ 21 w 63"/>
                  <a:gd name="T23" fmla="*/ 120 h 240"/>
                  <a:gd name="T24" fmla="*/ 21 w 63"/>
                  <a:gd name="T25" fmla="*/ 120 h 240"/>
                  <a:gd name="T26" fmla="*/ 41 w 63"/>
                  <a:gd name="T27" fmla="*/ 155 h 240"/>
                  <a:gd name="T28" fmla="*/ 41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2"/>
                    </a:cubicBezTo>
                    <a:cubicBezTo>
                      <a:pt x="21" y="43"/>
                      <a:pt x="21" y="43"/>
                      <a:pt x="21" y="43"/>
                    </a:cubicBezTo>
                    <a:cubicBezTo>
                      <a:pt x="21" y="14"/>
                      <a:pt x="35" y="0"/>
                      <a:pt x="63" y="0"/>
                    </a:cubicBezTo>
                    <a:cubicBezTo>
                      <a:pt x="63" y="17"/>
                      <a:pt x="63" y="17"/>
                      <a:pt x="63" y="17"/>
                    </a:cubicBezTo>
                    <a:cubicBezTo>
                      <a:pt x="49" y="17"/>
                      <a:pt x="41" y="26"/>
                      <a:pt x="41" y="44"/>
                    </a:cubicBezTo>
                    <a:cubicBezTo>
                      <a:pt x="41" y="84"/>
                      <a:pt x="41" y="84"/>
                      <a:pt x="41" y="84"/>
                    </a:cubicBezTo>
                    <a:cubicBezTo>
                      <a:pt x="41" y="103"/>
                      <a:pt x="34" y="115"/>
                      <a:pt x="21" y="120"/>
                    </a:cubicBezTo>
                    <a:cubicBezTo>
                      <a:pt x="21" y="120"/>
                      <a:pt x="21" y="120"/>
                      <a:pt x="21" y="120"/>
                    </a:cubicBezTo>
                    <a:cubicBezTo>
                      <a:pt x="34" y="124"/>
                      <a:pt x="41" y="136"/>
                      <a:pt x="41" y="155"/>
                    </a:cubicBezTo>
                    <a:cubicBezTo>
                      <a:pt x="41" y="195"/>
                      <a:pt x="41" y="195"/>
                      <a:pt x="41" y="195"/>
                    </a:cubicBezTo>
                    <a:cubicBezTo>
                      <a:pt x="41" y="205"/>
                      <a:pt x="43" y="212"/>
                      <a:pt x="46" y="216"/>
                    </a:cubicBezTo>
                    <a:cubicBezTo>
                      <a:pt x="49"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3" name="Freeform 100"/>
              <p:cNvSpPr>
                <a:spLocks/>
              </p:cNvSpPr>
              <p:nvPr userDrawn="1"/>
            </p:nvSpPr>
            <p:spPr bwMode="auto">
              <a:xfrm>
                <a:off x="4330" y="3663"/>
                <a:ext cx="77" cy="293"/>
              </a:xfrm>
              <a:custGeom>
                <a:avLst/>
                <a:gdLst>
                  <a:gd name="T0" fmla="*/ 63 w 63"/>
                  <a:gd name="T1" fmla="*/ 128 h 240"/>
                  <a:gd name="T2" fmla="*/ 42 w 63"/>
                  <a:gd name="T3" fmla="*/ 157 h 240"/>
                  <a:gd name="T4" fmla="*/ 42 w 63"/>
                  <a:gd name="T5" fmla="*/ 198 h 240"/>
                  <a:gd name="T6" fmla="*/ 0 w 63"/>
                  <a:gd name="T7" fmla="*/ 240 h 240"/>
                  <a:gd name="T8" fmla="*/ 0 w 63"/>
                  <a:gd name="T9" fmla="*/ 223 h 240"/>
                  <a:gd name="T10" fmla="*/ 17 w 63"/>
                  <a:gd name="T11" fmla="*/ 216 h 240"/>
                  <a:gd name="T12" fmla="*/ 22 w 63"/>
                  <a:gd name="T13" fmla="*/ 195 h 240"/>
                  <a:gd name="T14" fmla="*/ 22 w 63"/>
                  <a:gd name="T15" fmla="*/ 155 h 240"/>
                  <a:gd name="T16" fmla="*/ 42 w 63"/>
                  <a:gd name="T17" fmla="*/ 120 h 240"/>
                  <a:gd name="T18" fmla="*/ 42 w 63"/>
                  <a:gd name="T19" fmla="*/ 120 h 240"/>
                  <a:gd name="T20" fmla="*/ 22 w 63"/>
                  <a:gd name="T21" fmla="*/ 84 h 240"/>
                  <a:gd name="T22" fmla="*/ 22 w 63"/>
                  <a:gd name="T23" fmla="*/ 44 h 240"/>
                  <a:gd name="T24" fmla="*/ 0 w 63"/>
                  <a:gd name="T25" fmla="*/ 17 h 240"/>
                  <a:gd name="T26" fmla="*/ 0 w 63"/>
                  <a:gd name="T27" fmla="*/ 0 h 240"/>
                  <a:gd name="T28" fmla="*/ 42 w 63"/>
                  <a:gd name="T29" fmla="*/ 43 h 240"/>
                  <a:gd name="T30" fmla="*/ 42 w 63"/>
                  <a:gd name="T31" fmla="*/ 82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9" y="129"/>
                      <a:pt x="42" y="138"/>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0" y="212"/>
                      <a:pt x="22" y="205"/>
                      <a:pt x="22" y="195"/>
                    </a:cubicBezTo>
                    <a:cubicBezTo>
                      <a:pt x="22" y="155"/>
                      <a:pt x="22" y="155"/>
                      <a:pt x="22" y="155"/>
                    </a:cubicBezTo>
                    <a:cubicBezTo>
                      <a:pt x="22" y="136"/>
                      <a:pt x="29" y="124"/>
                      <a:pt x="42" y="120"/>
                    </a:cubicBezTo>
                    <a:cubicBezTo>
                      <a:pt x="42" y="120"/>
                      <a:pt x="42" y="120"/>
                      <a:pt x="42" y="120"/>
                    </a:cubicBezTo>
                    <a:cubicBezTo>
                      <a:pt x="29" y="115"/>
                      <a:pt x="22" y="103"/>
                      <a:pt x="22" y="84"/>
                    </a:cubicBezTo>
                    <a:cubicBezTo>
                      <a:pt x="22" y="44"/>
                      <a:pt x="22" y="44"/>
                      <a:pt x="22" y="44"/>
                    </a:cubicBezTo>
                    <a:cubicBezTo>
                      <a:pt x="22" y="26"/>
                      <a:pt x="15" y="17"/>
                      <a:pt x="0" y="17"/>
                    </a:cubicBezTo>
                    <a:cubicBezTo>
                      <a:pt x="0" y="0"/>
                      <a:pt x="0" y="0"/>
                      <a:pt x="0" y="0"/>
                    </a:cubicBezTo>
                    <a:cubicBezTo>
                      <a:pt x="28" y="0"/>
                      <a:pt x="42" y="14"/>
                      <a:pt x="42" y="43"/>
                    </a:cubicBezTo>
                    <a:cubicBezTo>
                      <a:pt x="42" y="82"/>
                      <a:pt x="42" y="82"/>
                      <a:pt x="42" y="82"/>
                    </a:cubicBezTo>
                    <a:cubicBezTo>
                      <a:pt x="42" y="101"/>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4" name="Freeform 101"/>
              <p:cNvSpPr>
                <a:spLocks noEditPoints="1"/>
              </p:cNvSpPr>
              <p:nvPr userDrawn="1"/>
            </p:nvSpPr>
            <p:spPr bwMode="auto">
              <a:xfrm>
                <a:off x="4441"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8"/>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5" name="Freeform 102"/>
              <p:cNvSpPr>
                <a:spLocks noEditPoints="1"/>
              </p:cNvSpPr>
              <p:nvPr userDrawn="1"/>
            </p:nvSpPr>
            <p:spPr bwMode="auto">
              <a:xfrm>
                <a:off x="4636"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8"/>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6" name="Freeform 103"/>
              <p:cNvSpPr>
                <a:spLocks/>
              </p:cNvSpPr>
              <p:nvPr userDrawn="1"/>
            </p:nvSpPr>
            <p:spPr bwMode="auto">
              <a:xfrm>
                <a:off x="4833"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7" name="Freeform 104"/>
              <p:cNvSpPr>
                <a:spLocks noEditPoints="1"/>
              </p:cNvSpPr>
              <p:nvPr userDrawn="1"/>
            </p:nvSpPr>
            <p:spPr bwMode="auto">
              <a:xfrm>
                <a:off x="4982"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8" name="Freeform 105"/>
              <p:cNvSpPr>
                <a:spLocks/>
              </p:cNvSpPr>
              <p:nvPr userDrawn="1"/>
            </p:nvSpPr>
            <p:spPr bwMode="auto">
              <a:xfrm>
                <a:off x="5180" y="3657"/>
                <a:ext cx="82"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5"/>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9" name="Freeform 106"/>
              <p:cNvSpPr>
                <a:spLocks/>
              </p:cNvSpPr>
              <p:nvPr userDrawn="1"/>
            </p:nvSpPr>
            <p:spPr bwMode="auto">
              <a:xfrm>
                <a:off x="5330" y="3657"/>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5"/>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0" name="Freeform 107"/>
              <p:cNvSpPr>
                <a:spLocks noEditPoints="1"/>
              </p:cNvSpPr>
              <p:nvPr userDrawn="1"/>
            </p:nvSpPr>
            <p:spPr bwMode="auto">
              <a:xfrm>
                <a:off x="5477"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3"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1" name="Freeform 108"/>
              <p:cNvSpPr>
                <a:spLocks/>
              </p:cNvSpPr>
              <p:nvPr userDrawn="1"/>
            </p:nvSpPr>
            <p:spPr bwMode="auto">
              <a:xfrm>
                <a:off x="5674"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2" name="Freeform 109"/>
              <p:cNvSpPr>
                <a:spLocks/>
              </p:cNvSpPr>
              <p:nvPr userDrawn="1"/>
            </p:nvSpPr>
            <p:spPr bwMode="auto">
              <a:xfrm>
                <a:off x="5824" y="3657"/>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5"/>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3" name="Freeform 110"/>
              <p:cNvSpPr>
                <a:spLocks noEditPoints="1"/>
              </p:cNvSpPr>
              <p:nvPr userDrawn="1"/>
            </p:nvSpPr>
            <p:spPr bwMode="auto">
              <a:xfrm>
                <a:off x="597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4" name="Freeform 111"/>
              <p:cNvSpPr>
                <a:spLocks noEditPoints="1"/>
              </p:cNvSpPr>
              <p:nvPr userDrawn="1"/>
            </p:nvSpPr>
            <p:spPr bwMode="auto">
              <a:xfrm>
                <a:off x="616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5" name="Freeform 112"/>
              <p:cNvSpPr>
                <a:spLocks noEditPoints="1"/>
              </p:cNvSpPr>
              <p:nvPr userDrawn="1"/>
            </p:nvSpPr>
            <p:spPr bwMode="auto">
              <a:xfrm>
                <a:off x="636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6" name="Freeform 113"/>
              <p:cNvSpPr>
                <a:spLocks noEditPoints="1"/>
              </p:cNvSpPr>
              <p:nvPr userDrawn="1"/>
            </p:nvSpPr>
            <p:spPr bwMode="auto">
              <a:xfrm>
                <a:off x="655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7" name="Freeform 114"/>
              <p:cNvSpPr>
                <a:spLocks/>
              </p:cNvSpPr>
              <p:nvPr userDrawn="1"/>
            </p:nvSpPr>
            <p:spPr bwMode="auto">
              <a:xfrm>
                <a:off x="6754"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5"/>
                    </a:cubicBezTo>
                    <a:cubicBezTo>
                      <a:pt x="0" y="32"/>
                      <a:pt x="0" y="32"/>
                      <a:pt x="0" y="32"/>
                    </a:cubicBezTo>
                    <a:cubicBezTo>
                      <a:pt x="5" y="30"/>
                      <a:pt x="11" y="29"/>
                      <a:pt x="16" y="26"/>
                    </a:cubicBezTo>
                    <a:cubicBezTo>
                      <a:pt x="22"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8" name="Freeform 115"/>
              <p:cNvSpPr>
                <a:spLocks/>
              </p:cNvSpPr>
              <p:nvPr userDrawn="1"/>
            </p:nvSpPr>
            <p:spPr bwMode="auto">
              <a:xfrm>
                <a:off x="6897" y="3663"/>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2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2"/>
                    </a:cubicBezTo>
                    <a:cubicBezTo>
                      <a:pt x="21" y="43"/>
                      <a:pt x="21" y="43"/>
                      <a:pt x="21" y="43"/>
                    </a:cubicBezTo>
                    <a:cubicBezTo>
                      <a:pt x="21" y="14"/>
                      <a:pt x="35" y="0"/>
                      <a:pt x="63" y="0"/>
                    </a:cubicBezTo>
                    <a:cubicBezTo>
                      <a:pt x="63" y="17"/>
                      <a:pt x="63" y="17"/>
                      <a:pt x="63" y="17"/>
                    </a:cubicBezTo>
                    <a:cubicBezTo>
                      <a:pt x="49" y="17"/>
                      <a:pt x="42" y="26"/>
                      <a:pt x="42" y="44"/>
                    </a:cubicBezTo>
                    <a:cubicBezTo>
                      <a:pt x="42" y="84"/>
                      <a:pt x="42" y="84"/>
                      <a:pt x="42" y="84"/>
                    </a:cubicBezTo>
                    <a:cubicBezTo>
                      <a:pt x="42" y="103"/>
                      <a:pt x="35" y="115"/>
                      <a:pt x="21" y="120"/>
                    </a:cubicBezTo>
                    <a:cubicBezTo>
                      <a:pt x="21" y="120"/>
                      <a:pt x="21" y="120"/>
                      <a:pt x="21" y="120"/>
                    </a:cubicBezTo>
                    <a:cubicBezTo>
                      <a:pt x="35" y="124"/>
                      <a:pt x="42" y="136"/>
                      <a:pt x="42" y="155"/>
                    </a:cubicBezTo>
                    <a:cubicBezTo>
                      <a:pt x="42" y="195"/>
                      <a:pt x="42" y="195"/>
                      <a:pt x="42" y="195"/>
                    </a:cubicBezTo>
                    <a:cubicBezTo>
                      <a:pt x="42" y="205"/>
                      <a:pt x="43" y="212"/>
                      <a:pt x="46"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9" name="Freeform 116"/>
              <p:cNvSpPr>
                <a:spLocks/>
              </p:cNvSpPr>
              <p:nvPr userDrawn="1"/>
            </p:nvSpPr>
            <p:spPr bwMode="auto">
              <a:xfrm>
                <a:off x="7004" y="3663"/>
                <a:ext cx="78" cy="293"/>
              </a:xfrm>
              <a:custGeom>
                <a:avLst/>
                <a:gdLst>
                  <a:gd name="T0" fmla="*/ 64 w 64"/>
                  <a:gd name="T1" fmla="*/ 128 h 240"/>
                  <a:gd name="T2" fmla="*/ 42 w 64"/>
                  <a:gd name="T3" fmla="*/ 157 h 240"/>
                  <a:gd name="T4" fmla="*/ 42 w 64"/>
                  <a:gd name="T5" fmla="*/ 198 h 240"/>
                  <a:gd name="T6" fmla="*/ 0 w 64"/>
                  <a:gd name="T7" fmla="*/ 240 h 240"/>
                  <a:gd name="T8" fmla="*/ 0 w 64"/>
                  <a:gd name="T9" fmla="*/ 223 h 240"/>
                  <a:gd name="T10" fmla="*/ 17 w 64"/>
                  <a:gd name="T11" fmla="*/ 216 h 240"/>
                  <a:gd name="T12" fmla="*/ 22 w 64"/>
                  <a:gd name="T13" fmla="*/ 195 h 240"/>
                  <a:gd name="T14" fmla="*/ 22 w 64"/>
                  <a:gd name="T15" fmla="*/ 155 h 240"/>
                  <a:gd name="T16" fmla="*/ 43 w 64"/>
                  <a:gd name="T17" fmla="*/ 120 h 240"/>
                  <a:gd name="T18" fmla="*/ 43 w 64"/>
                  <a:gd name="T19" fmla="*/ 120 h 240"/>
                  <a:gd name="T20" fmla="*/ 22 w 64"/>
                  <a:gd name="T21" fmla="*/ 84 h 240"/>
                  <a:gd name="T22" fmla="*/ 22 w 64"/>
                  <a:gd name="T23" fmla="*/ 44 h 240"/>
                  <a:gd name="T24" fmla="*/ 0 w 64"/>
                  <a:gd name="T25" fmla="*/ 17 h 240"/>
                  <a:gd name="T26" fmla="*/ 0 w 64"/>
                  <a:gd name="T27" fmla="*/ 0 h 240"/>
                  <a:gd name="T28" fmla="*/ 42 w 64"/>
                  <a:gd name="T29" fmla="*/ 43 h 240"/>
                  <a:gd name="T30" fmla="*/ 42 w 64"/>
                  <a:gd name="T31" fmla="*/ 82 h 240"/>
                  <a:gd name="T32" fmla="*/ 64 w 64"/>
                  <a:gd name="T33" fmla="*/ 112 h 240"/>
                  <a:gd name="T34" fmla="*/ 64 w 64"/>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128"/>
                    </a:moveTo>
                    <a:cubicBezTo>
                      <a:pt x="49" y="129"/>
                      <a:pt x="42" y="138"/>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3"/>
                      <a:pt x="22" y="84"/>
                    </a:cubicBezTo>
                    <a:cubicBezTo>
                      <a:pt x="22" y="44"/>
                      <a:pt x="22" y="44"/>
                      <a:pt x="22" y="44"/>
                    </a:cubicBezTo>
                    <a:cubicBezTo>
                      <a:pt x="22" y="26"/>
                      <a:pt x="15" y="17"/>
                      <a:pt x="0" y="17"/>
                    </a:cubicBezTo>
                    <a:cubicBezTo>
                      <a:pt x="0" y="0"/>
                      <a:pt x="0" y="0"/>
                      <a:pt x="0" y="0"/>
                    </a:cubicBezTo>
                    <a:cubicBezTo>
                      <a:pt x="28" y="0"/>
                      <a:pt x="42" y="14"/>
                      <a:pt x="42" y="43"/>
                    </a:cubicBezTo>
                    <a:cubicBezTo>
                      <a:pt x="42" y="82"/>
                      <a:pt x="42" y="82"/>
                      <a:pt x="42" y="82"/>
                    </a:cubicBezTo>
                    <a:cubicBezTo>
                      <a:pt x="42" y="101"/>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0" name="Freeform 117"/>
              <p:cNvSpPr>
                <a:spLocks noEditPoints="1"/>
              </p:cNvSpPr>
              <p:nvPr userDrawn="1"/>
            </p:nvSpPr>
            <p:spPr bwMode="auto">
              <a:xfrm>
                <a:off x="7116" y="365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1" name="Freeform 118"/>
              <p:cNvSpPr>
                <a:spLocks noEditPoints="1"/>
              </p:cNvSpPr>
              <p:nvPr userDrawn="1"/>
            </p:nvSpPr>
            <p:spPr bwMode="auto">
              <a:xfrm>
                <a:off x="7311" y="365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2" y="203"/>
                    </a:cubicBezTo>
                    <a:cubicBezTo>
                      <a:pt x="52" y="203"/>
                      <a:pt x="43" y="201"/>
                      <a:pt x="35" y="197"/>
                    </a:cubicBezTo>
                    <a:cubicBezTo>
                      <a:pt x="27"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5"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2" name="Freeform 119"/>
              <p:cNvSpPr>
                <a:spLocks/>
              </p:cNvSpPr>
              <p:nvPr userDrawn="1"/>
            </p:nvSpPr>
            <p:spPr bwMode="auto">
              <a:xfrm>
                <a:off x="7509" y="3657"/>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9" y="52"/>
                      <a:pt x="4" y="53"/>
                      <a:pt x="0" y="55"/>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3" name="Freeform 120"/>
              <p:cNvSpPr>
                <a:spLocks/>
              </p:cNvSpPr>
              <p:nvPr userDrawn="1"/>
            </p:nvSpPr>
            <p:spPr bwMode="auto">
              <a:xfrm>
                <a:off x="7657"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7"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4" name="Freeform 121"/>
              <p:cNvSpPr>
                <a:spLocks noEditPoints="1"/>
              </p:cNvSpPr>
              <p:nvPr userDrawn="1"/>
            </p:nvSpPr>
            <p:spPr bwMode="auto">
              <a:xfrm>
                <a:off x="3990" y="3650"/>
                <a:ext cx="218" cy="255"/>
              </a:xfrm>
              <a:custGeom>
                <a:avLst/>
                <a:gdLst>
                  <a:gd name="T0" fmla="*/ 175 w 179"/>
                  <a:gd name="T1" fmla="*/ 174 h 209"/>
                  <a:gd name="T2" fmla="*/ 134 w 179"/>
                  <a:gd name="T3" fmla="*/ 209 h 209"/>
                  <a:gd name="T4" fmla="*/ 80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1 w 179"/>
                  <a:gd name="T23" fmla="*/ 83 h 209"/>
                  <a:gd name="T24" fmla="*/ 58 w 179"/>
                  <a:gd name="T25" fmla="*/ 27 h 209"/>
                  <a:gd name="T26" fmla="*/ 117 w 179"/>
                  <a:gd name="T27" fmla="*/ 18 h 209"/>
                  <a:gd name="T28" fmla="*/ 159 w 179"/>
                  <a:gd name="T29" fmla="*/ 128 h 209"/>
                  <a:gd name="T30" fmla="*/ 152 w 179"/>
                  <a:gd name="T31" fmla="*/ 152 h 209"/>
                  <a:gd name="T32" fmla="*/ 128 w 179"/>
                  <a:gd name="T33" fmla="*/ 151 h 209"/>
                  <a:gd name="T34" fmla="*/ 122 w 179"/>
                  <a:gd name="T35" fmla="*/ 186 h 209"/>
                  <a:gd name="T36" fmla="*/ 165 w 179"/>
                  <a:gd name="T37" fmla="*/ 186 h 209"/>
                  <a:gd name="T38" fmla="*/ 171 w 179"/>
                  <a:gd name="T39" fmla="*/ 174 h 209"/>
                  <a:gd name="T40" fmla="*/ 160 w 179"/>
                  <a:gd name="T41" fmla="*/ 153 h 209"/>
                  <a:gd name="T42" fmla="*/ 88 w 179"/>
                  <a:gd name="T43" fmla="*/ 72 h 209"/>
                  <a:gd name="T44" fmla="*/ 101 w 179"/>
                  <a:gd name="T45" fmla="*/ 68 h 209"/>
                  <a:gd name="T46" fmla="*/ 73 w 179"/>
                  <a:gd name="T47" fmla="*/ 79 h 209"/>
                  <a:gd name="T48" fmla="*/ 63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7 w 179"/>
                  <a:gd name="T75" fmla="*/ 135 h 209"/>
                  <a:gd name="T76" fmla="*/ 116 w 179"/>
                  <a:gd name="T77" fmla="*/ 94 h 209"/>
                  <a:gd name="T78" fmla="*/ 103 w 179"/>
                  <a:gd name="T79" fmla="*/ 54 h 209"/>
                  <a:gd name="T80" fmla="*/ 97 w 179"/>
                  <a:gd name="T81" fmla="*/ 37 h 209"/>
                  <a:gd name="T82" fmla="*/ 107 w 179"/>
                  <a:gd name="T83" fmla="*/ 48 h 209"/>
                  <a:gd name="T84" fmla="*/ 86 w 179"/>
                  <a:gd name="T85" fmla="*/ 42 h 209"/>
                  <a:gd name="T86" fmla="*/ 77 w 179"/>
                  <a:gd name="T87" fmla="*/ 44 h 209"/>
                  <a:gd name="T88" fmla="*/ 65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8 h 209"/>
                  <a:gd name="T100" fmla="*/ 71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0" y="153"/>
                    </a:moveTo>
                    <a:cubicBezTo>
                      <a:pt x="161" y="156"/>
                      <a:pt x="162" y="159"/>
                      <a:pt x="162" y="161"/>
                    </a:cubicBezTo>
                    <a:cubicBezTo>
                      <a:pt x="164" y="165"/>
                      <a:pt x="166" y="169"/>
                      <a:pt x="170" y="171"/>
                    </a:cubicBezTo>
                    <a:cubicBezTo>
                      <a:pt x="172" y="172"/>
                      <a:pt x="174" y="173"/>
                      <a:pt x="175" y="174"/>
                    </a:cubicBezTo>
                    <a:cubicBezTo>
                      <a:pt x="179" y="177"/>
                      <a:pt x="179" y="180"/>
                      <a:pt x="175" y="183"/>
                    </a:cubicBezTo>
                    <a:cubicBezTo>
                      <a:pt x="173" y="186"/>
                      <a:pt x="169" y="188"/>
                      <a:pt x="166" y="189"/>
                    </a:cubicBezTo>
                    <a:cubicBezTo>
                      <a:pt x="156" y="193"/>
                      <a:pt x="148" y="199"/>
                      <a:pt x="141" y="206"/>
                    </a:cubicBezTo>
                    <a:cubicBezTo>
                      <a:pt x="139" y="208"/>
                      <a:pt x="136" y="208"/>
                      <a:pt x="134" y="209"/>
                    </a:cubicBezTo>
                    <a:cubicBezTo>
                      <a:pt x="131" y="209"/>
                      <a:pt x="127" y="209"/>
                      <a:pt x="124" y="208"/>
                    </a:cubicBezTo>
                    <a:cubicBezTo>
                      <a:pt x="121" y="207"/>
                      <a:pt x="119" y="206"/>
                      <a:pt x="118" y="203"/>
                    </a:cubicBezTo>
                    <a:cubicBezTo>
                      <a:pt x="116" y="200"/>
                      <a:pt x="113" y="198"/>
                      <a:pt x="109" y="198"/>
                    </a:cubicBezTo>
                    <a:cubicBezTo>
                      <a:pt x="100" y="198"/>
                      <a:pt x="90" y="198"/>
                      <a:pt x="80" y="198"/>
                    </a:cubicBezTo>
                    <a:cubicBezTo>
                      <a:pt x="76" y="198"/>
                      <a:pt x="71" y="199"/>
                      <a:pt x="67" y="202"/>
                    </a:cubicBezTo>
                    <a:cubicBezTo>
                      <a:pt x="66" y="203"/>
                      <a:pt x="64" y="204"/>
                      <a:pt x="62" y="205"/>
                    </a:cubicBezTo>
                    <a:cubicBezTo>
                      <a:pt x="58" y="208"/>
                      <a:pt x="53" y="209"/>
                      <a:pt x="48" y="207"/>
                    </a:cubicBezTo>
                    <a:cubicBezTo>
                      <a:pt x="43" y="206"/>
                      <a:pt x="37" y="203"/>
                      <a:pt x="32" y="202"/>
                    </a:cubicBezTo>
                    <a:cubicBezTo>
                      <a:pt x="25" y="200"/>
                      <a:pt x="18" y="199"/>
                      <a:pt x="11" y="197"/>
                    </a:cubicBezTo>
                    <a:cubicBezTo>
                      <a:pt x="9" y="197"/>
                      <a:pt x="6" y="196"/>
                      <a:pt x="4" y="195"/>
                    </a:cubicBezTo>
                    <a:cubicBezTo>
                      <a:pt x="1" y="194"/>
                      <a:pt x="0" y="191"/>
                      <a:pt x="1" y="188"/>
                    </a:cubicBezTo>
                    <a:cubicBezTo>
                      <a:pt x="1" y="187"/>
                      <a:pt x="1" y="185"/>
                      <a:pt x="2" y="184"/>
                    </a:cubicBezTo>
                    <a:cubicBezTo>
                      <a:pt x="4" y="180"/>
                      <a:pt x="4" y="176"/>
                      <a:pt x="3" y="172"/>
                    </a:cubicBezTo>
                    <a:cubicBezTo>
                      <a:pt x="2" y="170"/>
                      <a:pt x="2" y="168"/>
                      <a:pt x="2" y="167"/>
                    </a:cubicBezTo>
                    <a:cubicBezTo>
                      <a:pt x="1" y="162"/>
                      <a:pt x="3" y="160"/>
                      <a:pt x="7" y="160"/>
                    </a:cubicBezTo>
                    <a:cubicBezTo>
                      <a:pt x="9" y="160"/>
                      <a:pt x="12" y="160"/>
                      <a:pt x="14" y="159"/>
                    </a:cubicBezTo>
                    <a:cubicBezTo>
                      <a:pt x="19" y="158"/>
                      <a:pt x="22" y="155"/>
                      <a:pt x="23" y="150"/>
                    </a:cubicBezTo>
                    <a:cubicBezTo>
                      <a:pt x="23" y="150"/>
                      <a:pt x="23" y="150"/>
                      <a:pt x="23" y="150"/>
                    </a:cubicBezTo>
                    <a:cubicBezTo>
                      <a:pt x="24" y="153"/>
                      <a:pt x="23" y="160"/>
                      <a:pt x="17" y="162"/>
                    </a:cubicBezTo>
                    <a:cubicBezTo>
                      <a:pt x="14" y="162"/>
                      <a:pt x="12" y="163"/>
                      <a:pt x="9" y="162"/>
                    </a:cubicBezTo>
                    <a:cubicBezTo>
                      <a:pt x="9" y="162"/>
                      <a:pt x="9" y="162"/>
                      <a:pt x="8" y="162"/>
                    </a:cubicBezTo>
                    <a:cubicBezTo>
                      <a:pt x="5" y="162"/>
                      <a:pt x="3" y="164"/>
                      <a:pt x="4" y="168"/>
                    </a:cubicBezTo>
                    <a:cubicBezTo>
                      <a:pt x="5" y="169"/>
                      <a:pt x="5" y="171"/>
                      <a:pt x="6" y="173"/>
                    </a:cubicBezTo>
                    <a:cubicBezTo>
                      <a:pt x="8" y="176"/>
                      <a:pt x="8" y="180"/>
                      <a:pt x="6" y="183"/>
                    </a:cubicBezTo>
                    <a:cubicBezTo>
                      <a:pt x="5" y="185"/>
                      <a:pt x="5" y="186"/>
                      <a:pt x="4" y="188"/>
                    </a:cubicBezTo>
                    <a:cubicBezTo>
                      <a:pt x="3" y="190"/>
                      <a:pt x="4" y="192"/>
                      <a:pt x="6" y="193"/>
                    </a:cubicBezTo>
                    <a:cubicBezTo>
                      <a:pt x="8" y="193"/>
                      <a:pt x="11" y="194"/>
                      <a:pt x="13" y="194"/>
                    </a:cubicBezTo>
                    <a:cubicBezTo>
                      <a:pt x="24" y="196"/>
                      <a:pt x="35" y="199"/>
                      <a:pt x="45" y="202"/>
                    </a:cubicBezTo>
                    <a:cubicBezTo>
                      <a:pt x="48" y="203"/>
                      <a:pt x="52" y="204"/>
                      <a:pt x="55" y="203"/>
                    </a:cubicBezTo>
                    <a:cubicBezTo>
                      <a:pt x="63" y="202"/>
                      <a:pt x="66" y="197"/>
                      <a:pt x="64" y="190"/>
                    </a:cubicBezTo>
                    <a:cubicBezTo>
                      <a:pt x="63" y="186"/>
                      <a:pt x="62" y="182"/>
                      <a:pt x="60" y="179"/>
                    </a:cubicBezTo>
                    <a:cubicBezTo>
                      <a:pt x="54" y="170"/>
                      <a:pt x="49" y="161"/>
                      <a:pt x="42" y="152"/>
                    </a:cubicBezTo>
                    <a:cubicBezTo>
                      <a:pt x="40" y="150"/>
                      <a:pt x="37" y="147"/>
                      <a:pt x="34" y="145"/>
                    </a:cubicBezTo>
                    <a:cubicBezTo>
                      <a:pt x="32" y="143"/>
                      <a:pt x="29" y="143"/>
                      <a:pt x="26" y="145"/>
                    </a:cubicBezTo>
                    <a:cubicBezTo>
                      <a:pt x="26" y="145"/>
                      <a:pt x="25" y="145"/>
                      <a:pt x="25" y="144"/>
                    </a:cubicBezTo>
                    <a:cubicBezTo>
                      <a:pt x="24" y="140"/>
                      <a:pt x="24" y="137"/>
                      <a:pt x="25" y="134"/>
                    </a:cubicBezTo>
                    <a:cubicBezTo>
                      <a:pt x="25" y="133"/>
                      <a:pt x="26" y="131"/>
                      <a:pt x="27" y="130"/>
                    </a:cubicBezTo>
                    <a:cubicBezTo>
                      <a:pt x="30" y="125"/>
                      <a:pt x="32" y="119"/>
                      <a:pt x="34" y="113"/>
                    </a:cubicBezTo>
                    <a:cubicBezTo>
                      <a:pt x="37" y="106"/>
                      <a:pt x="39" y="100"/>
                      <a:pt x="43" y="94"/>
                    </a:cubicBezTo>
                    <a:cubicBezTo>
                      <a:pt x="46" y="90"/>
                      <a:pt x="49" y="87"/>
                      <a:pt x="51" y="83"/>
                    </a:cubicBezTo>
                    <a:cubicBezTo>
                      <a:pt x="54" y="80"/>
                      <a:pt x="56" y="77"/>
                      <a:pt x="58" y="73"/>
                    </a:cubicBezTo>
                    <a:cubicBezTo>
                      <a:pt x="59" y="71"/>
                      <a:pt x="60" y="68"/>
                      <a:pt x="60" y="65"/>
                    </a:cubicBezTo>
                    <a:cubicBezTo>
                      <a:pt x="59" y="58"/>
                      <a:pt x="59" y="51"/>
                      <a:pt x="58" y="44"/>
                    </a:cubicBezTo>
                    <a:cubicBezTo>
                      <a:pt x="58" y="39"/>
                      <a:pt x="58" y="33"/>
                      <a:pt x="58" y="27"/>
                    </a:cubicBezTo>
                    <a:cubicBezTo>
                      <a:pt x="58" y="16"/>
                      <a:pt x="63" y="8"/>
                      <a:pt x="73" y="3"/>
                    </a:cubicBezTo>
                    <a:cubicBezTo>
                      <a:pt x="76" y="1"/>
                      <a:pt x="81" y="0"/>
                      <a:pt x="85" y="0"/>
                    </a:cubicBezTo>
                    <a:cubicBezTo>
                      <a:pt x="91" y="0"/>
                      <a:pt x="96" y="1"/>
                      <a:pt x="102" y="3"/>
                    </a:cubicBezTo>
                    <a:cubicBezTo>
                      <a:pt x="109" y="6"/>
                      <a:pt x="114" y="11"/>
                      <a:pt x="117" y="18"/>
                    </a:cubicBezTo>
                    <a:cubicBezTo>
                      <a:pt x="120" y="24"/>
                      <a:pt x="122" y="30"/>
                      <a:pt x="122" y="36"/>
                    </a:cubicBezTo>
                    <a:cubicBezTo>
                      <a:pt x="122" y="40"/>
                      <a:pt x="122" y="44"/>
                      <a:pt x="122" y="47"/>
                    </a:cubicBezTo>
                    <a:cubicBezTo>
                      <a:pt x="124" y="61"/>
                      <a:pt x="128" y="74"/>
                      <a:pt x="138" y="85"/>
                    </a:cubicBezTo>
                    <a:cubicBezTo>
                      <a:pt x="150" y="97"/>
                      <a:pt x="156" y="112"/>
                      <a:pt x="159" y="128"/>
                    </a:cubicBezTo>
                    <a:cubicBezTo>
                      <a:pt x="160" y="133"/>
                      <a:pt x="161" y="138"/>
                      <a:pt x="159" y="143"/>
                    </a:cubicBezTo>
                    <a:cubicBezTo>
                      <a:pt x="159" y="144"/>
                      <a:pt x="159" y="145"/>
                      <a:pt x="158" y="146"/>
                    </a:cubicBezTo>
                    <a:cubicBezTo>
                      <a:pt x="158" y="147"/>
                      <a:pt x="158" y="148"/>
                      <a:pt x="157" y="148"/>
                    </a:cubicBezTo>
                    <a:cubicBezTo>
                      <a:pt x="155" y="149"/>
                      <a:pt x="154" y="151"/>
                      <a:pt x="152" y="152"/>
                    </a:cubicBezTo>
                    <a:cubicBezTo>
                      <a:pt x="151" y="154"/>
                      <a:pt x="149" y="156"/>
                      <a:pt x="147" y="158"/>
                    </a:cubicBezTo>
                    <a:cubicBezTo>
                      <a:pt x="143" y="161"/>
                      <a:pt x="139" y="161"/>
                      <a:pt x="135" y="160"/>
                    </a:cubicBezTo>
                    <a:cubicBezTo>
                      <a:pt x="133" y="159"/>
                      <a:pt x="131" y="157"/>
                      <a:pt x="130" y="156"/>
                    </a:cubicBezTo>
                    <a:cubicBezTo>
                      <a:pt x="130" y="154"/>
                      <a:pt x="129" y="152"/>
                      <a:pt x="128" y="151"/>
                    </a:cubicBezTo>
                    <a:cubicBezTo>
                      <a:pt x="127" y="149"/>
                      <a:pt x="126" y="148"/>
                      <a:pt x="124" y="148"/>
                    </a:cubicBezTo>
                    <a:cubicBezTo>
                      <a:pt x="122" y="148"/>
                      <a:pt x="122" y="150"/>
                      <a:pt x="121" y="151"/>
                    </a:cubicBezTo>
                    <a:cubicBezTo>
                      <a:pt x="120" y="155"/>
                      <a:pt x="120" y="159"/>
                      <a:pt x="121" y="163"/>
                    </a:cubicBezTo>
                    <a:cubicBezTo>
                      <a:pt x="123" y="171"/>
                      <a:pt x="123" y="179"/>
                      <a:pt x="122" y="186"/>
                    </a:cubicBezTo>
                    <a:cubicBezTo>
                      <a:pt x="121" y="189"/>
                      <a:pt x="121" y="192"/>
                      <a:pt x="121" y="194"/>
                    </a:cubicBezTo>
                    <a:cubicBezTo>
                      <a:pt x="123" y="202"/>
                      <a:pt x="129" y="205"/>
                      <a:pt x="136" y="203"/>
                    </a:cubicBezTo>
                    <a:cubicBezTo>
                      <a:pt x="139" y="202"/>
                      <a:pt x="142" y="200"/>
                      <a:pt x="144" y="197"/>
                    </a:cubicBezTo>
                    <a:cubicBezTo>
                      <a:pt x="150" y="192"/>
                      <a:pt x="157" y="189"/>
                      <a:pt x="165" y="186"/>
                    </a:cubicBezTo>
                    <a:cubicBezTo>
                      <a:pt x="168" y="185"/>
                      <a:pt x="170" y="184"/>
                      <a:pt x="173" y="183"/>
                    </a:cubicBezTo>
                    <a:cubicBezTo>
                      <a:pt x="173" y="182"/>
                      <a:pt x="174" y="182"/>
                      <a:pt x="175" y="181"/>
                    </a:cubicBezTo>
                    <a:cubicBezTo>
                      <a:pt x="176" y="180"/>
                      <a:pt x="176" y="178"/>
                      <a:pt x="175" y="177"/>
                    </a:cubicBezTo>
                    <a:cubicBezTo>
                      <a:pt x="173" y="176"/>
                      <a:pt x="172" y="175"/>
                      <a:pt x="171" y="174"/>
                    </a:cubicBezTo>
                    <a:cubicBezTo>
                      <a:pt x="170" y="173"/>
                      <a:pt x="169" y="173"/>
                      <a:pt x="168" y="173"/>
                    </a:cubicBezTo>
                    <a:cubicBezTo>
                      <a:pt x="163" y="171"/>
                      <a:pt x="160" y="168"/>
                      <a:pt x="160" y="163"/>
                    </a:cubicBezTo>
                    <a:cubicBezTo>
                      <a:pt x="159" y="161"/>
                      <a:pt x="159" y="158"/>
                      <a:pt x="160" y="155"/>
                    </a:cubicBezTo>
                    <a:cubicBezTo>
                      <a:pt x="160" y="155"/>
                      <a:pt x="160" y="154"/>
                      <a:pt x="160" y="153"/>
                    </a:cubicBezTo>
                    <a:close/>
                    <a:moveTo>
                      <a:pt x="71" y="69"/>
                    </a:moveTo>
                    <a:cubicBezTo>
                      <a:pt x="71" y="69"/>
                      <a:pt x="71" y="69"/>
                      <a:pt x="71" y="69"/>
                    </a:cubicBezTo>
                    <a:cubicBezTo>
                      <a:pt x="72" y="71"/>
                      <a:pt x="74" y="73"/>
                      <a:pt x="77" y="74"/>
                    </a:cubicBezTo>
                    <a:cubicBezTo>
                      <a:pt x="81" y="74"/>
                      <a:pt x="84" y="73"/>
                      <a:pt x="88" y="72"/>
                    </a:cubicBezTo>
                    <a:cubicBezTo>
                      <a:pt x="91" y="70"/>
                      <a:pt x="94" y="68"/>
                      <a:pt x="97" y="67"/>
                    </a:cubicBezTo>
                    <a:cubicBezTo>
                      <a:pt x="98" y="66"/>
                      <a:pt x="99" y="66"/>
                      <a:pt x="100" y="66"/>
                    </a:cubicBezTo>
                    <a:cubicBezTo>
                      <a:pt x="101" y="66"/>
                      <a:pt x="102" y="66"/>
                      <a:pt x="102" y="67"/>
                    </a:cubicBezTo>
                    <a:cubicBezTo>
                      <a:pt x="102" y="67"/>
                      <a:pt x="102" y="68"/>
                      <a:pt x="101" y="68"/>
                    </a:cubicBezTo>
                    <a:cubicBezTo>
                      <a:pt x="100" y="69"/>
                      <a:pt x="100" y="69"/>
                      <a:pt x="99" y="70"/>
                    </a:cubicBezTo>
                    <a:cubicBezTo>
                      <a:pt x="94" y="72"/>
                      <a:pt x="90" y="74"/>
                      <a:pt x="86" y="77"/>
                    </a:cubicBezTo>
                    <a:cubicBezTo>
                      <a:pt x="85" y="79"/>
                      <a:pt x="83" y="80"/>
                      <a:pt x="81" y="81"/>
                    </a:cubicBezTo>
                    <a:cubicBezTo>
                      <a:pt x="78" y="82"/>
                      <a:pt x="75" y="82"/>
                      <a:pt x="73" y="79"/>
                    </a:cubicBezTo>
                    <a:cubicBezTo>
                      <a:pt x="71" y="77"/>
                      <a:pt x="69" y="74"/>
                      <a:pt x="67" y="72"/>
                    </a:cubicBezTo>
                    <a:cubicBezTo>
                      <a:pt x="66" y="71"/>
                      <a:pt x="66" y="70"/>
                      <a:pt x="65" y="69"/>
                    </a:cubicBezTo>
                    <a:cubicBezTo>
                      <a:pt x="65" y="70"/>
                      <a:pt x="65" y="71"/>
                      <a:pt x="65" y="71"/>
                    </a:cubicBezTo>
                    <a:cubicBezTo>
                      <a:pt x="64" y="73"/>
                      <a:pt x="64" y="75"/>
                      <a:pt x="63" y="77"/>
                    </a:cubicBezTo>
                    <a:cubicBezTo>
                      <a:pt x="62" y="79"/>
                      <a:pt x="61" y="81"/>
                      <a:pt x="60" y="83"/>
                    </a:cubicBezTo>
                    <a:cubicBezTo>
                      <a:pt x="58" y="86"/>
                      <a:pt x="57" y="89"/>
                      <a:pt x="57" y="92"/>
                    </a:cubicBezTo>
                    <a:cubicBezTo>
                      <a:pt x="57" y="94"/>
                      <a:pt x="58" y="96"/>
                      <a:pt x="58" y="98"/>
                    </a:cubicBezTo>
                    <a:cubicBezTo>
                      <a:pt x="57" y="99"/>
                      <a:pt x="56" y="100"/>
                      <a:pt x="56" y="101"/>
                    </a:cubicBezTo>
                    <a:cubicBezTo>
                      <a:pt x="54" y="104"/>
                      <a:pt x="51" y="108"/>
                      <a:pt x="49" y="113"/>
                    </a:cubicBezTo>
                    <a:cubicBezTo>
                      <a:pt x="47" y="117"/>
                      <a:pt x="45" y="122"/>
                      <a:pt x="45" y="127"/>
                    </a:cubicBezTo>
                    <a:cubicBezTo>
                      <a:pt x="45" y="130"/>
                      <a:pt x="45" y="133"/>
                      <a:pt x="45" y="136"/>
                    </a:cubicBezTo>
                    <a:cubicBezTo>
                      <a:pt x="45" y="137"/>
                      <a:pt x="45" y="139"/>
                      <a:pt x="45" y="140"/>
                    </a:cubicBezTo>
                    <a:cubicBezTo>
                      <a:pt x="44" y="142"/>
                      <a:pt x="43" y="142"/>
                      <a:pt x="42" y="141"/>
                    </a:cubicBezTo>
                    <a:cubicBezTo>
                      <a:pt x="41" y="140"/>
                      <a:pt x="40" y="139"/>
                      <a:pt x="40" y="138"/>
                    </a:cubicBezTo>
                    <a:cubicBezTo>
                      <a:pt x="37" y="134"/>
                      <a:pt x="37" y="130"/>
                      <a:pt x="37" y="125"/>
                    </a:cubicBezTo>
                    <a:cubicBezTo>
                      <a:pt x="37" y="124"/>
                      <a:pt x="38" y="122"/>
                      <a:pt x="38" y="121"/>
                    </a:cubicBezTo>
                    <a:cubicBezTo>
                      <a:pt x="38" y="121"/>
                      <a:pt x="37" y="121"/>
                      <a:pt x="37" y="121"/>
                    </a:cubicBezTo>
                    <a:cubicBezTo>
                      <a:pt x="37" y="122"/>
                      <a:pt x="37" y="122"/>
                      <a:pt x="36" y="123"/>
                    </a:cubicBezTo>
                    <a:cubicBezTo>
                      <a:pt x="35" y="127"/>
                      <a:pt x="35" y="131"/>
                      <a:pt x="36" y="135"/>
                    </a:cubicBezTo>
                    <a:cubicBezTo>
                      <a:pt x="37" y="138"/>
                      <a:pt x="37" y="141"/>
                      <a:pt x="40" y="143"/>
                    </a:cubicBezTo>
                    <a:cubicBezTo>
                      <a:pt x="44" y="146"/>
                      <a:pt x="47" y="150"/>
                      <a:pt x="51" y="153"/>
                    </a:cubicBezTo>
                    <a:cubicBezTo>
                      <a:pt x="56" y="157"/>
                      <a:pt x="61" y="161"/>
                      <a:pt x="66" y="165"/>
                    </a:cubicBezTo>
                    <a:cubicBezTo>
                      <a:pt x="69" y="167"/>
                      <a:pt x="69" y="170"/>
                      <a:pt x="69" y="172"/>
                    </a:cubicBezTo>
                    <a:cubicBezTo>
                      <a:pt x="68" y="175"/>
                      <a:pt x="66" y="177"/>
                      <a:pt x="64" y="177"/>
                    </a:cubicBezTo>
                    <a:cubicBezTo>
                      <a:pt x="63" y="178"/>
                      <a:pt x="63" y="178"/>
                      <a:pt x="62" y="178"/>
                    </a:cubicBezTo>
                    <a:cubicBezTo>
                      <a:pt x="63" y="180"/>
                      <a:pt x="64" y="182"/>
                      <a:pt x="65" y="183"/>
                    </a:cubicBezTo>
                    <a:cubicBezTo>
                      <a:pt x="67" y="186"/>
                      <a:pt x="69" y="189"/>
                      <a:pt x="69" y="192"/>
                    </a:cubicBezTo>
                    <a:cubicBezTo>
                      <a:pt x="69" y="194"/>
                      <a:pt x="69" y="196"/>
                      <a:pt x="70" y="197"/>
                    </a:cubicBezTo>
                    <a:cubicBezTo>
                      <a:pt x="70" y="197"/>
                      <a:pt x="70" y="197"/>
                      <a:pt x="70" y="197"/>
                    </a:cubicBezTo>
                    <a:cubicBezTo>
                      <a:pt x="72" y="196"/>
                      <a:pt x="72" y="193"/>
                      <a:pt x="72" y="191"/>
                    </a:cubicBezTo>
                    <a:cubicBezTo>
                      <a:pt x="71" y="188"/>
                      <a:pt x="70" y="186"/>
                      <a:pt x="68" y="184"/>
                    </a:cubicBezTo>
                    <a:cubicBezTo>
                      <a:pt x="68" y="184"/>
                      <a:pt x="68" y="183"/>
                      <a:pt x="68" y="183"/>
                    </a:cubicBezTo>
                    <a:cubicBezTo>
                      <a:pt x="69" y="181"/>
                      <a:pt x="71" y="181"/>
                      <a:pt x="72" y="182"/>
                    </a:cubicBezTo>
                    <a:cubicBezTo>
                      <a:pt x="74" y="184"/>
                      <a:pt x="76" y="185"/>
                      <a:pt x="79" y="186"/>
                    </a:cubicBezTo>
                    <a:cubicBezTo>
                      <a:pt x="85" y="187"/>
                      <a:pt x="91" y="187"/>
                      <a:pt x="96" y="185"/>
                    </a:cubicBezTo>
                    <a:cubicBezTo>
                      <a:pt x="101" y="184"/>
                      <a:pt x="105" y="183"/>
                      <a:pt x="109" y="179"/>
                    </a:cubicBezTo>
                    <a:cubicBezTo>
                      <a:pt x="110" y="178"/>
                      <a:pt x="112" y="176"/>
                      <a:pt x="113" y="174"/>
                    </a:cubicBezTo>
                    <a:cubicBezTo>
                      <a:pt x="114" y="173"/>
                      <a:pt x="115" y="173"/>
                      <a:pt x="115" y="173"/>
                    </a:cubicBezTo>
                    <a:cubicBezTo>
                      <a:pt x="116" y="173"/>
                      <a:pt x="116" y="174"/>
                      <a:pt x="116" y="175"/>
                    </a:cubicBezTo>
                    <a:cubicBezTo>
                      <a:pt x="117" y="178"/>
                      <a:pt x="116" y="182"/>
                      <a:pt x="115" y="186"/>
                    </a:cubicBezTo>
                    <a:cubicBezTo>
                      <a:pt x="114" y="188"/>
                      <a:pt x="114" y="190"/>
                      <a:pt x="113" y="193"/>
                    </a:cubicBezTo>
                    <a:cubicBezTo>
                      <a:pt x="113" y="195"/>
                      <a:pt x="114" y="195"/>
                      <a:pt x="116" y="196"/>
                    </a:cubicBezTo>
                    <a:cubicBezTo>
                      <a:pt x="117" y="191"/>
                      <a:pt x="118" y="187"/>
                      <a:pt x="118" y="182"/>
                    </a:cubicBezTo>
                    <a:cubicBezTo>
                      <a:pt x="119" y="179"/>
                      <a:pt x="120" y="175"/>
                      <a:pt x="119" y="171"/>
                    </a:cubicBezTo>
                    <a:cubicBezTo>
                      <a:pt x="119" y="167"/>
                      <a:pt x="118" y="164"/>
                      <a:pt x="118" y="160"/>
                    </a:cubicBezTo>
                    <a:cubicBezTo>
                      <a:pt x="117" y="157"/>
                      <a:pt x="118" y="153"/>
                      <a:pt x="119" y="150"/>
                    </a:cubicBezTo>
                    <a:cubicBezTo>
                      <a:pt x="120" y="148"/>
                      <a:pt x="122" y="146"/>
                      <a:pt x="125" y="146"/>
                    </a:cubicBezTo>
                    <a:cubicBezTo>
                      <a:pt x="126" y="146"/>
                      <a:pt x="126" y="146"/>
                      <a:pt x="126" y="146"/>
                    </a:cubicBezTo>
                    <a:cubicBezTo>
                      <a:pt x="127" y="142"/>
                      <a:pt x="128" y="140"/>
                      <a:pt x="132" y="139"/>
                    </a:cubicBezTo>
                    <a:cubicBezTo>
                      <a:pt x="137" y="138"/>
                      <a:pt x="141" y="139"/>
                      <a:pt x="146" y="141"/>
                    </a:cubicBezTo>
                    <a:cubicBezTo>
                      <a:pt x="144" y="138"/>
                      <a:pt x="142" y="138"/>
                      <a:pt x="139" y="136"/>
                    </a:cubicBezTo>
                    <a:cubicBezTo>
                      <a:pt x="145" y="119"/>
                      <a:pt x="135" y="97"/>
                      <a:pt x="126" y="92"/>
                    </a:cubicBezTo>
                    <a:cubicBezTo>
                      <a:pt x="130" y="98"/>
                      <a:pt x="134" y="104"/>
                      <a:pt x="136" y="110"/>
                    </a:cubicBezTo>
                    <a:cubicBezTo>
                      <a:pt x="138" y="117"/>
                      <a:pt x="140" y="124"/>
                      <a:pt x="138" y="131"/>
                    </a:cubicBezTo>
                    <a:cubicBezTo>
                      <a:pt x="138" y="136"/>
                      <a:pt x="136" y="138"/>
                      <a:pt x="132" y="138"/>
                    </a:cubicBezTo>
                    <a:cubicBezTo>
                      <a:pt x="129" y="138"/>
                      <a:pt x="128" y="137"/>
                      <a:pt x="127" y="135"/>
                    </a:cubicBezTo>
                    <a:cubicBezTo>
                      <a:pt x="127" y="133"/>
                      <a:pt x="127" y="131"/>
                      <a:pt x="127" y="129"/>
                    </a:cubicBezTo>
                    <a:cubicBezTo>
                      <a:pt x="127" y="122"/>
                      <a:pt x="126" y="114"/>
                      <a:pt x="124" y="107"/>
                    </a:cubicBezTo>
                    <a:cubicBezTo>
                      <a:pt x="122" y="103"/>
                      <a:pt x="121" y="98"/>
                      <a:pt x="117" y="95"/>
                    </a:cubicBezTo>
                    <a:cubicBezTo>
                      <a:pt x="117" y="95"/>
                      <a:pt x="117" y="94"/>
                      <a:pt x="116" y="94"/>
                    </a:cubicBezTo>
                    <a:cubicBezTo>
                      <a:pt x="115" y="86"/>
                      <a:pt x="112" y="79"/>
                      <a:pt x="107" y="73"/>
                    </a:cubicBezTo>
                    <a:cubicBezTo>
                      <a:pt x="105" y="70"/>
                      <a:pt x="105" y="67"/>
                      <a:pt x="105" y="64"/>
                    </a:cubicBezTo>
                    <a:cubicBezTo>
                      <a:pt x="106" y="62"/>
                      <a:pt x="106" y="61"/>
                      <a:pt x="106" y="59"/>
                    </a:cubicBezTo>
                    <a:cubicBezTo>
                      <a:pt x="107" y="56"/>
                      <a:pt x="106" y="54"/>
                      <a:pt x="103" y="54"/>
                    </a:cubicBezTo>
                    <a:cubicBezTo>
                      <a:pt x="100" y="53"/>
                      <a:pt x="97" y="51"/>
                      <a:pt x="94" y="50"/>
                    </a:cubicBezTo>
                    <a:cubicBezTo>
                      <a:pt x="91" y="49"/>
                      <a:pt x="90" y="47"/>
                      <a:pt x="91" y="45"/>
                    </a:cubicBezTo>
                    <a:cubicBezTo>
                      <a:pt x="91" y="43"/>
                      <a:pt x="91" y="42"/>
                      <a:pt x="91" y="40"/>
                    </a:cubicBezTo>
                    <a:cubicBezTo>
                      <a:pt x="92" y="38"/>
                      <a:pt x="94" y="36"/>
                      <a:pt x="97" y="37"/>
                    </a:cubicBezTo>
                    <a:cubicBezTo>
                      <a:pt x="99" y="37"/>
                      <a:pt x="100" y="38"/>
                      <a:pt x="101" y="40"/>
                    </a:cubicBezTo>
                    <a:cubicBezTo>
                      <a:pt x="103" y="42"/>
                      <a:pt x="103" y="45"/>
                      <a:pt x="102" y="48"/>
                    </a:cubicBezTo>
                    <a:cubicBezTo>
                      <a:pt x="101" y="49"/>
                      <a:pt x="101" y="50"/>
                      <a:pt x="102" y="50"/>
                    </a:cubicBezTo>
                    <a:cubicBezTo>
                      <a:pt x="104" y="51"/>
                      <a:pt x="106" y="50"/>
                      <a:pt x="107" y="48"/>
                    </a:cubicBezTo>
                    <a:cubicBezTo>
                      <a:pt x="107" y="44"/>
                      <a:pt x="107" y="40"/>
                      <a:pt x="105" y="36"/>
                    </a:cubicBezTo>
                    <a:cubicBezTo>
                      <a:pt x="103" y="32"/>
                      <a:pt x="99" y="29"/>
                      <a:pt x="96" y="30"/>
                    </a:cubicBezTo>
                    <a:cubicBezTo>
                      <a:pt x="91" y="31"/>
                      <a:pt x="87" y="33"/>
                      <a:pt x="87" y="38"/>
                    </a:cubicBezTo>
                    <a:cubicBezTo>
                      <a:pt x="86" y="39"/>
                      <a:pt x="86" y="41"/>
                      <a:pt x="86" y="42"/>
                    </a:cubicBezTo>
                    <a:cubicBezTo>
                      <a:pt x="86" y="44"/>
                      <a:pt x="87" y="45"/>
                      <a:pt x="87" y="47"/>
                    </a:cubicBezTo>
                    <a:cubicBezTo>
                      <a:pt x="85" y="46"/>
                      <a:pt x="82" y="46"/>
                      <a:pt x="80" y="46"/>
                    </a:cubicBezTo>
                    <a:cubicBezTo>
                      <a:pt x="80" y="46"/>
                      <a:pt x="80" y="46"/>
                      <a:pt x="79" y="46"/>
                    </a:cubicBezTo>
                    <a:cubicBezTo>
                      <a:pt x="78" y="46"/>
                      <a:pt x="77" y="46"/>
                      <a:pt x="77" y="44"/>
                    </a:cubicBezTo>
                    <a:cubicBezTo>
                      <a:pt x="77" y="42"/>
                      <a:pt x="77" y="39"/>
                      <a:pt x="76" y="36"/>
                    </a:cubicBezTo>
                    <a:cubicBezTo>
                      <a:pt x="76" y="36"/>
                      <a:pt x="76" y="35"/>
                      <a:pt x="75" y="35"/>
                    </a:cubicBezTo>
                    <a:cubicBezTo>
                      <a:pt x="74" y="33"/>
                      <a:pt x="73" y="31"/>
                      <a:pt x="70" y="31"/>
                    </a:cubicBezTo>
                    <a:cubicBezTo>
                      <a:pt x="68" y="31"/>
                      <a:pt x="66" y="33"/>
                      <a:pt x="65" y="35"/>
                    </a:cubicBezTo>
                    <a:cubicBezTo>
                      <a:pt x="63" y="40"/>
                      <a:pt x="63" y="45"/>
                      <a:pt x="66" y="50"/>
                    </a:cubicBezTo>
                    <a:cubicBezTo>
                      <a:pt x="66" y="50"/>
                      <a:pt x="67" y="51"/>
                      <a:pt x="67" y="51"/>
                    </a:cubicBezTo>
                    <a:cubicBezTo>
                      <a:pt x="68" y="51"/>
                      <a:pt x="69" y="50"/>
                      <a:pt x="69" y="49"/>
                    </a:cubicBezTo>
                    <a:cubicBezTo>
                      <a:pt x="68" y="49"/>
                      <a:pt x="67" y="48"/>
                      <a:pt x="67" y="47"/>
                    </a:cubicBezTo>
                    <a:cubicBezTo>
                      <a:pt x="65" y="45"/>
                      <a:pt x="65" y="43"/>
                      <a:pt x="66" y="40"/>
                    </a:cubicBezTo>
                    <a:cubicBezTo>
                      <a:pt x="67" y="37"/>
                      <a:pt x="70" y="36"/>
                      <a:pt x="72" y="38"/>
                    </a:cubicBezTo>
                    <a:cubicBezTo>
                      <a:pt x="74" y="40"/>
                      <a:pt x="74" y="42"/>
                      <a:pt x="75" y="44"/>
                    </a:cubicBezTo>
                    <a:cubicBezTo>
                      <a:pt x="75" y="46"/>
                      <a:pt x="74" y="47"/>
                      <a:pt x="73" y="48"/>
                    </a:cubicBezTo>
                    <a:cubicBezTo>
                      <a:pt x="72" y="48"/>
                      <a:pt x="72" y="49"/>
                      <a:pt x="72" y="49"/>
                    </a:cubicBezTo>
                    <a:cubicBezTo>
                      <a:pt x="70" y="51"/>
                      <a:pt x="68" y="53"/>
                      <a:pt x="66" y="54"/>
                    </a:cubicBezTo>
                    <a:cubicBezTo>
                      <a:pt x="65" y="54"/>
                      <a:pt x="64" y="56"/>
                      <a:pt x="64" y="57"/>
                    </a:cubicBezTo>
                    <a:cubicBezTo>
                      <a:pt x="63" y="58"/>
                      <a:pt x="64" y="59"/>
                      <a:pt x="65" y="60"/>
                    </a:cubicBezTo>
                    <a:cubicBezTo>
                      <a:pt x="66" y="61"/>
                      <a:pt x="67" y="61"/>
                      <a:pt x="68" y="63"/>
                    </a:cubicBezTo>
                    <a:cubicBezTo>
                      <a:pt x="70" y="66"/>
                      <a:pt x="74" y="67"/>
                      <a:pt x="77" y="66"/>
                    </a:cubicBezTo>
                    <a:cubicBezTo>
                      <a:pt x="82" y="66"/>
                      <a:pt x="86" y="65"/>
                      <a:pt x="90" y="64"/>
                    </a:cubicBezTo>
                    <a:cubicBezTo>
                      <a:pt x="94" y="63"/>
                      <a:pt x="98" y="62"/>
                      <a:pt x="101" y="58"/>
                    </a:cubicBezTo>
                    <a:cubicBezTo>
                      <a:pt x="101" y="58"/>
                      <a:pt x="102" y="58"/>
                      <a:pt x="102" y="58"/>
                    </a:cubicBezTo>
                    <a:cubicBezTo>
                      <a:pt x="103" y="59"/>
                      <a:pt x="103" y="60"/>
                      <a:pt x="103" y="60"/>
                    </a:cubicBezTo>
                    <a:cubicBezTo>
                      <a:pt x="103" y="61"/>
                      <a:pt x="102" y="61"/>
                      <a:pt x="101" y="61"/>
                    </a:cubicBezTo>
                    <a:cubicBezTo>
                      <a:pt x="96" y="63"/>
                      <a:pt x="91" y="66"/>
                      <a:pt x="86" y="68"/>
                    </a:cubicBezTo>
                    <a:cubicBezTo>
                      <a:pt x="82" y="69"/>
                      <a:pt x="78" y="70"/>
                      <a:pt x="74" y="69"/>
                    </a:cubicBezTo>
                    <a:cubicBezTo>
                      <a:pt x="73" y="69"/>
                      <a:pt x="72" y="69"/>
                      <a:pt x="71" y="69"/>
                    </a:cubicBezTo>
                    <a:close/>
                    <a:moveTo>
                      <a:pt x="73" y="45"/>
                    </a:moveTo>
                    <a:cubicBezTo>
                      <a:pt x="73" y="43"/>
                      <a:pt x="73" y="42"/>
                      <a:pt x="71" y="40"/>
                    </a:cubicBezTo>
                    <a:cubicBezTo>
                      <a:pt x="71" y="40"/>
                      <a:pt x="71" y="40"/>
                      <a:pt x="70" y="40"/>
                    </a:cubicBezTo>
                    <a:cubicBezTo>
                      <a:pt x="70" y="40"/>
                      <a:pt x="70" y="41"/>
                      <a:pt x="70" y="41"/>
                    </a:cubicBezTo>
                    <a:cubicBezTo>
                      <a:pt x="72" y="42"/>
                      <a:pt x="71" y="43"/>
                      <a:pt x="71" y="44"/>
                    </a:cubicBezTo>
                    <a:cubicBezTo>
                      <a:pt x="71" y="45"/>
                      <a:pt x="71" y="45"/>
                      <a:pt x="73" y="45"/>
                    </a:cubicBezTo>
                    <a:close/>
                    <a:moveTo>
                      <a:pt x="97" y="40"/>
                    </a:moveTo>
                    <a:cubicBezTo>
                      <a:pt x="99" y="40"/>
                      <a:pt x="99" y="42"/>
                      <a:pt x="100" y="44"/>
                    </a:cubicBezTo>
                    <a:cubicBezTo>
                      <a:pt x="100" y="43"/>
                      <a:pt x="101" y="43"/>
                      <a:pt x="101" y="43"/>
                    </a:cubicBezTo>
                    <a:cubicBezTo>
                      <a:pt x="101" y="41"/>
                      <a:pt x="100" y="40"/>
                      <a:pt x="99" y="39"/>
                    </a:cubicBezTo>
                    <a:cubicBezTo>
                      <a:pt x="98" y="39"/>
                      <a:pt x="97"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5" name="Freeform 122"/>
              <p:cNvSpPr>
                <a:spLocks/>
              </p:cNvSpPr>
              <p:nvPr userDrawn="1"/>
            </p:nvSpPr>
            <p:spPr bwMode="auto">
              <a:xfrm>
                <a:off x="4080" y="3708"/>
                <a:ext cx="3"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0"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6" name="Freeform 123"/>
              <p:cNvSpPr>
                <a:spLocks/>
              </p:cNvSpPr>
              <p:nvPr userDrawn="1"/>
            </p:nvSpPr>
            <p:spPr bwMode="auto">
              <a:xfrm>
                <a:off x="4093" y="3708"/>
                <a:ext cx="3" cy="3"/>
              </a:xfrm>
              <a:custGeom>
                <a:avLst/>
                <a:gdLst>
                  <a:gd name="T0" fmla="*/ 0 w 3"/>
                  <a:gd name="T1" fmla="*/ 0 h 2"/>
                  <a:gd name="T2" fmla="*/ 3 w 3"/>
                  <a:gd name="T3" fmla="*/ 0 h 2"/>
                  <a:gd name="T4" fmla="*/ 3 w 3"/>
                  <a:gd name="T5" fmla="*/ 1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0"/>
                    </a:cubicBezTo>
                    <a:cubicBezTo>
                      <a:pt x="3" y="0"/>
                      <a:pt x="3" y="1"/>
                      <a:pt x="3" y="1"/>
                    </a:cubicBezTo>
                    <a:cubicBezTo>
                      <a:pt x="3" y="1"/>
                      <a:pt x="2" y="2"/>
                      <a:pt x="2" y="1"/>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7" name="Freeform 124"/>
              <p:cNvSpPr>
                <a:spLocks/>
              </p:cNvSpPr>
              <p:nvPr userDrawn="1"/>
            </p:nvSpPr>
            <p:spPr bwMode="auto">
              <a:xfrm>
                <a:off x="2044"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8" name="Freeform 125"/>
              <p:cNvSpPr>
                <a:spLocks noEditPoints="1"/>
              </p:cNvSpPr>
              <p:nvPr userDrawn="1"/>
            </p:nvSpPr>
            <p:spPr bwMode="auto">
              <a:xfrm>
                <a:off x="2193"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9" name="Freeform 126"/>
              <p:cNvSpPr>
                <a:spLocks noEditPoints="1"/>
              </p:cNvSpPr>
              <p:nvPr userDrawn="1"/>
            </p:nvSpPr>
            <p:spPr bwMode="auto">
              <a:xfrm>
                <a:off x="2388"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0" name="Freeform 127"/>
              <p:cNvSpPr>
                <a:spLocks/>
              </p:cNvSpPr>
              <p:nvPr userDrawn="1"/>
            </p:nvSpPr>
            <p:spPr bwMode="auto">
              <a:xfrm>
                <a:off x="2813"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1" name="Freeform 128"/>
              <p:cNvSpPr>
                <a:spLocks noEditPoints="1"/>
              </p:cNvSpPr>
              <p:nvPr userDrawn="1"/>
            </p:nvSpPr>
            <p:spPr bwMode="auto">
              <a:xfrm>
                <a:off x="2960"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2" name="Freeform 129"/>
              <p:cNvSpPr>
                <a:spLocks/>
              </p:cNvSpPr>
              <p:nvPr userDrawn="1"/>
            </p:nvSpPr>
            <p:spPr bwMode="auto">
              <a:xfrm>
                <a:off x="3159"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3" name="Freeform 130"/>
              <p:cNvSpPr>
                <a:spLocks/>
              </p:cNvSpPr>
              <p:nvPr userDrawn="1"/>
            </p:nvSpPr>
            <p:spPr bwMode="auto">
              <a:xfrm>
                <a:off x="3308" y="4022"/>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5" y="39"/>
                      <a:pt x="31" y="41"/>
                      <a:pt x="27" y="44"/>
                    </a:cubicBezTo>
                    <a:cubicBezTo>
                      <a:pt x="23"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4" name="Freeform 131"/>
              <p:cNvSpPr>
                <a:spLocks noEditPoints="1"/>
              </p:cNvSpPr>
              <p:nvPr userDrawn="1"/>
            </p:nvSpPr>
            <p:spPr bwMode="auto">
              <a:xfrm>
                <a:off x="3456" y="4023"/>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5" name="Freeform 132"/>
              <p:cNvSpPr>
                <a:spLocks/>
              </p:cNvSpPr>
              <p:nvPr userDrawn="1"/>
            </p:nvSpPr>
            <p:spPr bwMode="auto">
              <a:xfrm>
                <a:off x="3654"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6" name="Freeform 133"/>
              <p:cNvSpPr>
                <a:spLocks noEditPoints="1"/>
              </p:cNvSpPr>
              <p:nvPr userDrawn="1"/>
            </p:nvSpPr>
            <p:spPr bwMode="auto">
              <a:xfrm>
                <a:off x="380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7" name="Freeform 134"/>
              <p:cNvSpPr>
                <a:spLocks noEditPoints="1"/>
              </p:cNvSpPr>
              <p:nvPr userDrawn="1"/>
            </p:nvSpPr>
            <p:spPr bwMode="auto">
              <a:xfrm>
                <a:off x="3996"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8" name="Freeform 135"/>
              <p:cNvSpPr>
                <a:spLocks noEditPoints="1"/>
              </p:cNvSpPr>
              <p:nvPr userDrawn="1"/>
            </p:nvSpPr>
            <p:spPr bwMode="auto">
              <a:xfrm>
                <a:off x="419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9" name="Freeform 136"/>
              <p:cNvSpPr>
                <a:spLocks/>
              </p:cNvSpPr>
              <p:nvPr userDrawn="1"/>
            </p:nvSpPr>
            <p:spPr bwMode="auto">
              <a:xfrm>
                <a:off x="4389"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0" name="Freeform 137"/>
              <p:cNvSpPr>
                <a:spLocks noEditPoints="1"/>
              </p:cNvSpPr>
              <p:nvPr userDrawn="1"/>
            </p:nvSpPr>
            <p:spPr bwMode="auto">
              <a:xfrm>
                <a:off x="4537"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138"/>
              <p:cNvSpPr>
                <a:spLocks noEditPoints="1"/>
              </p:cNvSpPr>
              <p:nvPr userDrawn="1"/>
            </p:nvSpPr>
            <p:spPr bwMode="auto">
              <a:xfrm>
                <a:off x="4723" y="4027"/>
                <a:ext cx="187" cy="220"/>
              </a:xfrm>
              <a:custGeom>
                <a:avLst/>
                <a:gdLst>
                  <a:gd name="T0" fmla="*/ 187 w 187"/>
                  <a:gd name="T1" fmla="*/ 67 h 220"/>
                  <a:gd name="T2" fmla="*/ 184 w 187"/>
                  <a:gd name="T3" fmla="*/ 85 h 220"/>
                  <a:gd name="T4" fmla="*/ 141 w 187"/>
                  <a:gd name="T5" fmla="*/ 85 h 220"/>
                  <a:gd name="T6" fmla="*/ 130 w 187"/>
                  <a:gd name="T7" fmla="*/ 135 h 220"/>
                  <a:gd name="T8" fmla="*/ 176 w 187"/>
                  <a:gd name="T9" fmla="*/ 135 h 220"/>
                  <a:gd name="T10" fmla="*/ 173 w 187"/>
                  <a:gd name="T11" fmla="*/ 153 h 220"/>
                  <a:gd name="T12" fmla="*/ 126 w 187"/>
                  <a:gd name="T13" fmla="*/ 153 h 220"/>
                  <a:gd name="T14" fmla="*/ 112 w 187"/>
                  <a:gd name="T15" fmla="*/ 220 h 220"/>
                  <a:gd name="T16" fmla="*/ 91 w 187"/>
                  <a:gd name="T17" fmla="*/ 220 h 220"/>
                  <a:gd name="T18" fmla="*/ 106 w 187"/>
                  <a:gd name="T19" fmla="*/ 153 h 220"/>
                  <a:gd name="T20" fmla="*/ 64 w 187"/>
                  <a:gd name="T21" fmla="*/ 153 h 220"/>
                  <a:gd name="T22" fmla="*/ 50 w 187"/>
                  <a:gd name="T23" fmla="*/ 220 h 220"/>
                  <a:gd name="T24" fmla="*/ 29 w 187"/>
                  <a:gd name="T25" fmla="*/ 220 h 220"/>
                  <a:gd name="T26" fmla="*/ 42 w 187"/>
                  <a:gd name="T27" fmla="*/ 153 h 220"/>
                  <a:gd name="T28" fmla="*/ 0 w 187"/>
                  <a:gd name="T29" fmla="*/ 153 h 220"/>
                  <a:gd name="T30" fmla="*/ 2 w 187"/>
                  <a:gd name="T31" fmla="*/ 135 h 220"/>
                  <a:gd name="T32" fmla="*/ 47 w 187"/>
                  <a:gd name="T33" fmla="*/ 135 h 220"/>
                  <a:gd name="T34" fmla="*/ 57 w 187"/>
                  <a:gd name="T35" fmla="*/ 85 h 220"/>
                  <a:gd name="T36" fmla="*/ 11 w 187"/>
                  <a:gd name="T37" fmla="*/ 85 h 220"/>
                  <a:gd name="T38" fmla="*/ 14 w 187"/>
                  <a:gd name="T39" fmla="*/ 67 h 220"/>
                  <a:gd name="T40" fmla="*/ 61 w 187"/>
                  <a:gd name="T41" fmla="*/ 67 h 220"/>
                  <a:gd name="T42" fmla="*/ 74 w 187"/>
                  <a:gd name="T43" fmla="*/ 0 h 220"/>
                  <a:gd name="T44" fmla="*/ 95 w 187"/>
                  <a:gd name="T45" fmla="*/ 0 h 220"/>
                  <a:gd name="T46" fmla="*/ 81 w 187"/>
                  <a:gd name="T47" fmla="*/ 67 h 220"/>
                  <a:gd name="T48" fmla="*/ 123 w 187"/>
                  <a:gd name="T49" fmla="*/ 67 h 220"/>
                  <a:gd name="T50" fmla="*/ 137 w 187"/>
                  <a:gd name="T51" fmla="*/ 0 h 220"/>
                  <a:gd name="T52" fmla="*/ 158 w 187"/>
                  <a:gd name="T53" fmla="*/ 0 h 220"/>
                  <a:gd name="T54" fmla="*/ 145 w 187"/>
                  <a:gd name="T55" fmla="*/ 67 h 220"/>
                  <a:gd name="T56" fmla="*/ 187 w 187"/>
                  <a:gd name="T57" fmla="*/ 67 h 220"/>
                  <a:gd name="T58" fmla="*/ 120 w 187"/>
                  <a:gd name="T59" fmla="*/ 85 h 220"/>
                  <a:gd name="T60" fmla="*/ 78 w 187"/>
                  <a:gd name="T61" fmla="*/ 85 h 220"/>
                  <a:gd name="T62" fmla="*/ 67 w 187"/>
                  <a:gd name="T63" fmla="*/ 135 h 220"/>
                  <a:gd name="T64" fmla="*/ 109 w 187"/>
                  <a:gd name="T65" fmla="*/ 135 h 220"/>
                  <a:gd name="T66" fmla="*/ 120 w 187"/>
                  <a:gd name="T67" fmla="*/ 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220">
                    <a:moveTo>
                      <a:pt x="187" y="67"/>
                    </a:moveTo>
                    <a:lnTo>
                      <a:pt x="184" y="85"/>
                    </a:lnTo>
                    <a:lnTo>
                      <a:pt x="141" y="85"/>
                    </a:lnTo>
                    <a:lnTo>
                      <a:pt x="130" y="135"/>
                    </a:lnTo>
                    <a:lnTo>
                      <a:pt x="176" y="135"/>
                    </a:lnTo>
                    <a:lnTo>
                      <a:pt x="173" y="153"/>
                    </a:lnTo>
                    <a:lnTo>
                      <a:pt x="126" y="153"/>
                    </a:lnTo>
                    <a:lnTo>
                      <a:pt x="112" y="220"/>
                    </a:lnTo>
                    <a:lnTo>
                      <a:pt x="91" y="220"/>
                    </a:lnTo>
                    <a:lnTo>
                      <a:pt x="106" y="153"/>
                    </a:lnTo>
                    <a:lnTo>
                      <a:pt x="64" y="153"/>
                    </a:lnTo>
                    <a:lnTo>
                      <a:pt x="50" y="220"/>
                    </a:lnTo>
                    <a:lnTo>
                      <a:pt x="29" y="220"/>
                    </a:lnTo>
                    <a:lnTo>
                      <a:pt x="42" y="153"/>
                    </a:lnTo>
                    <a:lnTo>
                      <a:pt x="0" y="153"/>
                    </a:lnTo>
                    <a:lnTo>
                      <a:pt x="2" y="135"/>
                    </a:lnTo>
                    <a:lnTo>
                      <a:pt x="47" y="135"/>
                    </a:lnTo>
                    <a:lnTo>
                      <a:pt x="57" y="85"/>
                    </a:lnTo>
                    <a:lnTo>
                      <a:pt x="11" y="85"/>
                    </a:lnTo>
                    <a:lnTo>
                      <a:pt x="14" y="67"/>
                    </a:lnTo>
                    <a:lnTo>
                      <a:pt x="61" y="67"/>
                    </a:lnTo>
                    <a:lnTo>
                      <a:pt x="74" y="0"/>
                    </a:lnTo>
                    <a:lnTo>
                      <a:pt x="95" y="0"/>
                    </a:lnTo>
                    <a:lnTo>
                      <a:pt x="81" y="67"/>
                    </a:lnTo>
                    <a:lnTo>
                      <a:pt x="123" y="67"/>
                    </a:lnTo>
                    <a:lnTo>
                      <a:pt x="137" y="0"/>
                    </a:lnTo>
                    <a:lnTo>
                      <a:pt x="158" y="0"/>
                    </a:lnTo>
                    <a:lnTo>
                      <a:pt x="145" y="67"/>
                    </a:lnTo>
                    <a:lnTo>
                      <a:pt x="187" y="67"/>
                    </a:lnTo>
                    <a:close/>
                    <a:moveTo>
                      <a:pt x="120" y="85"/>
                    </a:moveTo>
                    <a:lnTo>
                      <a:pt x="78" y="85"/>
                    </a:lnTo>
                    <a:lnTo>
                      <a:pt x="67" y="135"/>
                    </a:lnTo>
                    <a:lnTo>
                      <a:pt x="109" y="135"/>
                    </a:lnTo>
                    <a:lnTo>
                      <a:pt x="12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139"/>
              <p:cNvSpPr>
                <a:spLocks noEditPoints="1"/>
              </p:cNvSpPr>
              <p:nvPr userDrawn="1"/>
            </p:nvSpPr>
            <p:spPr bwMode="auto">
              <a:xfrm>
                <a:off x="4940"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Freeform 140"/>
              <p:cNvSpPr>
                <a:spLocks/>
              </p:cNvSpPr>
              <p:nvPr userDrawn="1"/>
            </p:nvSpPr>
            <p:spPr bwMode="auto">
              <a:xfrm>
                <a:off x="5137" y="4022"/>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3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Freeform 141"/>
              <p:cNvSpPr>
                <a:spLocks noEditPoints="1"/>
              </p:cNvSpPr>
              <p:nvPr userDrawn="1"/>
            </p:nvSpPr>
            <p:spPr bwMode="auto">
              <a:xfrm>
                <a:off x="5286" y="4023"/>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2"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142"/>
              <p:cNvSpPr>
                <a:spLocks/>
              </p:cNvSpPr>
              <p:nvPr userDrawn="1"/>
            </p:nvSpPr>
            <p:spPr bwMode="auto">
              <a:xfrm>
                <a:off x="5483"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143"/>
              <p:cNvSpPr>
                <a:spLocks noEditPoints="1"/>
              </p:cNvSpPr>
              <p:nvPr userDrawn="1"/>
            </p:nvSpPr>
            <p:spPr bwMode="auto">
              <a:xfrm>
                <a:off x="563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144"/>
              <p:cNvSpPr>
                <a:spLocks/>
              </p:cNvSpPr>
              <p:nvPr userDrawn="1"/>
            </p:nvSpPr>
            <p:spPr bwMode="auto">
              <a:xfrm>
                <a:off x="5828"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Freeform 145"/>
              <p:cNvSpPr>
                <a:spLocks noEditPoints="1"/>
              </p:cNvSpPr>
              <p:nvPr userDrawn="1"/>
            </p:nvSpPr>
            <p:spPr bwMode="auto">
              <a:xfrm>
                <a:off x="5977"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Freeform 146"/>
              <p:cNvSpPr>
                <a:spLocks noEditPoints="1"/>
              </p:cNvSpPr>
              <p:nvPr userDrawn="1"/>
            </p:nvSpPr>
            <p:spPr bwMode="auto">
              <a:xfrm>
                <a:off x="6172"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0" name="Freeform 147"/>
              <p:cNvSpPr>
                <a:spLocks noEditPoints="1"/>
              </p:cNvSpPr>
              <p:nvPr userDrawn="1"/>
            </p:nvSpPr>
            <p:spPr bwMode="auto">
              <a:xfrm>
                <a:off x="6356" y="4027"/>
                <a:ext cx="189" cy="220"/>
              </a:xfrm>
              <a:custGeom>
                <a:avLst/>
                <a:gdLst>
                  <a:gd name="T0" fmla="*/ 189 w 189"/>
                  <a:gd name="T1" fmla="*/ 67 h 220"/>
                  <a:gd name="T2" fmla="*/ 185 w 189"/>
                  <a:gd name="T3" fmla="*/ 85 h 220"/>
                  <a:gd name="T4" fmla="*/ 142 w 189"/>
                  <a:gd name="T5" fmla="*/ 85 h 220"/>
                  <a:gd name="T6" fmla="*/ 131 w 189"/>
                  <a:gd name="T7" fmla="*/ 135 h 220"/>
                  <a:gd name="T8" fmla="*/ 178 w 189"/>
                  <a:gd name="T9" fmla="*/ 135 h 220"/>
                  <a:gd name="T10" fmla="*/ 174 w 189"/>
                  <a:gd name="T11" fmla="*/ 153 h 220"/>
                  <a:gd name="T12" fmla="*/ 128 w 189"/>
                  <a:gd name="T13" fmla="*/ 153 h 220"/>
                  <a:gd name="T14" fmla="*/ 113 w 189"/>
                  <a:gd name="T15" fmla="*/ 220 h 220"/>
                  <a:gd name="T16" fmla="*/ 92 w 189"/>
                  <a:gd name="T17" fmla="*/ 220 h 220"/>
                  <a:gd name="T18" fmla="*/ 107 w 189"/>
                  <a:gd name="T19" fmla="*/ 153 h 220"/>
                  <a:gd name="T20" fmla="*/ 64 w 189"/>
                  <a:gd name="T21" fmla="*/ 153 h 220"/>
                  <a:gd name="T22" fmla="*/ 51 w 189"/>
                  <a:gd name="T23" fmla="*/ 220 h 220"/>
                  <a:gd name="T24" fmla="*/ 30 w 189"/>
                  <a:gd name="T25" fmla="*/ 220 h 220"/>
                  <a:gd name="T26" fmla="*/ 44 w 189"/>
                  <a:gd name="T27" fmla="*/ 153 h 220"/>
                  <a:gd name="T28" fmla="*/ 0 w 189"/>
                  <a:gd name="T29" fmla="*/ 153 h 220"/>
                  <a:gd name="T30" fmla="*/ 3 w 189"/>
                  <a:gd name="T31" fmla="*/ 135 h 220"/>
                  <a:gd name="T32" fmla="*/ 47 w 189"/>
                  <a:gd name="T33" fmla="*/ 135 h 220"/>
                  <a:gd name="T34" fmla="*/ 58 w 189"/>
                  <a:gd name="T35" fmla="*/ 85 h 220"/>
                  <a:gd name="T36" fmla="*/ 12 w 189"/>
                  <a:gd name="T37" fmla="*/ 85 h 220"/>
                  <a:gd name="T38" fmla="*/ 15 w 189"/>
                  <a:gd name="T39" fmla="*/ 67 h 220"/>
                  <a:gd name="T40" fmla="*/ 62 w 189"/>
                  <a:gd name="T41" fmla="*/ 67 h 220"/>
                  <a:gd name="T42" fmla="*/ 75 w 189"/>
                  <a:gd name="T43" fmla="*/ 0 h 220"/>
                  <a:gd name="T44" fmla="*/ 96 w 189"/>
                  <a:gd name="T45" fmla="*/ 0 h 220"/>
                  <a:gd name="T46" fmla="*/ 83 w 189"/>
                  <a:gd name="T47" fmla="*/ 67 h 220"/>
                  <a:gd name="T48" fmla="*/ 124 w 189"/>
                  <a:gd name="T49" fmla="*/ 67 h 220"/>
                  <a:gd name="T50" fmla="*/ 139 w 189"/>
                  <a:gd name="T51" fmla="*/ 0 h 220"/>
                  <a:gd name="T52" fmla="*/ 159 w 189"/>
                  <a:gd name="T53" fmla="*/ 0 h 220"/>
                  <a:gd name="T54" fmla="*/ 145 w 189"/>
                  <a:gd name="T55" fmla="*/ 67 h 220"/>
                  <a:gd name="T56" fmla="*/ 189 w 189"/>
                  <a:gd name="T57" fmla="*/ 67 h 220"/>
                  <a:gd name="T58" fmla="*/ 122 w 189"/>
                  <a:gd name="T59" fmla="*/ 85 h 220"/>
                  <a:gd name="T60" fmla="*/ 79 w 189"/>
                  <a:gd name="T61" fmla="*/ 85 h 220"/>
                  <a:gd name="T62" fmla="*/ 68 w 189"/>
                  <a:gd name="T63" fmla="*/ 135 h 220"/>
                  <a:gd name="T64" fmla="*/ 111 w 189"/>
                  <a:gd name="T65" fmla="*/ 135 h 220"/>
                  <a:gd name="T66" fmla="*/ 122 w 189"/>
                  <a:gd name="T67" fmla="*/ 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20">
                    <a:moveTo>
                      <a:pt x="189" y="67"/>
                    </a:moveTo>
                    <a:lnTo>
                      <a:pt x="185" y="85"/>
                    </a:lnTo>
                    <a:lnTo>
                      <a:pt x="142" y="85"/>
                    </a:lnTo>
                    <a:lnTo>
                      <a:pt x="131" y="135"/>
                    </a:lnTo>
                    <a:lnTo>
                      <a:pt x="178" y="135"/>
                    </a:lnTo>
                    <a:lnTo>
                      <a:pt x="174" y="153"/>
                    </a:lnTo>
                    <a:lnTo>
                      <a:pt x="128" y="153"/>
                    </a:lnTo>
                    <a:lnTo>
                      <a:pt x="113" y="220"/>
                    </a:lnTo>
                    <a:lnTo>
                      <a:pt x="92" y="220"/>
                    </a:lnTo>
                    <a:lnTo>
                      <a:pt x="107" y="153"/>
                    </a:lnTo>
                    <a:lnTo>
                      <a:pt x="64" y="153"/>
                    </a:lnTo>
                    <a:lnTo>
                      <a:pt x="51" y="220"/>
                    </a:lnTo>
                    <a:lnTo>
                      <a:pt x="30" y="220"/>
                    </a:lnTo>
                    <a:lnTo>
                      <a:pt x="44" y="153"/>
                    </a:lnTo>
                    <a:lnTo>
                      <a:pt x="0" y="153"/>
                    </a:lnTo>
                    <a:lnTo>
                      <a:pt x="3" y="135"/>
                    </a:lnTo>
                    <a:lnTo>
                      <a:pt x="47" y="135"/>
                    </a:lnTo>
                    <a:lnTo>
                      <a:pt x="58" y="85"/>
                    </a:lnTo>
                    <a:lnTo>
                      <a:pt x="12" y="85"/>
                    </a:lnTo>
                    <a:lnTo>
                      <a:pt x="15" y="67"/>
                    </a:lnTo>
                    <a:lnTo>
                      <a:pt x="62" y="67"/>
                    </a:lnTo>
                    <a:lnTo>
                      <a:pt x="75" y="0"/>
                    </a:lnTo>
                    <a:lnTo>
                      <a:pt x="96" y="0"/>
                    </a:lnTo>
                    <a:lnTo>
                      <a:pt x="83" y="67"/>
                    </a:lnTo>
                    <a:lnTo>
                      <a:pt x="124" y="67"/>
                    </a:lnTo>
                    <a:lnTo>
                      <a:pt x="139" y="0"/>
                    </a:lnTo>
                    <a:lnTo>
                      <a:pt x="159" y="0"/>
                    </a:lnTo>
                    <a:lnTo>
                      <a:pt x="145" y="67"/>
                    </a:lnTo>
                    <a:lnTo>
                      <a:pt x="189" y="67"/>
                    </a:lnTo>
                    <a:close/>
                    <a:moveTo>
                      <a:pt x="122" y="85"/>
                    </a:moveTo>
                    <a:lnTo>
                      <a:pt x="79" y="85"/>
                    </a:lnTo>
                    <a:lnTo>
                      <a:pt x="68" y="135"/>
                    </a:lnTo>
                    <a:lnTo>
                      <a:pt x="111" y="135"/>
                    </a:lnTo>
                    <a:lnTo>
                      <a:pt x="122"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Freeform 148"/>
              <p:cNvSpPr>
                <a:spLocks noEditPoints="1"/>
              </p:cNvSpPr>
              <p:nvPr userDrawn="1"/>
            </p:nvSpPr>
            <p:spPr bwMode="auto">
              <a:xfrm>
                <a:off x="6574" y="4023"/>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2" name="Freeform 149"/>
              <p:cNvSpPr>
                <a:spLocks noEditPoints="1"/>
              </p:cNvSpPr>
              <p:nvPr userDrawn="1"/>
            </p:nvSpPr>
            <p:spPr bwMode="auto">
              <a:xfrm>
                <a:off x="6769" y="4023"/>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Freeform 150"/>
              <p:cNvSpPr>
                <a:spLocks/>
              </p:cNvSpPr>
              <p:nvPr userDrawn="1"/>
            </p:nvSpPr>
            <p:spPr bwMode="auto">
              <a:xfrm>
                <a:off x="6966"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4" name="Freeform 151"/>
              <p:cNvSpPr>
                <a:spLocks noEditPoints="1"/>
              </p:cNvSpPr>
              <p:nvPr userDrawn="1"/>
            </p:nvSpPr>
            <p:spPr bwMode="auto">
              <a:xfrm>
                <a:off x="7114"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152"/>
              <p:cNvSpPr>
                <a:spLocks/>
              </p:cNvSpPr>
              <p:nvPr userDrawn="1"/>
            </p:nvSpPr>
            <p:spPr bwMode="auto">
              <a:xfrm>
                <a:off x="7312"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6" name="Freeform 153"/>
              <p:cNvSpPr>
                <a:spLocks/>
              </p:cNvSpPr>
              <p:nvPr userDrawn="1"/>
            </p:nvSpPr>
            <p:spPr bwMode="auto">
              <a:xfrm>
                <a:off x="7454" y="4027"/>
                <a:ext cx="76" cy="294"/>
              </a:xfrm>
              <a:custGeom>
                <a:avLst/>
                <a:gdLst>
                  <a:gd name="T0" fmla="*/ 63 w 63"/>
                  <a:gd name="T1" fmla="*/ 241 h 241"/>
                  <a:gd name="T2" fmla="*/ 21 w 63"/>
                  <a:gd name="T3" fmla="*/ 199 h 241"/>
                  <a:gd name="T4" fmla="*/ 21 w 63"/>
                  <a:gd name="T5" fmla="*/ 158 h 241"/>
                  <a:gd name="T6" fmla="*/ 0 w 63"/>
                  <a:gd name="T7" fmla="*/ 129 h 241"/>
                  <a:gd name="T8" fmla="*/ 0 w 63"/>
                  <a:gd name="T9" fmla="*/ 113 h 241"/>
                  <a:gd name="T10" fmla="*/ 21 w 63"/>
                  <a:gd name="T11" fmla="*/ 83 h 241"/>
                  <a:gd name="T12" fmla="*/ 21 w 63"/>
                  <a:gd name="T13" fmla="*/ 43 h 241"/>
                  <a:gd name="T14" fmla="*/ 63 w 63"/>
                  <a:gd name="T15" fmla="*/ 0 h 241"/>
                  <a:gd name="T16" fmla="*/ 63 w 63"/>
                  <a:gd name="T17" fmla="*/ 18 h 241"/>
                  <a:gd name="T18" fmla="*/ 42 w 63"/>
                  <a:gd name="T19" fmla="*/ 45 h 241"/>
                  <a:gd name="T20" fmla="*/ 42 w 63"/>
                  <a:gd name="T21" fmla="*/ 85 h 241"/>
                  <a:gd name="T22" fmla="*/ 21 w 63"/>
                  <a:gd name="T23" fmla="*/ 120 h 241"/>
                  <a:gd name="T24" fmla="*/ 21 w 63"/>
                  <a:gd name="T25" fmla="*/ 121 h 241"/>
                  <a:gd name="T26" fmla="*/ 42 w 63"/>
                  <a:gd name="T27" fmla="*/ 156 h 241"/>
                  <a:gd name="T28" fmla="*/ 42 w 63"/>
                  <a:gd name="T29" fmla="*/ 195 h 241"/>
                  <a:gd name="T30" fmla="*/ 47 w 63"/>
                  <a:gd name="T31" fmla="*/ 217 h 241"/>
                  <a:gd name="T32" fmla="*/ 63 w 63"/>
                  <a:gd name="T33" fmla="*/ 224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1"/>
                      <a:pt x="21" y="227"/>
                      <a:pt x="21" y="199"/>
                    </a:cubicBezTo>
                    <a:cubicBezTo>
                      <a:pt x="21" y="158"/>
                      <a:pt x="21" y="158"/>
                      <a:pt x="21" y="158"/>
                    </a:cubicBezTo>
                    <a:cubicBezTo>
                      <a:pt x="21" y="139"/>
                      <a:pt x="14" y="130"/>
                      <a:pt x="0" y="129"/>
                    </a:cubicBezTo>
                    <a:cubicBezTo>
                      <a:pt x="0" y="113"/>
                      <a:pt x="0" y="113"/>
                      <a:pt x="0" y="113"/>
                    </a:cubicBezTo>
                    <a:cubicBezTo>
                      <a:pt x="14" y="112"/>
                      <a:pt x="21" y="102"/>
                      <a:pt x="21" y="83"/>
                    </a:cubicBezTo>
                    <a:cubicBezTo>
                      <a:pt x="21" y="43"/>
                      <a:pt x="21" y="43"/>
                      <a:pt x="21" y="43"/>
                    </a:cubicBezTo>
                    <a:cubicBezTo>
                      <a:pt x="21" y="15"/>
                      <a:pt x="35" y="1"/>
                      <a:pt x="63" y="0"/>
                    </a:cubicBezTo>
                    <a:cubicBezTo>
                      <a:pt x="63" y="18"/>
                      <a:pt x="63" y="18"/>
                      <a:pt x="63"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7"/>
                      <a:pt x="42" y="156"/>
                    </a:cubicBezTo>
                    <a:cubicBezTo>
                      <a:pt x="42" y="195"/>
                      <a:pt x="42" y="195"/>
                      <a:pt x="42" y="195"/>
                    </a:cubicBezTo>
                    <a:cubicBezTo>
                      <a:pt x="42" y="205"/>
                      <a:pt x="43" y="213"/>
                      <a:pt x="47" y="217"/>
                    </a:cubicBezTo>
                    <a:cubicBezTo>
                      <a:pt x="50" y="221"/>
                      <a:pt x="55" y="224"/>
                      <a:pt x="63" y="224"/>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154"/>
              <p:cNvSpPr>
                <a:spLocks/>
              </p:cNvSpPr>
              <p:nvPr userDrawn="1"/>
            </p:nvSpPr>
            <p:spPr bwMode="auto">
              <a:xfrm>
                <a:off x="7562" y="4027"/>
                <a:ext cx="77" cy="294"/>
              </a:xfrm>
              <a:custGeom>
                <a:avLst/>
                <a:gdLst>
                  <a:gd name="T0" fmla="*/ 63 w 63"/>
                  <a:gd name="T1" fmla="*/ 129 h 241"/>
                  <a:gd name="T2" fmla="*/ 41 w 63"/>
                  <a:gd name="T3" fmla="*/ 158 h 241"/>
                  <a:gd name="T4" fmla="*/ 41 w 63"/>
                  <a:gd name="T5" fmla="*/ 199 h 241"/>
                  <a:gd name="T6" fmla="*/ 0 w 63"/>
                  <a:gd name="T7" fmla="*/ 241 h 241"/>
                  <a:gd name="T8" fmla="*/ 0 w 63"/>
                  <a:gd name="T9" fmla="*/ 224 h 241"/>
                  <a:gd name="T10" fmla="*/ 16 w 63"/>
                  <a:gd name="T11" fmla="*/ 217 h 241"/>
                  <a:gd name="T12" fmla="*/ 21 w 63"/>
                  <a:gd name="T13" fmla="*/ 195 h 241"/>
                  <a:gd name="T14" fmla="*/ 21 w 63"/>
                  <a:gd name="T15" fmla="*/ 156 h 241"/>
                  <a:gd name="T16" fmla="*/ 42 w 63"/>
                  <a:gd name="T17" fmla="*/ 121 h 241"/>
                  <a:gd name="T18" fmla="*/ 42 w 63"/>
                  <a:gd name="T19" fmla="*/ 120 h 241"/>
                  <a:gd name="T20" fmla="*/ 21 w 63"/>
                  <a:gd name="T21" fmla="*/ 85 h 241"/>
                  <a:gd name="T22" fmla="*/ 21 w 63"/>
                  <a:gd name="T23" fmla="*/ 45 h 241"/>
                  <a:gd name="T24" fmla="*/ 0 w 63"/>
                  <a:gd name="T25" fmla="*/ 18 h 241"/>
                  <a:gd name="T26" fmla="*/ 0 w 63"/>
                  <a:gd name="T27" fmla="*/ 0 h 241"/>
                  <a:gd name="T28" fmla="*/ 41 w 63"/>
                  <a:gd name="T29" fmla="*/ 43 h 241"/>
                  <a:gd name="T30" fmla="*/ 41 w 63"/>
                  <a:gd name="T31" fmla="*/ 83 h 241"/>
                  <a:gd name="T32" fmla="*/ 63 w 63"/>
                  <a:gd name="T33" fmla="*/ 113 h 241"/>
                  <a:gd name="T34" fmla="*/ 63 w 63"/>
                  <a:gd name="T35" fmla="*/ 12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9"/>
                    </a:moveTo>
                    <a:cubicBezTo>
                      <a:pt x="48" y="130"/>
                      <a:pt x="41" y="139"/>
                      <a:pt x="41" y="158"/>
                    </a:cubicBezTo>
                    <a:cubicBezTo>
                      <a:pt x="41" y="199"/>
                      <a:pt x="41" y="199"/>
                      <a:pt x="41" y="199"/>
                    </a:cubicBezTo>
                    <a:cubicBezTo>
                      <a:pt x="41" y="227"/>
                      <a:pt x="27" y="241"/>
                      <a:pt x="0" y="241"/>
                    </a:cubicBezTo>
                    <a:cubicBezTo>
                      <a:pt x="0" y="224"/>
                      <a:pt x="0" y="224"/>
                      <a:pt x="0" y="224"/>
                    </a:cubicBezTo>
                    <a:cubicBezTo>
                      <a:pt x="7" y="224"/>
                      <a:pt x="13" y="221"/>
                      <a:pt x="16" y="217"/>
                    </a:cubicBezTo>
                    <a:cubicBezTo>
                      <a:pt x="20" y="213"/>
                      <a:pt x="21" y="205"/>
                      <a:pt x="21" y="195"/>
                    </a:cubicBezTo>
                    <a:cubicBezTo>
                      <a:pt x="21" y="156"/>
                      <a:pt x="21" y="156"/>
                      <a:pt x="21" y="156"/>
                    </a:cubicBezTo>
                    <a:cubicBezTo>
                      <a:pt x="21" y="137"/>
                      <a:pt x="28" y="125"/>
                      <a:pt x="42" y="121"/>
                    </a:cubicBezTo>
                    <a:cubicBezTo>
                      <a:pt x="42" y="120"/>
                      <a:pt x="42" y="120"/>
                      <a:pt x="42" y="120"/>
                    </a:cubicBezTo>
                    <a:cubicBezTo>
                      <a:pt x="28" y="116"/>
                      <a:pt x="21" y="104"/>
                      <a:pt x="21" y="85"/>
                    </a:cubicBezTo>
                    <a:cubicBezTo>
                      <a:pt x="21" y="45"/>
                      <a:pt x="21" y="45"/>
                      <a:pt x="21" y="45"/>
                    </a:cubicBezTo>
                    <a:cubicBezTo>
                      <a:pt x="21" y="27"/>
                      <a:pt x="14" y="18"/>
                      <a:pt x="0" y="18"/>
                    </a:cubicBezTo>
                    <a:cubicBezTo>
                      <a:pt x="0" y="0"/>
                      <a:pt x="0" y="0"/>
                      <a:pt x="0" y="0"/>
                    </a:cubicBezTo>
                    <a:cubicBezTo>
                      <a:pt x="27" y="1"/>
                      <a:pt x="41" y="15"/>
                      <a:pt x="41" y="43"/>
                    </a:cubicBezTo>
                    <a:cubicBezTo>
                      <a:pt x="41" y="83"/>
                      <a:pt x="41" y="83"/>
                      <a:pt x="41" y="83"/>
                    </a:cubicBezTo>
                    <a:cubicBezTo>
                      <a:pt x="41" y="102"/>
                      <a:pt x="48" y="112"/>
                      <a:pt x="63" y="113"/>
                    </a:cubicBezTo>
                    <a:lnTo>
                      <a:pt x="63"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8" name="Freeform 155"/>
              <p:cNvSpPr>
                <a:spLocks/>
              </p:cNvSpPr>
              <p:nvPr userDrawn="1"/>
            </p:nvSpPr>
            <p:spPr bwMode="auto">
              <a:xfrm>
                <a:off x="7669"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Freeform 156"/>
              <p:cNvSpPr>
                <a:spLocks noEditPoints="1"/>
              </p:cNvSpPr>
              <p:nvPr userDrawn="1"/>
            </p:nvSpPr>
            <p:spPr bwMode="auto">
              <a:xfrm>
                <a:off x="2581" y="4015"/>
                <a:ext cx="218" cy="255"/>
              </a:xfrm>
              <a:custGeom>
                <a:avLst/>
                <a:gdLst>
                  <a:gd name="T0" fmla="*/ 175 w 179"/>
                  <a:gd name="T1" fmla="*/ 174 h 209"/>
                  <a:gd name="T2" fmla="*/ 134 w 179"/>
                  <a:gd name="T3" fmla="*/ 208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6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4 h 209"/>
                  <a:gd name="T40" fmla="*/ 161 w 179"/>
                  <a:gd name="T41" fmla="*/ 153 h 209"/>
                  <a:gd name="T42" fmla="*/ 88 w 179"/>
                  <a:gd name="T43" fmla="*/ 71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2 h 209"/>
                  <a:gd name="T64" fmla="*/ 109 w 179"/>
                  <a:gd name="T65" fmla="*/ 179 h 209"/>
                  <a:gd name="T66" fmla="*/ 115 w 179"/>
                  <a:gd name="T67" fmla="*/ 186 h 209"/>
                  <a:gd name="T68" fmla="*/ 119 w 179"/>
                  <a:gd name="T69" fmla="*/ 171 h 209"/>
                  <a:gd name="T70" fmla="*/ 127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0"/>
                    </a:cubicBezTo>
                    <a:cubicBezTo>
                      <a:pt x="172" y="171"/>
                      <a:pt x="174" y="172"/>
                      <a:pt x="175" y="174"/>
                    </a:cubicBezTo>
                    <a:cubicBezTo>
                      <a:pt x="179" y="176"/>
                      <a:pt x="179" y="180"/>
                      <a:pt x="176" y="183"/>
                    </a:cubicBezTo>
                    <a:cubicBezTo>
                      <a:pt x="173" y="186"/>
                      <a:pt x="170" y="187"/>
                      <a:pt x="166" y="189"/>
                    </a:cubicBezTo>
                    <a:cubicBezTo>
                      <a:pt x="157" y="193"/>
                      <a:pt x="148" y="199"/>
                      <a:pt x="141" y="206"/>
                    </a:cubicBezTo>
                    <a:cubicBezTo>
                      <a:pt x="139" y="208"/>
                      <a:pt x="137" y="208"/>
                      <a:pt x="134" y="208"/>
                    </a:cubicBezTo>
                    <a:cubicBezTo>
                      <a:pt x="131" y="209"/>
                      <a:pt x="128" y="209"/>
                      <a:pt x="125" y="208"/>
                    </a:cubicBezTo>
                    <a:cubicBezTo>
                      <a:pt x="122" y="207"/>
                      <a:pt x="119" y="206"/>
                      <a:pt x="118" y="203"/>
                    </a:cubicBezTo>
                    <a:cubicBezTo>
                      <a:pt x="116" y="199"/>
                      <a:pt x="113" y="198"/>
                      <a:pt x="110" y="198"/>
                    </a:cubicBezTo>
                    <a:cubicBezTo>
                      <a:pt x="100" y="198"/>
                      <a:pt x="90" y="198"/>
                      <a:pt x="81" y="198"/>
                    </a:cubicBezTo>
                    <a:cubicBezTo>
                      <a:pt x="76" y="198"/>
                      <a:pt x="72" y="199"/>
                      <a:pt x="68" y="201"/>
                    </a:cubicBezTo>
                    <a:cubicBezTo>
                      <a:pt x="66" y="203"/>
                      <a:pt x="64" y="204"/>
                      <a:pt x="63" y="205"/>
                    </a:cubicBezTo>
                    <a:cubicBezTo>
                      <a:pt x="58" y="208"/>
                      <a:pt x="54" y="209"/>
                      <a:pt x="48" y="207"/>
                    </a:cubicBezTo>
                    <a:cubicBezTo>
                      <a:pt x="43" y="205"/>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5" y="176"/>
                      <a:pt x="3" y="172"/>
                    </a:cubicBezTo>
                    <a:cubicBezTo>
                      <a:pt x="3" y="170"/>
                      <a:pt x="2" y="168"/>
                      <a:pt x="2" y="166"/>
                    </a:cubicBezTo>
                    <a:cubicBezTo>
                      <a:pt x="1" y="162"/>
                      <a:pt x="3" y="160"/>
                      <a:pt x="7" y="160"/>
                    </a:cubicBezTo>
                    <a:cubicBezTo>
                      <a:pt x="10" y="160"/>
                      <a:pt x="12" y="159"/>
                      <a:pt x="14" y="159"/>
                    </a:cubicBezTo>
                    <a:cubicBezTo>
                      <a:pt x="19" y="158"/>
                      <a:pt x="22" y="155"/>
                      <a:pt x="23" y="150"/>
                    </a:cubicBezTo>
                    <a:cubicBezTo>
                      <a:pt x="23" y="150"/>
                      <a:pt x="23" y="149"/>
                      <a:pt x="23" y="149"/>
                    </a:cubicBezTo>
                    <a:cubicBezTo>
                      <a:pt x="25" y="153"/>
                      <a:pt x="23" y="160"/>
                      <a:pt x="17" y="161"/>
                    </a:cubicBezTo>
                    <a:cubicBezTo>
                      <a:pt x="15" y="162"/>
                      <a:pt x="12" y="162"/>
                      <a:pt x="9" y="162"/>
                    </a:cubicBezTo>
                    <a:cubicBezTo>
                      <a:pt x="9" y="162"/>
                      <a:pt x="9" y="162"/>
                      <a:pt x="9" y="162"/>
                    </a:cubicBezTo>
                    <a:cubicBezTo>
                      <a:pt x="5" y="162"/>
                      <a:pt x="3" y="164"/>
                      <a:pt x="4" y="167"/>
                    </a:cubicBezTo>
                    <a:cubicBezTo>
                      <a:pt x="5" y="169"/>
                      <a:pt x="6" y="171"/>
                      <a:pt x="6" y="172"/>
                    </a:cubicBezTo>
                    <a:cubicBezTo>
                      <a:pt x="8" y="176"/>
                      <a:pt x="8" y="180"/>
                      <a:pt x="6" y="183"/>
                    </a:cubicBezTo>
                    <a:cubicBezTo>
                      <a:pt x="6" y="185"/>
                      <a:pt x="5" y="186"/>
                      <a:pt x="5" y="188"/>
                    </a:cubicBezTo>
                    <a:cubicBezTo>
                      <a:pt x="4" y="190"/>
                      <a:pt x="4" y="191"/>
                      <a:pt x="7" y="192"/>
                    </a:cubicBezTo>
                    <a:cubicBezTo>
                      <a:pt x="9" y="193"/>
                      <a:pt x="11" y="194"/>
                      <a:pt x="13" y="194"/>
                    </a:cubicBezTo>
                    <a:cubicBezTo>
                      <a:pt x="24" y="196"/>
                      <a:pt x="35" y="199"/>
                      <a:pt x="46" y="202"/>
                    </a:cubicBezTo>
                    <a:cubicBezTo>
                      <a:pt x="49" y="203"/>
                      <a:pt x="52" y="204"/>
                      <a:pt x="55" y="203"/>
                    </a:cubicBezTo>
                    <a:cubicBezTo>
                      <a:pt x="63" y="202"/>
                      <a:pt x="66" y="197"/>
                      <a:pt x="65" y="190"/>
                    </a:cubicBezTo>
                    <a:cubicBezTo>
                      <a:pt x="64" y="186"/>
                      <a:pt x="62" y="182"/>
                      <a:pt x="60" y="179"/>
                    </a:cubicBezTo>
                    <a:cubicBezTo>
                      <a:pt x="55" y="170"/>
                      <a:pt x="49" y="160"/>
                      <a:pt x="42" y="152"/>
                    </a:cubicBezTo>
                    <a:cubicBezTo>
                      <a:pt x="40" y="149"/>
                      <a:pt x="37" y="147"/>
                      <a:pt x="35" y="145"/>
                    </a:cubicBezTo>
                    <a:cubicBezTo>
                      <a:pt x="32" y="143"/>
                      <a:pt x="30" y="143"/>
                      <a:pt x="27" y="144"/>
                    </a:cubicBezTo>
                    <a:cubicBezTo>
                      <a:pt x="26" y="145"/>
                      <a:pt x="25" y="145"/>
                      <a:pt x="25" y="143"/>
                    </a:cubicBezTo>
                    <a:cubicBezTo>
                      <a:pt x="24" y="140"/>
                      <a:pt x="24" y="137"/>
                      <a:pt x="25" y="134"/>
                    </a:cubicBezTo>
                    <a:cubicBezTo>
                      <a:pt x="26" y="132"/>
                      <a:pt x="26" y="131"/>
                      <a:pt x="27" y="130"/>
                    </a:cubicBezTo>
                    <a:cubicBezTo>
                      <a:pt x="30" y="125"/>
                      <a:pt x="33" y="118"/>
                      <a:pt x="35" y="112"/>
                    </a:cubicBezTo>
                    <a:cubicBezTo>
                      <a:pt x="37" y="106"/>
                      <a:pt x="39" y="100"/>
                      <a:pt x="43" y="94"/>
                    </a:cubicBezTo>
                    <a:cubicBezTo>
                      <a:pt x="46" y="90"/>
                      <a:pt x="49" y="87"/>
                      <a:pt x="52" y="83"/>
                    </a:cubicBezTo>
                    <a:cubicBezTo>
                      <a:pt x="54" y="80"/>
                      <a:pt x="56" y="76"/>
                      <a:pt x="58" y="73"/>
                    </a:cubicBezTo>
                    <a:cubicBezTo>
                      <a:pt x="60" y="70"/>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3"/>
                      <a:pt x="122" y="30"/>
                      <a:pt x="122" y="36"/>
                    </a:cubicBezTo>
                    <a:cubicBezTo>
                      <a:pt x="123" y="40"/>
                      <a:pt x="122" y="43"/>
                      <a:pt x="123" y="47"/>
                    </a:cubicBezTo>
                    <a:cubicBezTo>
                      <a:pt x="124" y="61"/>
                      <a:pt x="128" y="74"/>
                      <a:pt x="139"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8"/>
                      <a:pt x="154" y="150"/>
                      <a:pt x="153" y="152"/>
                    </a:cubicBezTo>
                    <a:cubicBezTo>
                      <a:pt x="151" y="154"/>
                      <a:pt x="149" y="156"/>
                      <a:pt x="147" y="158"/>
                    </a:cubicBezTo>
                    <a:cubicBezTo>
                      <a:pt x="144" y="160"/>
                      <a:pt x="139" y="161"/>
                      <a:pt x="135" y="159"/>
                    </a:cubicBezTo>
                    <a:cubicBezTo>
                      <a:pt x="133" y="159"/>
                      <a:pt x="132" y="157"/>
                      <a:pt x="131" y="155"/>
                    </a:cubicBezTo>
                    <a:cubicBezTo>
                      <a:pt x="130" y="154"/>
                      <a:pt x="129" y="152"/>
                      <a:pt x="128" y="150"/>
                    </a:cubicBezTo>
                    <a:cubicBezTo>
                      <a:pt x="127" y="149"/>
                      <a:pt x="126" y="148"/>
                      <a:pt x="125" y="148"/>
                    </a:cubicBezTo>
                    <a:cubicBezTo>
                      <a:pt x="123" y="148"/>
                      <a:pt x="122" y="150"/>
                      <a:pt x="121" y="151"/>
                    </a:cubicBezTo>
                    <a:cubicBezTo>
                      <a:pt x="120" y="155"/>
                      <a:pt x="120" y="159"/>
                      <a:pt x="121" y="163"/>
                    </a:cubicBezTo>
                    <a:cubicBezTo>
                      <a:pt x="123" y="171"/>
                      <a:pt x="123" y="178"/>
                      <a:pt x="122" y="186"/>
                    </a:cubicBezTo>
                    <a:cubicBezTo>
                      <a:pt x="122" y="189"/>
                      <a:pt x="121" y="191"/>
                      <a:pt x="122" y="194"/>
                    </a:cubicBezTo>
                    <a:cubicBezTo>
                      <a:pt x="123" y="201"/>
                      <a:pt x="129" y="205"/>
                      <a:pt x="136" y="202"/>
                    </a:cubicBezTo>
                    <a:cubicBezTo>
                      <a:pt x="139" y="201"/>
                      <a:pt x="142" y="199"/>
                      <a:pt x="145" y="197"/>
                    </a:cubicBezTo>
                    <a:cubicBezTo>
                      <a:pt x="151" y="192"/>
                      <a:pt x="158" y="189"/>
                      <a:pt x="165" y="186"/>
                    </a:cubicBezTo>
                    <a:cubicBezTo>
                      <a:pt x="168" y="185"/>
                      <a:pt x="171" y="184"/>
                      <a:pt x="173" y="182"/>
                    </a:cubicBezTo>
                    <a:cubicBezTo>
                      <a:pt x="174" y="182"/>
                      <a:pt x="174" y="181"/>
                      <a:pt x="175" y="181"/>
                    </a:cubicBezTo>
                    <a:cubicBezTo>
                      <a:pt x="176" y="180"/>
                      <a:pt x="176" y="178"/>
                      <a:pt x="175" y="177"/>
                    </a:cubicBezTo>
                    <a:cubicBezTo>
                      <a:pt x="174" y="176"/>
                      <a:pt x="172" y="175"/>
                      <a:pt x="171" y="174"/>
                    </a:cubicBezTo>
                    <a:cubicBezTo>
                      <a:pt x="170" y="173"/>
                      <a:pt x="169" y="173"/>
                      <a:pt x="168" y="172"/>
                    </a:cubicBezTo>
                    <a:cubicBezTo>
                      <a:pt x="163" y="171"/>
                      <a:pt x="161" y="168"/>
                      <a:pt x="160" y="163"/>
                    </a:cubicBezTo>
                    <a:cubicBezTo>
                      <a:pt x="160" y="160"/>
                      <a:pt x="160" y="158"/>
                      <a:pt x="160" y="155"/>
                    </a:cubicBezTo>
                    <a:cubicBezTo>
                      <a:pt x="160" y="154"/>
                      <a:pt x="160" y="154"/>
                      <a:pt x="161" y="153"/>
                    </a:cubicBezTo>
                    <a:close/>
                    <a:moveTo>
                      <a:pt x="71" y="69"/>
                    </a:moveTo>
                    <a:cubicBezTo>
                      <a:pt x="71" y="69"/>
                      <a:pt x="71" y="69"/>
                      <a:pt x="71" y="69"/>
                    </a:cubicBezTo>
                    <a:cubicBezTo>
                      <a:pt x="73" y="71"/>
                      <a:pt x="74" y="73"/>
                      <a:pt x="77" y="73"/>
                    </a:cubicBezTo>
                    <a:cubicBezTo>
                      <a:pt x="81" y="74"/>
                      <a:pt x="85" y="73"/>
                      <a:pt x="88" y="71"/>
                    </a:cubicBezTo>
                    <a:cubicBezTo>
                      <a:pt x="91" y="70"/>
                      <a:pt x="94" y="68"/>
                      <a:pt x="98" y="67"/>
                    </a:cubicBezTo>
                    <a:cubicBezTo>
                      <a:pt x="99" y="66"/>
                      <a:pt x="100" y="66"/>
                      <a:pt x="101" y="65"/>
                    </a:cubicBezTo>
                    <a:cubicBezTo>
                      <a:pt x="101" y="65"/>
                      <a:pt x="102" y="66"/>
                      <a:pt x="102" y="66"/>
                    </a:cubicBezTo>
                    <a:cubicBezTo>
                      <a:pt x="102" y="67"/>
                      <a:pt x="102" y="67"/>
                      <a:pt x="102" y="68"/>
                    </a:cubicBezTo>
                    <a:cubicBezTo>
                      <a:pt x="101" y="68"/>
                      <a:pt x="100" y="69"/>
                      <a:pt x="99" y="69"/>
                    </a:cubicBezTo>
                    <a:cubicBezTo>
                      <a:pt x="95" y="71"/>
                      <a:pt x="91" y="74"/>
                      <a:pt x="87" y="77"/>
                    </a:cubicBezTo>
                    <a:cubicBezTo>
                      <a:pt x="85" y="78"/>
                      <a:pt x="83" y="80"/>
                      <a:pt x="81" y="81"/>
                    </a:cubicBezTo>
                    <a:cubicBezTo>
                      <a:pt x="78" y="82"/>
                      <a:pt x="76" y="82"/>
                      <a:pt x="73" y="79"/>
                    </a:cubicBezTo>
                    <a:cubicBezTo>
                      <a:pt x="71" y="77"/>
                      <a:pt x="69" y="74"/>
                      <a:pt x="67" y="71"/>
                    </a:cubicBezTo>
                    <a:cubicBezTo>
                      <a:pt x="67" y="71"/>
                      <a:pt x="66" y="70"/>
                      <a:pt x="65" y="69"/>
                    </a:cubicBezTo>
                    <a:cubicBezTo>
                      <a:pt x="65" y="70"/>
                      <a:pt x="65" y="70"/>
                      <a:pt x="65" y="71"/>
                    </a:cubicBezTo>
                    <a:cubicBezTo>
                      <a:pt x="65"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7" y="122"/>
                      <a:pt x="37" y="122"/>
                      <a:pt x="37" y="123"/>
                    </a:cubicBezTo>
                    <a:cubicBezTo>
                      <a:pt x="35" y="127"/>
                      <a:pt x="35" y="131"/>
                      <a:pt x="37" y="135"/>
                    </a:cubicBezTo>
                    <a:cubicBezTo>
                      <a:pt x="37" y="138"/>
                      <a:pt x="38" y="140"/>
                      <a:pt x="40" y="143"/>
                    </a:cubicBezTo>
                    <a:cubicBezTo>
                      <a:pt x="44" y="146"/>
                      <a:pt x="48" y="150"/>
                      <a:pt x="52" y="153"/>
                    </a:cubicBezTo>
                    <a:cubicBezTo>
                      <a:pt x="57" y="157"/>
                      <a:pt x="62" y="161"/>
                      <a:pt x="67" y="165"/>
                    </a:cubicBezTo>
                    <a:cubicBezTo>
                      <a:pt x="69" y="167"/>
                      <a:pt x="70" y="169"/>
                      <a:pt x="69" y="172"/>
                    </a:cubicBezTo>
                    <a:cubicBezTo>
                      <a:pt x="68" y="175"/>
                      <a:pt x="67" y="176"/>
                      <a:pt x="64" y="177"/>
                    </a:cubicBezTo>
                    <a:cubicBezTo>
                      <a:pt x="64" y="177"/>
                      <a:pt x="63" y="178"/>
                      <a:pt x="62" y="178"/>
                    </a:cubicBezTo>
                    <a:cubicBezTo>
                      <a:pt x="63" y="180"/>
                      <a:pt x="65" y="181"/>
                      <a:pt x="66" y="183"/>
                    </a:cubicBezTo>
                    <a:cubicBezTo>
                      <a:pt x="68" y="186"/>
                      <a:pt x="69" y="189"/>
                      <a:pt x="69" y="192"/>
                    </a:cubicBezTo>
                    <a:cubicBezTo>
                      <a:pt x="70" y="194"/>
                      <a:pt x="70" y="195"/>
                      <a:pt x="70" y="197"/>
                    </a:cubicBezTo>
                    <a:cubicBezTo>
                      <a:pt x="70" y="197"/>
                      <a:pt x="70" y="197"/>
                      <a:pt x="71" y="197"/>
                    </a:cubicBezTo>
                    <a:cubicBezTo>
                      <a:pt x="73" y="195"/>
                      <a:pt x="73" y="193"/>
                      <a:pt x="72" y="191"/>
                    </a:cubicBezTo>
                    <a:cubicBezTo>
                      <a:pt x="72" y="188"/>
                      <a:pt x="70" y="186"/>
                      <a:pt x="69" y="184"/>
                    </a:cubicBezTo>
                    <a:cubicBezTo>
                      <a:pt x="68" y="184"/>
                      <a:pt x="68" y="183"/>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4" y="174"/>
                    </a:cubicBezTo>
                    <a:cubicBezTo>
                      <a:pt x="114" y="173"/>
                      <a:pt x="115" y="172"/>
                      <a:pt x="116" y="173"/>
                    </a:cubicBezTo>
                    <a:cubicBezTo>
                      <a:pt x="116" y="173"/>
                      <a:pt x="117" y="174"/>
                      <a:pt x="117" y="174"/>
                    </a:cubicBezTo>
                    <a:cubicBezTo>
                      <a:pt x="117" y="178"/>
                      <a:pt x="117" y="182"/>
                      <a:pt x="115" y="186"/>
                    </a:cubicBezTo>
                    <a:cubicBezTo>
                      <a:pt x="115" y="188"/>
                      <a:pt x="114" y="190"/>
                      <a:pt x="114" y="193"/>
                    </a:cubicBezTo>
                    <a:cubicBezTo>
                      <a:pt x="113" y="195"/>
                      <a:pt x="114" y="195"/>
                      <a:pt x="116" y="195"/>
                    </a:cubicBezTo>
                    <a:cubicBezTo>
                      <a:pt x="117" y="191"/>
                      <a:pt x="118" y="187"/>
                      <a:pt x="119" y="182"/>
                    </a:cubicBezTo>
                    <a:cubicBezTo>
                      <a:pt x="119" y="178"/>
                      <a:pt x="120" y="175"/>
                      <a:pt x="119" y="171"/>
                    </a:cubicBezTo>
                    <a:cubicBezTo>
                      <a:pt x="119" y="167"/>
                      <a:pt x="118" y="163"/>
                      <a:pt x="118" y="160"/>
                    </a:cubicBezTo>
                    <a:cubicBezTo>
                      <a:pt x="118" y="156"/>
                      <a:pt x="118" y="153"/>
                      <a:pt x="119" y="150"/>
                    </a:cubicBezTo>
                    <a:cubicBezTo>
                      <a:pt x="120" y="147"/>
                      <a:pt x="122" y="146"/>
                      <a:pt x="126" y="146"/>
                    </a:cubicBezTo>
                    <a:cubicBezTo>
                      <a:pt x="126" y="146"/>
                      <a:pt x="126" y="146"/>
                      <a:pt x="127" y="146"/>
                    </a:cubicBezTo>
                    <a:cubicBezTo>
                      <a:pt x="127" y="142"/>
                      <a:pt x="129" y="140"/>
                      <a:pt x="132" y="139"/>
                    </a:cubicBezTo>
                    <a:cubicBezTo>
                      <a:pt x="137" y="138"/>
                      <a:pt x="142" y="138"/>
                      <a:pt x="146" y="141"/>
                    </a:cubicBezTo>
                    <a:cubicBezTo>
                      <a:pt x="145" y="138"/>
                      <a:pt x="142" y="137"/>
                      <a:pt x="140" y="136"/>
                    </a:cubicBezTo>
                    <a:cubicBezTo>
                      <a:pt x="145" y="119"/>
                      <a:pt x="136" y="97"/>
                      <a:pt x="126" y="92"/>
                    </a:cubicBezTo>
                    <a:cubicBezTo>
                      <a:pt x="131" y="97"/>
                      <a:pt x="134" y="103"/>
                      <a:pt x="136" y="110"/>
                    </a:cubicBezTo>
                    <a:cubicBezTo>
                      <a:pt x="139" y="117"/>
                      <a:pt x="140" y="124"/>
                      <a:pt x="139" y="131"/>
                    </a:cubicBezTo>
                    <a:cubicBezTo>
                      <a:pt x="138" y="135"/>
                      <a:pt x="136" y="138"/>
                      <a:pt x="132" y="138"/>
                    </a:cubicBezTo>
                    <a:cubicBezTo>
                      <a:pt x="130" y="138"/>
                      <a:pt x="128" y="137"/>
                      <a:pt x="128" y="135"/>
                    </a:cubicBezTo>
                    <a:cubicBezTo>
                      <a:pt x="127" y="133"/>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3"/>
                    </a:cubicBezTo>
                    <a:cubicBezTo>
                      <a:pt x="106" y="70"/>
                      <a:pt x="105" y="67"/>
                      <a:pt x="106" y="64"/>
                    </a:cubicBezTo>
                    <a:cubicBezTo>
                      <a:pt x="106" y="62"/>
                      <a:pt x="106" y="60"/>
                      <a:pt x="107" y="59"/>
                    </a:cubicBezTo>
                    <a:cubicBezTo>
                      <a:pt x="107" y="56"/>
                      <a:pt x="106" y="54"/>
                      <a:pt x="104" y="53"/>
                    </a:cubicBezTo>
                    <a:cubicBezTo>
                      <a:pt x="100" y="52"/>
                      <a:pt x="97" y="51"/>
                      <a:pt x="94" y="49"/>
                    </a:cubicBezTo>
                    <a:cubicBezTo>
                      <a:pt x="91" y="49"/>
                      <a:pt x="91" y="47"/>
                      <a:pt x="91" y="44"/>
                    </a:cubicBezTo>
                    <a:cubicBezTo>
                      <a:pt x="91" y="43"/>
                      <a:pt x="91" y="42"/>
                      <a:pt x="92" y="40"/>
                    </a:cubicBezTo>
                    <a:cubicBezTo>
                      <a:pt x="93" y="37"/>
                      <a:pt x="95" y="36"/>
                      <a:pt x="98" y="37"/>
                    </a:cubicBezTo>
                    <a:cubicBezTo>
                      <a:pt x="100" y="37"/>
                      <a:pt x="101" y="38"/>
                      <a:pt x="102" y="40"/>
                    </a:cubicBezTo>
                    <a:cubicBezTo>
                      <a:pt x="103" y="42"/>
                      <a:pt x="103" y="45"/>
                      <a:pt x="102" y="48"/>
                    </a:cubicBezTo>
                    <a:cubicBezTo>
                      <a:pt x="102" y="49"/>
                      <a:pt x="101" y="49"/>
                      <a:pt x="102" y="50"/>
                    </a:cubicBezTo>
                    <a:cubicBezTo>
                      <a:pt x="104" y="51"/>
                      <a:pt x="107" y="50"/>
                      <a:pt x="107" y="48"/>
                    </a:cubicBezTo>
                    <a:cubicBezTo>
                      <a:pt x="108" y="44"/>
                      <a:pt x="107" y="39"/>
                      <a:pt x="105" y="35"/>
                    </a:cubicBezTo>
                    <a:cubicBezTo>
                      <a:pt x="104" y="32"/>
                      <a:pt x="100" y="29"/>
                      <a:pt x="96" y="30"/>
                    </a:cubicBezTo>
                    <a:cubicBezTo>
                      <a:pt x="91" y="30"/>
                      <a:pt x="88" y="33"/>
                      <a:pt x="87" y="38"/>
                    </a:cubicBezTo>
                    <a:cubicBezTo>
                      <a:pt x="87" y="39"/>
                      <a:pt x="87" y="40"/>
                      <a:pt x="87" y="42"/>
                    </a:cubicBezTo>
                    <a:cubicBezTo>
                      <a:pt x="87" y="43"/>
                      <a:pt x="87" y="45"/>
                      <a:pt x="87" y="47"/>
                    </a:cubicBezTo>
                    <a:cubicBezTo>
                      <a:pt x="85" y="45"/>
                      <a:pt x="83" y="46"/>
                      <a:pt x="81" y="46"/>
                    </a:cubicBezTo>
                    <a:cubicBezTo>
                      <a:pt x="80" y="46"/>
                      <a:pt x="80" y="46"/>
                      <a:pt x="80" y="46"/>
                    </a:cubicBezTo>
                    <a:cubicBezTo>
                      <a:pt x="78" y="46"/>
                      <a:pt x="78" y="45"/>
                      <a:pt x="78" y="44"/>
                    </a:cubicBezTo>
                    <a:cubicBezTo>
                      <a:pt x="77" y="41"/>
                      <a:pt x="77" y="39"/>
                      <a:pt x="76" y="36"/>
                    </a:cubicBezTo>
                    <a:cubicBezTo>
                      <a:pt x="76" y="35"/>
                      <a:pt x="76" y="35"/>
                      <a:pt x="76" y="34"/>
                    </a:cubicBezTo>
                    <a:cubicBezTo>
                      <a:pt x="75" y="32"/>
                      <a:pt x="73" y="31"/>
                      <a:pt x="70" y="31"/>
                    </a:cubicBezTo>
                    <a:cubicBezTo>
                      <a:pt x="68" y="31"/>
                      <a:pt x="67" y="32"/>
                      <a:pt x="66" y="34"/>
                    </a:cubicBezTo>
                    <a:cubicBezTo>
                      <a:pt x="63" y="40"/>
                      <a:pt x="63" y="45"/>
                      <a:pt x="66" y="50"/>
                    </a:cubicBezTo>
                    <a:cubicBezTo>
                      <a:pt x="66" y="50"/>
                      <a:pt x="67" y="51"/>
                      <a:pt x="68" y="51"/>
                    </a:cubicBezTo>
                    <a:cubicBezTo>
                      <a:pt x="69" y="51"/>
                      <a:pt x="69" y="50"/>
                      <a:pt x="70" y="49"/>
                    </a:cubicBezTo>
                    <a:cubicBezTo>
                      <a:pt x="69" y="48"/>
                      <a:pt x="68" y="48"/>
                      <a:pt x="67" y="47"/>
                    </a:cubicBezTo>
                    <a:cubicBezTo>
                      <a:pt x="66" y="45"/>
                      <a:pt x="65" y="42"/>
                      <a:pt x="66" y="40"/>
                    </a:cubicBezTo>
                    <a:cubicBezTo>
                      <a:pt x="67" y="37"/>
                      <a:pt x="71" y="36"/>
                      <a:pt x="73" y="38"/>
                    </a:cubicBezTo>
                    <a:cubicBezTo>
                      <a:pt x="75" y="40"/>
                      <a:pt x="75" y="42"/>
                      <a:pt x="75" y="44"/>
                    </a:cubicBezTo>
                    <a:cubicBezTo>
                      <a:pt x="75" y="46"/>
                      <a:pt x="74" y="47"/>
                      <a:pt x="73" y="48"/>
                    </a:cubicBezTo>
                    <a:cubicBezTo>
                      <a:pt x="73" y="48"/>
                      <a:pt x="72" y="49"/>
                      <a:pt x="72" y="49"/>
                    </a:cubicBezTo>
                    <a:cubicBezTo>
                      <a:pt x="71" y="51"/>
                      <a:pt x="69" y="52"/>
                      <a:pt x="66" y="54"/>
                    </a:cubicBezTo>
                    <a:cubicBezTo>
                      <a:pt x="65" y="54"/>
                      <a:pt x="65" y="56"/>
                      <a:pt x="64" y="57"/>
                    </a:cubicBezTo>
                    <a:cubicBezTo>
                      <a:pt x="63" y="58"/>
                      <a:pt x="64" y="59"/>
                      <a:pt x="65" y="60"/>
                    </a:cubicBezTo>
                    <a:cubicBezTo>
                      <a:pt x="66" y="60"/>
                      <a:pt x="67" y="61"/>
                      <a:pt x="68" y="62"/>
                    </a:cubicBezTo>
                    <a:cubicBezTo>
                      <a:pt x="71" y="66"/>
                      <a:pt x="74" y="66"/>
                      <a:pt x="78" y="66"/>
                    </a:cubicBezTo>
                    <a:cubicBezTo>
                      <a:pt x="82" y="66"/>
                      <a:pt x="87" y="65"/>
                      <a:pt x="91" y="63"/>
                    </a:cubicBezTo>
                    <a:cubicBezTo>
                      <a:pt x="95" y="62"/>
                      <a:pt x="98" y="62"/>
                      <a:pt x="101" y="58"/>
                    </a:cubicBezTo>
                    <a:cubicBezTo>
                      <a:pt x="101" y="58"/>
                      <a:pt x="102" y="58"/>
                      <a:pt x="103" y="58"/>
                    </a:cubicBezTo>
                    <a:cubicBezTo>
                      <a:pt x="103" y="58"/>
                      <a:pt x="103" y="60"/>
                      <a:pt x="103" y="60"/>
                    </a:cubicBezTo>
                    <a:cubicBezTo>
                      <a:pt x="103" y="61"/>
                      <a:pt x="102" y="61"/>
                      <a:pt x="102" y="61"/>
                    </a:cubicBezTo>
                    <a:cubicBezTo>
                      <a:pt x="97" y="63"/>
                      <a:pt x="92" y="65"/>
                      <a:pt x="86" y="67"/>
                    </a:cubicBezTo>
                    <a:cubicBezTo>
                      <a:pt x="83" y="69"/>
                      <a:pt x="79" y="70"/>
                      <a:pt x="74" y="69"/>
                    </a:cubicBezTo>
                    <a:cubicBezTo>
                      <a:pt x="73" y="69"/>
                      <a:pt x="72" y="69"/>
                      <a:pt x="71" y="69"/>
                    </a:cubicBezTo>
                    <a:close/>
                    <a:moveTo>
                      <a:pt x="73" y="45"/>
                    </a:moveTo>
                    <a:cubicBezTo>
                      <a:pt x="73" y="43"/>
                      <a:pt x="73" y="41"/>
                      <a:pt x="72" y="40"/>
                    </a:cubicBezTo>
                    <a:cubicBezTo>
                      <a:pt x="72" y="40"/>
                      <a:pt x="71" y="40"/>
                      <a:pt x="71" y="40"/>
                    </a:cubicBezTo>
                    <a:cubicBezTo>
                      <a:pt x="71" y="40"/>
                      <a:pt x="70" y="41"/>
                      <a:pt x="70" y="41"/>
                    </a:cubicBezTo>
                    <a:cubicBezTo>
                      <a:pt x="72" y="41"/>
                      <a:pt x="72" y="43"/>
                      <a:pt x="72" y="44"/>
                    </a:cubicBezTo>
                    <a:cubicBezTo>
                      <a:pt x="72" y="44"/>
                      <a:pt x="72" y="45"/>
                      <a:pt x="73" y="45"/>
                    </a:cubicBezTo>
                    <a:close/>
                    <a:moveTo>
                      <a:pt x="97" y="39"/>
                    </a:moveTo>
                    <a:cubicBezTo>
                      <a:pt x="99" y="40"/>
                      <a:pt x="99" y="42"/>
                      <a:pt x="100" y="44"/>
                    </a:cubicBezTo>
                    <a:cubicBezTo>
                      <a:pt x="100" y="43"/>
                      <a:pt x="101" y="43"/>
                      <a:pt x="101" y="43"/>
                    </a:cubicBezTo>
                    <a:cubicBezTo>
                      <a:pt x="101" y="41"/>
                      <a:pt x="100" y="40"/>
                      <a:pt x="99" y="39"/>
                    </a:cubicBezTo>
                    <a:cubicBezTo>
                      <a:pt x="99"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0" name="Freeform 157"/>
              <p:cNvSpPr>
                <a:spLocks/>
              </p:cNvSpPr>
              <p:nvPr userDrawn="1"/>
            </p:nvSpPr>
            <p:spPr bwMode="auto">
              <a:xfrm>
                <a:off x="2672" y="4073"/>
                <a:ext cx="2"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Freeform 158"/>
              <p:cNvSpPr>
                <a:spLocks/>
              </p:cNvSpPr>
              <p:nvPr userDrawn="1"/>
            </p:nvSpPr>
            <p:spPr bwMode="auto">
              <a:xfrm>
                <a:off x="2684" y="4073"/>
                <a:ext cx="5" cy="2"/>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2" name="Freeform 159"/>
              <p:cNvSpPr>
                <a:spLocks/>
              </p:cNvSpPr>
              <p:nvPr userDrawn="1"/>
            </p:nvSpPr>
            <p:spPr bwMode="auto">
              <a:xfrm>
                <a:off x="2043"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3"/>
                    </a:cubicBezTo>
                    <a:cubicBezTo>
                      <a:pt x="23" y="46"/>
                      <a:pt x="19" y="48"/>
                      <a:pt x="14" y="50"/>
                    </a:cubicBezTo>
                    <a:cubicBezTo>
                      <a:pt x="9" y="52"/>
                      <a:pt x="5" y="53"/>
                      <a:pt x="0" y="54"/>
                    </a:cubicBezTo>
                    <a:cubicBezTo>
                      <a:pt x="0" y="31"/>
                      <a:pt x="0" y="31"/>
                      <a:pt x="0" y="31"/>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Freeform 160"/>
              <p:cNvSpPr>
                <a:spLocks/>
              </p:cNvSpPr>
              <p:nvPr userDrawn="1"/>
            </p:nvSpPr>
            <p:spPr bwMode="auto">
              <a:xfrm>
                <a:off x="2193" y="2562"/>
                <a:ext cx="82"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4" name="Freeform 161"/>
              <p:cNvSpPr>
                <a:spLocks/>
              </p:cNvSpPr>
              <p:nvPr userDrawn="1"/>
            </p:nvSpPr>
            <p:spPr bwMode="auto">
              <a:xfrm>
                <a:off x="2342" y="2562"/>
                <a:ext cx="82"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8" y="52"/>
                      <a:pt x="4" y="53"/>
                      <a:pt x="0" y="54"/>
                    </a:cubicBezTo>
                    <a:cubicBezTo>
                      <a:pt x="0" y="31"/>
                      <a:pt x="0" y="31"/>
                      <a:pt x="0" y="31"/>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162"/>
              <p:cNvSpPr>
                <a:spLocks noEditPoints="1"/>
              </p:cNvSpPr>
              <p:nvPr userDrawn="1"/>
            </p:nvSpPr>
            <p:spPr bwMode="auto">
              <a:xfrm>
                <a:off x="249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163"/>
              <p:cNvSpPr>
                <a:spLocks/>
              </p:cNvSpPr>
              <p:nvPr userDrawn="1"/>
            </p:nvSpPr>
            <p:spPr bwMode="auto">
              <a:xfrm>
                <a:off x="2687"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164"/>
              <p:cNvSpPr>
                <a:spLocks/>
              </p:cNvSpPr>
              <p:nvPr userDrawn="1"/>
            </p:nvSpPr>
            <p:spPr bwMode="auto">
              <a:xfrm>
                <a:off x="2837"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65"/>
              <p:cNvSpPr>
                <a:spLocks noEditPoints="1"/>
              </p:cNvSpPr>
              <p:nvPr userDrawn="1"/>
            </p:nvSpPr>
            <p:spPr bwMode="auto">
              <a:xfrm>
                <a:off x="2985"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66"/>
              <p:cNvSpPr>
                <a:spLocks/>
              </p:cNvSpPr>
              <p:nvPr userDrawn="1"/>
            </p:nvSpPr>
            <p:spPr bwMode="auto">
              <a:xfrm>
                <a:off x="3182"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3"/>
                    </a:cubicBezTo>
                    <a:cubicBezTo>
                      <a:pt x="23" y="46"/>
                      <a:pt x="19" y="48"/>
                      <a:pt x="14" y="50"/>
                    </a:cubicBezTo>
                    <a:cubicBezTo>
                      <a:pt x="9" y="52"/>
                      <a:pt x="5" y="53"/>
                      <a:pt x="0" y="54"/>
                    </a:cubicBezTo>
                    <a:cubicBezTo>
                      <a:pt x="0" y="31"/>
                      <a:pt x="0" y="31"/>
                      <a:pt x="0" y="31"/>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67"/>
              <p:cNvSpPr>
                <a:spLocks/>
              </p:cNvSpPr>
              <p:nvPr userDrawn="1"/>
            </p:nvSpPr>
            <p:spPr bwMode="auto">
              <a:xfrm>
                <a:off x="3332" y="2562"/>
                <a:ext cx="83"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5" y="39"/>
                      <a:pt x="31" y="41"/>
                      <a:pt x="27" y="43"/>
                    </a:cubicBezTo>
                    <a:cubicBezTo>
                      <a:pt x="22" y="46"/>
                      <a:pt x="18" y="48"/>
                      <a:pt x="14"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68"/>
              <p:cNvSpPr>
                <a:spLocks noEditPoints="1"/>
              </p:cNvSpPr>
              <p:nvPr userDrawn="1"/>
            </p:nvSpPr>
            <p:spPr bwMode="auto">
              <a:xfrm>
                <a:off x="371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69"/>
              <p:cNvSpPr>
                <a:spLocks noEditPoints="1"/>
              </p:cNvSpPr>
              <p:nvPr userDrawn="1"/>
            </p:nvSpPr>
            <p:spPr bwMode="auto">
              <a:xfrm>
                <a:off x="3905"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70"/>
              <p:cNvSpPr>
                <a:spLocks noEditPoints="1"/>
              </p:cNvSpPr>
              <p:nvPr userDrawn="1"/>
            </p:nvSpPr>
            <p:spPr bwMode="auto">
              <a:xfrm>
                <a:off x="410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2" y="36"/>
                      <a:pt x="17" y="27"/>
                    </a:cubicBezTo>
                    <a:cubicBezTo>
                      <a:pt x="23" y="18"/>
                      <a:pt x="30" y="11"/>
                      <a:pt x="38" y="7"/>
                    </a:cubicBezTo>
                    <a:cubicBezTo>
                      <a:pt x="46" y="2"/>
                      <a:pt x="55"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4" name="Freeform 171"/>
              <p:cNvSpPr>
                <a:spLocks noEditPoints="1"/>
              </p:cNvSpPr>
              <p:nvPr userDrawn="1"/>
            </p:nvSpPr>
            <p:spPr bwMode="auto">
              <a:xfrm>
                <a:off x="4285" y="2567"/>
                <a:ext cx="189" cy="219"/>
              </a:xfrm>
              <a:custGeom>
                <a:avLst/>
                <a:gdLst>
                  <a:gd name="T0" fmla="*/ 189 w 189"/>
                  <a:gd name="T1" fmla="*/ 68 h 219"/>
                  <a:gd name="T2" fmla="*/ 184 w 189"/>
                  <a:gd name="T3" fmla="*/ 86 h 219"/>
                  <a:gd name="T4" fmla="*/ 141 w 189"/>
                  <a:gd name="T5" fmla="*/ 86 h 219"/>
                  <a:gd name="T6" fmla="*/ 130 w 189"/>
                  <a:gd name="T7" fmla="*/ 136 h 219"/>
                  <a:gd name="T8" fmla="*/ 178 w 189"/>
                  <a:gd name="T9" fmla="*/ 136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3 w 189"/>
                  <a:gd name="T31" fmla="*/ 136 h 219"/>
                  <a:gd name="T32" fmla="*/ 48 w 189"/>
                  <a:gd name="T33" fmla="*/ 136 h 219"/>
                  <a:gd name="T34" fmla="*/ 57 w 189"/>
                  <a:gd name="T35" fmla="*/ 86 h 219"/>
                  <a:gd name="T36" fmla="*/ 11 w 189"/>
                  <a:gd name="T37" fmla="*/ 86 h 219"/>
                  <a:gd name="T38" fmla="*/ 15 w 189"/>
                  <a:gd name="T39" fmla="*/ 68 h 219"/>
                  <a:gd name="T40" fmla="*/ 61 w 189"/>
                  <a:gd name="T41" fmla="*/ 68 h 219"/>
                  <a:gd name="T42" fmla="*/ 74 w 189"/>
                  <a:gd name="T43" fmla="*/ 0 h 219"/>
                  <a:gd name="T44" fmla="*/ 96 w 189"/>
                  <a:gd name="T45" fmla="*/ 0 h 219"/>
                  <a:gd name="T46" fmla="*/ 82 w 189"/>
                  <a:gd name="T47" fmla="*/ 68 h 219"/>
                  <a:gd name="T48" fmla="*/ 124 w 189"/>
                  <a:gd name="T49" fmla="*/ 68 h 219"/>
                  <a:gd name="T50" fmla="*/ 138 w 189"/>
                  <a:gd name="T51" fmla="*/ 0 h 219"/>
                  <a:gd name="T52" fmla="*/ 159 w 189"/>
                  <a:gd name="T53" fmla="*/ 0 h 219"/>
                  <a:gd name="T54" fmla="*/ 145 w 189"/>
                  <a:gd name="T55" fmla="*/ 68 h 219"/>
                  <a:gd name="T56" fmla="*/ 189 w 189"/>
                  <a:gd name="T57" fmla="*/ 68 h 219"/>
                  <a:gd name="T58" fmla="*/ 121 w 189"/>
                  <a:gd name="T59" fmla="*/ 86 h 219"/>
                  <a:gd name="T60" fmla="*/ 78 w 189"/>
                  <a:gd name="T61" fmla="*/ 86 h 219"/>
                  <a:gd name="T62" fmla="*/ 67 w 189"/>
                  <a:gd name="T63" fmla="*/ 136 h 219"/>
                  <a:gd name="T64" fmla="*/ 110 w 189"/>
                  <a:gd name="T65" fmla="*/ 136 h 219"/>
                  <a:gd name="T66" fmla="*/ 121 w 189"/>
                  <a:gd name="T67" fmla="*/ 8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8"/>
                    </a:moveTo>
                    <a:lnTo>
                      <a:pt x="184" y="86"/>
                    </a:lnTo>
                    <a:lnTo>
                      <a:pt x="141" y="86"/>
                    </a:lnTo>
                    <a:lnTo>
                      <a:pt x="130" y="136"/>
                    </a:lnTo>
                    <a:lnTo>
                      <a:pt x="178" y="136"/>
                    </a:lnTo>
                    <a:lnTo>
                      <a:pt x="173" y="153"/>
                    </a:lnTo>
                    <a:lnTo>
                      <a:pt x="127" y="153"/>
                    </a:lnTo>
                    <a:lnTo>
                      <a:pt x="112" y="219"/>
                    </a:lnTo>
                    <a:lnTo>
                      <a:pt x="91" y="219"/>
                    </a:lnTo>
                    <a:lnTo>
                      <a:pt x="106" y="153"/>
                    </a:lnTo>
                    <a:lnTo>
                      <a:pt x="65" y="153"/>
                    </a:lnTo>
                    <a:lnTo>
                      <a:pt x="50" y="219"/>
                    </a:lnTo>
                    <a:lnTo>
                      <a:pt x="29" y="219"/>
                    </a:lnTo>
                    <a:lnTo>
                      <a:pt x="43" y="153"/>
                    </a:lnTo>
                    <a:lnTo>
                      <a:pt x="0" y="153"/>
                    </a:lnTo>
                    <a:lnTo>
                      <a:pt x="3" y="136"/>
                    </a:lnTo>
                    <a:lnTo>
                      <a:pt x="48" y="136"/>
                    </a:lnTo>
                    <a:lnTo>
                      <a:pt x="57" y="86"/>
                    </a:lnTo>
                    <a:lnTo>
                      <a:pt x="11" y="86"/>
                    </a:lnTo>
                    <a:lnTo>
                      <a:pt x="15" y="68"/>
                    </a:lnTo>
                    <a:lnTo>
                      <a:pt x="61" y="68"/>
                    </a:lnTo>
                    <a:lnTo>
                      <a:pt x="74" y="0"/>
                    </a:lnTo>
                    <a:lnTo>
                      <a:pt x="96" y="0"/>
                    </a:lnTo>
                    <a:lnTo>
                      <a:pt x="82" y="68"/>
                    </a:lnTo>
                    <a:lnTo>
                      <a:pt x="124" y="68"/>
                    </a:lnTo>
                    <a:lnTo>
                      <a:pt x="138" y="0"/>
                    </a:lnTo>
                    <a:lnTo>
                      <a:pt x="159" y="0"/>
                    </a:lnTo>
                    <a:lnTo>
                      <a:pt x="145" y="68"/>
                    </a:lnTo>
                    <a:lnTo>
                      <a:pt x="189" y="68"/>
                    </a:lnTo>
                    <a:close/>
                    <a:moveTo>
                      <a:pt x="121" y="86"/>
                    </a:moveTo>
                    <a:lnTo>
                      <a:pt x="78" y="86"/>
                    </a:lnTo>
                    <a:lnTo>
                      <a:pt x="67" y="136"/>
                    </a:lnTo>
                    <a:lnTo>
                      <a:pt x="110" y="136"/>
                    </a:lnTo>
                    <a:lnTo>
                      <a:pt x="121"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72"/>
              <p:cNvSpPr>
                <a:spLocks noEditPoints="1"/>
              </p:cNvSpPr>
              <p:nvPr userDrawn="1"/>
            </p:nvSpPr>
            <p:spPr bwMode="auto">
              <a:xfrm>
                <a:off x="4502"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6" name="Freeform 173"/>
              <p:cNvSpPr>
                <a:spLocks noEditPoints="1"/>
              </p:cNvSpPr>
              <p:nvPr userDrawn="1"/>
            </p:nvSpPr>
            <p:spPr bwMode="auto">
              <a:xfrm>
                <a:off x="4697"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174"/>
              <p:cNvSpPr>
                <a:spLocks/>
              </p:cNvSpPr>
              <p:nvPr userDrawn="1"/>
            </p:nvSpPr>
            <p:spPr bwMode="auto">
              <a:xfrm>
                <a:off x="4894" y="2562"/>
                <a:ext cx="83"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175"/>
              <p:cNvSpPr>
                <a:spLocks noEditPoints="1"/>
              </p:cNvSpPr>
              <p:nvPr userDrawn="1"/>
            </p:nvSpPr>
            <p:spPr bwMode="auto">
              <a:xfrm>
                <a:off x="5043" y="256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176"/>
              <p:cNvSpPr>
                <a:spLocks/>
              </p:cNvSpPr>
              <p:nvPr userDrawn="1"/>
            </p:nvSpPr>
            <p:spPr bwMode="auto">
              <a:xfrm>
                <a:off x="5241" y="2562"/>
                <a:ext cx="82"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0"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1"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Freeform 177"/>
              <p:cNvSpPr>
                <a:spLocks/>
              </p:cNvSpPr>
              <p:nvPr userDrawn="1"/>
            </p:nvSpPr>
            <p:spPr bwMode="auto">
              <a:xfrm>
                <a:off x="5389"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Freeform 178"/>
              <p:cNvSpPr>
                <a:spLocks/>
              </p:cNvSpPr>
              <p:nvPr userDrawn="1"/>
            </p:nvSpPr>
            <p:spPr bwMode="auto">
              <a:xfrm>
                <a:off x="5539"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Freeform 179"/>
              <p:cNvSpPr>
                <a:spLocks noEditPoints="1"/>
              </p:cNvSpPr>
              <p:nvPr userDrawn="1"/>
            </p:nvSpPr>
            <p:spPr bwMode="auto">
              <a:xfrm>
                <a:off x="5687"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Freeform 180"/>
              <p:cNvSpPr>
                <a:spLocks/>
              </p:cNvSpPr>
              <p:nvPr userDrawn="1"/>
            </p:nvSpPr>
            <p:spPr bwMode="auto">
              <a:xfrm>
                <a:off x="5877" y="2567"/>
                <a:ext cx="78" cy="295"/>
              </a:xfrm>
              <a:custGeom>
                <a:avLst/>
                <a:gdLst>
                  <a:gd name="T0" fmla="*/ 64 w 64"/>
                  <a:gd name="T1" fmla="*/ 241 h 241"/>
                  <a:gd name="T2" fmla="*/ 22 w 64"/>
                  <a:gd name="T3" fmla="*/ 198 h 241"/>
                  <a:gd name="T4" fmla="*/ 22 w 64"/>
                  <a:gd name="T5" fmla="*/ 157 h 241"/>
                  <a:gd name="T6" fmla="*/ 0 w 64"/>
                  <a:gd name="T7" fmla="*/ 128 h 241"/>
                  <a:gd name="T8" fmla="*/ 0 w 64"/>
                  <a:gd name="T9" fmla="*/ 113 h 241"/>
                  <a:gd name="T10" fmla="*/ 22 w 64"/>
                  <a:gd name="T11" fmla="*/ 83 h 241"/>
                  <a:gd name="T12" fmla="*/ 22 w 64"/>
                  <a:gd name="T13" fmla="*/ 43 h 241"/>
                  <a:gd name="T14" fmla="*/ 64 w 64"/>
                  <a:gd name="T15" fmla="*/ 0 h 241"/>
                  <a:gd name="T16" fmla="*/ 64 w 64"/>
                  <a:gd name="T17" fmla="*/ 18 h 241"/>
                  <a:gd name="T18" fmla="*/ 42 w 64"/>
                  <a:gd name="T19" fmla="*/ 45 h 241"/>
                  <a:gd name="T20" fmla="*/ 42 w 64"/>
                  <a:gd name="T21" fmla="*/ 85 h 241"/>
                  <a:gd name="T22" fmla="*/ 21 w 64"/>
                  <a:gd name="T23" fmla="*/ 120 h 241"/>
                  <a:gd name="T24" fmla="*/ 21 w 64"/>
                  <a:gd name="T25" fmla="*/ 121 h 241"/>
                  <a:gd name="T26" fmla="*/ 42 w 64"/>
                  <a:gd name="T27" fmla="*/ 156 h 241"/>
                  <a:gd name="T28" fmla="*/ 42 w 64"/>
                  <a:gd name="T29" fmla="*/ 195 h 241"/>
                  <a:gd name="T30" fmla="*/ 47 w 64"/>
                  <a:gd name="T31" fmla="*/ 217 h 241"/>
                  <a:gd name="T32" fmla="*/ 64 w 64"/>
                  <a:gd name="T33" fmla="*/ 224 h 241"/>
                  <a:gd name="T34" fmla="*/ 64 w 64"/>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241"/>
                    </a:moveTo>
                    <a:cubicBezTo>
                      <a:pt x="36" y="241"/>
                      <a:pt x="22" y="226"/>
                      <a:pt x="22" y="198"/>
                    </a:cubicBezTo>
                    <a:cubicBezTo>
                      <a:pt x="22" y="157"/>
                      <a:pt x="22" y="157"/>
                      <a:pt x="22" y="157"/>
                    </a:cubicBezTo>
                    <a:cubicBezTo>
                      <a:pt x="22" y="139"/>
                      <a:pt x="14" y="129"/>
                      <a:pt x="0" y="128"/>
                    </a:cubicBezTo>
                    <a:cubicBezTo>
                      <a:pt x="0" y="113"/>
                      <a:pt x="0" y="113"/>
                      <a:pt x="0" y="113"/>
                    </a:cubicBezTo>
                    <a:cubicBezTo>
                      <a:pt x="14" y="112"/>
                      <a:pt x="22" y="102"/>
                      <a:pt x="22" y="83"/>
                    </a:cubicBezTo>
                    <a:cubicBezTo>
                      <a:pt x="22" y="43"/>
                      <a:pt x="22" y="43"/>
                      <a:pt x="22" y="43"/>
                    </a:cubicBezTo>
                    <a:cubicBezTo>
                      <a:pt x="22" y="15"/>
                      <a:pt x="36" y="1"/>
                      <a:pt x="64" y="0"/>
                    </a:cubicBezTo>
                    <a:cubicBezTo>
                      <a:pt x="64" y="18"/>
                      <a:pt x="64" y="18"/>
                      <a:pt x="64"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6"/>
                      <a:pt x="42" y="156"/>
                    </a:cubicBezTo>
                    <a:cubicBezTo>
                      <a:pt x="42" y="195"/>
                      <a:pt x="42" y="195"/>
                      <a:pt x="42" y="195"/>
                    </a:cubicBezTo>
                    <a:cubicBezTo>
                      <a:pt x="42" y="205"/>
                      <a:pt x="43" y="213"/>
                      <a:pt x="47" y="217"/>
                    </a:cubicBezTo>
                    <a:cubicBezTo>
                      <a:pt x="50" y="221"/>
                      <a:pt x="55" y="223"/>
                      <a:pt x="64" y="224"/>
                    </a:cubicBezTo>
                    <a:lnTo>
                      <a:pt x="64"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Freeform 181"/>
              <p:cNvSpPr>
                <a:spLocks/>
              </p:cNvSpPr>
              <p:nvPr userDrawn="1"/>
            </p:nvSpPr>
            <p:spPr bwMode="auto">
              <a:xfrm>
                <a:off x="5985" y="2567"/>
                <a:ext cx="77" cy="295"/>
              </a:xfrm>
              <a:custGeom>
                <a:avLst/>
                <a:gdLst>
                  <a:gd name="T0" fmla="*/ 63 w 63"/>
                  <a:gd name="T1" fmla="*/ 128 h 241"/>
                  <a:gd name="T2" fmla="*/ 41 w 63"/>
                  <a:gd name="T3" fmla="*/ 157 h 241"/>
                  <a:gd name="T4" fmla="*/ 41 w 63"/>
                  <a:gd name="T5" fmla="*/ 198 h 241"/>
                  <a:gd name="T6" fmla="*/ 0 w 63"/>
                  <a:gd name="T7" fmla="*/ 241 h 241"/>
                  <a:gd name="T8" fmla="*/ 0 w 63"/>
                  <a:gd name="T9" fmla="*/ 224 h 241"/>
                  <a:gd name="T10" fmla="*/ 16 w 63"/>
                  <a:gd name="T11" fmla="*/ 217 h 241"/>
                  <a:gd name="T12" fmla="*/ 21 w 63"/>
                  <a:gd name="T13" fmla="*/ 195 h 241"/>
                  <a:gd name="T14" fmla="*/ 21 w 63"/>
                  <a:gd name="T15" fmla="*/ 156 h 241"/>
                  <a:gd name="T16" fmla="*/ 42 w 63"/>
                  <a:gd name="T17" fmla="*/ 121 h 241"/>
                  <a:gd name="T18" fmla="*/ 42 w 63"/>
                  <a:gd name="T19" fmla="*/ 120 h 241"/>
                  <a:gd name="T20" fmla="*/ 21 w 63"/>
                  <a:gd name="T21" fmla="*/ 85 h 241"/>
                  <a:gd name="T22" fmla="*/ 21 w 63"/>
                  <a:gd name="T23" fmla="*/ 45 h 241"/>
                  <a:gd name="T24" fmla="*/ 0 w 63"/>
                  <a:gd name="T25" fmla="*/ 18 h 241"/>
                  <a:gd name="T26" fmla="*/ 0 w 63"/>
                  <a:gd name="T27" fmla="*/ 0 h 241"/>
                  <a:gd name="T28" fmla="*/ 41 w 63"/>
                  <a:gd name="T29" fmla="*/ 43 h 241"/>
                  <a:gd name="T30" fmla="*/ 41 w 63"/>
                  <a:gd name="T31" fmla="*/ 83 h 241"/>
                  <a:gd name="T32" fmla="*/ 63 w 63"/>
                  <a:gd name="T33" fmla="*/ 113 h 241"/>
                  <a:gd name="T34" fmla="*/ 63 w 63"/>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8"/>
                    </a:moveTo>
                    <a:cubicBezTo>
                      <a:pt x="49" y="129"/>
                      <a:pt x="41" y="139"/>
                      <a:pt x="41" y="157"/>
                    </a:cubicBezTo>
                    <a:cubicBezTo>
                      <a:pt x="41" y="198"/>
                      <a:pt x="41" y="198"/>
                      <a:pt x="41" y="198"/>
                    </a:cubicBezTo>
                    <a:cubicBezTo>
                      <a:pt x="41" y="226"/>
                      <a:pt x="27" y="241"/>
                      <a:pt x="0" y="241"/>
                    </a:cubicBezTo>
                    <a:cubicBezTo>
                      <a:pt x="0" y="224"/>
                      <a:pt x="0" y="224"/>
                      <a:pt x="0" y="224"/>
                    </a:cubicBezTo>
                    <a:cubicBezTo>
                      <a:pt x="8" y="223"/>
                      <a:pt x="13" y="221"/>
                      <a:pt x="16" y="217"/>
                    </a:cubicBezTo>
                    <a:cubicBezTo>
                      <a:pt x="20" y="212"/>
                      <a:pt x="21" y="205"/>
                      <a:pt x="21" y="195"/>
                    </a:cubicBezTo>
                    <a:cubicBezTo>
                      <a:pt x="21" y="156"/>
                      <a:pt x="21" y="156"/>
                      <a:pt x="21" y="156"/>
                    </a:cubicBezTo>
                    <a:cubicBezTo>
                      <a:pt x="21" y="136"/>
                      <a:pt x="28" y="125"/>
                      <a:pt x="42" y="121"/>
                    </a:cubicBezTo>
                    <a:cubicBezTo>
                      <a:pt x="42" y="120"/>
                      <a:pt x="42" y="120"/>
                      <a:pt x="42" y="120"/>
                    </a:cubicBezTo>
                    <a:cubicBezTo>
                      <a:pt x="28" y="116"/>
                      <a:pt x="21" y="104"/>
                      <a:pt x="21" y="85"/>
                    </a:cubicBezTo>
                    <a:cubicBezTo>
                      <a:pt x="21" y="45"/>
                      <a:pt x="21" y="45"/>
                      <a:pt x="21" y="45"/>
                    </a:cubicBezTo>
                    <a:cubicBezTo>
                      <a:pt x="21" y="27"/>
                      <a:pt x="14" y="18"/>
                      <a:pt x="0" y="18"/>
                    </a:cubicBezTo>
                    <a:cubicBezTo>
                      <a:pt x="0" y="0"/>
                      <a:pt x="0" y="0"/>
                      <a:pt x="0" y="0"/>
                    </a:cubicBezTo>
                    <a:cubicBezTo>
                      <a:pt x="27" y="1"/>
                      <a:pt x="41" y="15"/>
                      <a:pt x="41" y="43"/>
                    </a:cubicBezTo>
                    <a:cubicBezTo>
                      <a:pt x="41" y="83"/>
                      <a:pt x="41" y="83"/>
                      <a:pt x="41" y="83"/>
                    </a:cubicBezTo>
                    <a:cubicBezTo>
                      <a:pt x="41" y="102"/>
                      <a:pt x="49" y="112"/>
                      <a:pt x="63" y="113"/>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Freeform 182"/>
              <p:cNvSpPr>
                <a:spLocks/>
              </p:cNvSpPr>
              <p:nvPr userDrawn="1"/>
            </p:nvSpPr>
            <p:spPr bwMode="auto">
              <a:xfrm>
                <a:off x="6092"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6" name="Freeform 183"/>
              <p:cNvSpPr>
                <a:spLocks noEditPoints="1"/>
              </p:cNvSpPr>
              <p:nvPr userDrawn="1"/>
            </p:nvSpPr>
            <p:spPr bwMode="auto">
              <a:xfrm>
                <a:off x="6240"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7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7"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Freeform 184"/>
              <p:cNvSpPr>
                <a:spLocks noEditPoints="1"/>
              </p:cNvSpPr>
              <p:nvPr userDrawn="1"/>
            </p:nvSpPr>
            <p:spPr bwMode="auto">
              <a:xfrm>
                <a:off x="6435"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Freeform 185"/>
              <p:cNvSpPr>
                <a:spLocks/>
              </p:cNvSpPr>
              <p:nvPr userDrawn="1"/>
            </p:nvSpPr>
            <p:spPr bwMode="auto">
              <a:xfrm>
                <a:off x="6634" y="2562"/>
                <a:ext cx="81"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8" y="52"/>
                      <a:pt x="4" y="53"/>
                      <a:pt x="0" y="54"/>
                    </a:cubicBezTo>
                    <a:cubicBezTo>
                      <a:pt x="0" y="31"/>
                      <a:pt x="0" y="31"/>
                      <a:pt x="0" y="31"/>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Freeform 186"/>
              <p:cNvSpPr>
                <a:spLocks noEditPoints="1"/>
              </p:cNvSpPr>
              <p:nvPr userDrawn="1"/>
            </p:nvSpPr>
            <p:spPr bwMode="auto">
              <a:xfrm>
                <a:off x="6781"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Freeform 187"/>
              <p:cNvSpPr>
                <a:spLocks/>
              </p:cNvSpPr>
              <p:nvPr userDrawn="1"/>
            </p:nvSpPr>
            <p:spPr bwMode="auto">
              <a:xfrm>
                <a:off x="6978"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Freeform 188"/>
              <p:cNvSpPr>
                <a:spLocks noEditPoints="1"/>
              </p:cNvSpPr>
              <p:nvPr userDrawn="1"/>
            </p:nvSpPr>
            <p:spPr bwMode="auto">
              <a:xfrm>
                <a:off x="7127"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Freeform 189"/>
              <p:cNvSpPr>
                <a:spLocks/>
              </p:cNvSpPr>
              <p:nvPr userDrawn="1"/>
            </p:nvSpPr>
            <p:spPr bwMode="auto">
              <a:xfrm>
                <a:off x="7325" y="2562"/>
                <a:ext cx="82"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Freeform 190"/>
              <p:cNvSpPr>
                <a:spLocks noEditPoints="1"/>
              </p:cNvSpPr>
              <p:nvPr userDrawn="1"/>
            </p:nvSpPr>
            <p:spPr bwMode="auto">
              <a:xfrm>
                <a:off x="7473" y="2564"/>
                <a:ext cx="155" cy="248"/>
              </a:xfrm>
              <a:custGeom>
                <a:avLst/>
                <a:gdLst>
                  <a:gd name="T0" fmla="*/ 127 w 127"/>
                  <a:gd name="T1" fmla="*/ 100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1"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Freeform 191"/>
              <p:cNvSpPr>
                <a:spLocks/>
              </p:cNvSpPr>
              <p:nvPr userDrawn="1"/>
            </p:nvSpPr>
            <p:spPr bwMode="auto">
              <a:xfrm>
                <a:off x="7671" y="2562"/>
                <a:ext cx="81"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192"/>
              <p:cNvSpPr>
                <a:spLocks noEditPoints="1"/>
              </p:cNvSpPr>
              <p:nvPr userDrawn="1"/>
            </p:nvSpPr>
            <p:spPr bwMode="auto">
              <a:xfrm>
                <a:off x="3461" y="2555"/>
                <a:ext cx="218" cy="255"/>
              </a:xfrm>
              <a:custGeom>
                <a:avLst/>
                <a:gdLst>
                  <a:gd name="T0" fmla="*/ 175 w 179"/>
                  <a:gd name="T1" fmla="*/ 174 h 209"/>
                  <a:gd name="T2" fmla="*/ 134 w 179"/>
                  <a:gd name="T3" fmla="*/ 208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3 h 209"/>
                  <a:gd name="T22" fmla="*/ 52 w 179"/>
                  <a:gd name="T23" fmla="*/ 83 h 209"/>
                  <a:gd name="T24" fmla="*/ 58 w 179"/>
                  <a:gd name="T25" fmla="*/ 27 h 209"/>
                  <a:gd name="T26" fmla="*/ 117 w 179"/>
                  <a:gd name="T27" fmla="*/ 17 h 209"/>
                  <a:gd name="T28" fmla="*/ 160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4 h 209"/>
                  <a:gd name="T40" fmla="*/ 161 w 179"/>
                  <a:gd name="T41" fmla="*/ 152 h 209"/>
                  <a:gd name="T42" fmla="*/ 88 w 179"/>
                  <a:gd name="T43" fmla="*/ 71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2 h 209"/>
                  <a:gd name="T58" fmla="*/ 64 w 179"/>
                  <a:gd name="T59" fmla="*/ 177 h 209"/>
                  <a:gd name="T60" fmla="*/ 70 w 179"/>
                  <a:gd name="T61" fmla="*/ 197 h 209"/>
                  <a:gd name="T62" fmla="*/ 68 w 179"/>
                  <a:gd name="T63" fmla="*/ 182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4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1" y="155"/>
                      <a:pt x="162" y="158"/>
                      <a:pt x="163" y="161"/>
                    </a:cubicBezTo>
                    <a:cubicBezTo>
                      <a:pt x="164" y="165"/>
                      <a:pt x="167" y="168"/>
                      <a:pt x="170" y="170"/>
                    </a:cubicBezTo>
                    <a:cubicBezTo>
                      <a:pt x="172" y="171"/>
                      <a:pt x="174" y="172"/>
                      <a:pt x="175" y="174"/>
                    </a:cubicBezTo>
                    <a:cubicBezTo>
                      <a:pt x="179" y="176"/>
                      <a:pt x="179" y="179"/>
                      <a:pt x="176" y="183"/>
                    </a:cubicBezTo>
                    <a:cubicBezTo>
                      <a:pt x="173" y="185"/>
                      <a:pt x="170" y="187"/>
                      <a:pt x="166" y="189"/>
                    </a:cubicBezTo>
                    <a:cubicBezTo>
                      <a:pt x="157" y="193"/>
                      <a:pt x="148" y="199"/>
                      <a:pt x="141" y="206"/>
                    </a:cubicBezTo>
                    <a:cubicBezTo>
                      <a:pt x="139" y="207"/>
                      <a:pt x="137" y="208"/>
                      <a:pt x="134" y="208"/>
                    </a:cubicBezTo>
                    <a:cubicBezTo>
                      <a:pt x="131" y="209"/>
                      <a:pt x="128" y="209"/>
                      <a:pt x="125" y="208"/>
                    </a:cubicBezTo>
                    <a:cubicBezTo>
                      <a:pt x="122" y="207"/>
                      <a:pt x="119" y="205"/>
                      <a:pt x="118" y="203"/>
                    </a:cubicBezTo>
                    <a:cubicBezTo>
                      <a:pt x="116" y="199"/>
                      <a:pt x="113" y="198"/>
                      <a:pt x="110" y="198"/>
                    </a:cubicBezTo>
                    <a:cubicBezTo>
                      <a:pt x="100" y="198"/>
                      <a:pt x="90" y="198"/>
                      <a:pt x="81" y="198"/>
                    </a:cubicBezTo>
                    <a:cubicBezTo>
                      <a:pt x="76" y="198"/>
                      <a:pt x="72" y="199"/>
                      <a:pt x="68" y="201"/>
                    </a:cubicBezTo>
                    <a:cubicBezTo>
                      <a:pt x="66" y="202"/>
                      <a:pt x="64" y="203"/>
                      <a:pt x="63" y="205"/>
                    </a:cubicBezTo>
                    <a:cubicBezTo>
                      <a:pt x="58" y="208"/>
                      <a:pt x="54" y="209"/>
                      <a:pt x="48" y="207"/>
                    </a:cubicBezTo>
                    <a:cubicBezTo>
                      <a:pt x="43" y="205"/>
                      <a:pt x="38" y="203"/>
                      <a:pt x="32" y="202"/>
                    </a:cubicBezTo>
                    <a:cubicBezTo>
                      <a:pt x="25" y="200"/>
                      <a:pt x="18" y="199"/>
                      <a:pt x="11" y="197"/>
                    </a:cubicBezTo>
                    <a:cubicBezTo>
                      <a:pt x="9" y="196"/>
                      <a:pt x="7" y="196"/>
                      <a:pt x="5" y="195"/>
                    </a:cubicBezTo>
                    <a:cubicBezTo>
                      <a:pt x="1" y="194"/>
                      <a:pt x="0" y="191"/>
                      <a:pt x="1" y="187"/>
                    </a:cubicBezTo>
                    <a:cubicBezTo>
                      <a:pt x="1" y="186"/>
                      <a:pt x="2" y="185"/>
                      <a:pt x="2" y="184"/>
                    </a:cubicBezTo>
                    <a:cubicBezTo>
                      <a:pt x="4" y="180"/>
                      <a:pt x="4" y="176"/>
                      <a:pt x="3" y="172"/>
                    </a:cubicBezTo>
                    <a:cubicBezTo>
                      <a:pt x="3" y="170"/>
                      <a:pt x="2" y="168"/>
                      <a:pt x="2" y="166"/>
                    </a:cubicBezTo>
                    <a:cubicBezTo>
                      <a:pt x="1" y="162"/>
                      <a:pt x="3" y="160"/>
                      <a:pt x="7" y="160"/>
                    </a:cubicBezTo>
                    <a:cubicBezTo>
                      <a:pt x="10" y="159"/>
                      <a:pt x="12" y="159"/>
                      <a:pt x="14" y="159"/>
                    </a:cubicBezTo>
                    <a:cubicBezTo>
                      <a:pt x="19" y="158"/>
                      <a:pt x="22" y="155"/>
                      <a:pt x="23" y="149"/>
                    </a:cubicBezTo>
                    <a:cubicBezTo>
                      <a:pt x="23" y="149"/>
                      <a:pt x="23" y="149"/>
                      <a:pt x="23" y="149"/>
                    </a:cubicBezTo>
                    <a:cubicBezTo>
                      <a:pt x="25" y="153"/>
                      <a:pt x="23" y="159"/>
                      <a:pt x="17" y="161"/>
                    </a:cubicBezTo>
                    <a:cubicBezTo>
                      <a:pt x="15" y="162"/>
                      <a:pt x="12" y="162"/>
                      <a:pt x="9" y="162"/>
                    </a:cubicBezTo>
                    <a:cubicBezTo>
                      <a:pt x="9" y="162"/>
                      <a:pt x="9" y="162"/>
                      <a:pt x="9" y="162"/>
                    </a:cubicBezTo>
                    <a:cubicBezTo>
                      <a:pt x="5" y="162"/>
                      <a:pt x="3" y="164"/>
                      <a:pt x="4" y="167"/>
                    </a:cubicBezTo>
                    <a:cubicBezTo>
                      <a:pt x="5" y="169"/>
                      <a:pt x="6" y="171"/>
                      <a:pt x="6" y="172"/>
                    </a:cubicBezTo>
                    <a:cubicBezTo>
                      <a:pt x="8" y="176"/>
                      <a:pt x="8" y="179"/>
                      <a:pt x="6" y="183"/>
                    </a:cubicBezTo>
                    <a:cubicBezTo>
                      <a:pt x="6" y="185"/>
                      <a:pt x="5" y="186"/>
                      <a:pt x="5" y="188"/>
                    </a:cubicBezTo>
                    <a:cubicBezTo>
                      <a:pt x="4" y="190"/>
                      <a:pt x="4" y="191"/>
                      <a:pt x="7" y="192"/>
                    </a:cubicBezTo>
                    <a:cubicBezTo>
                      <a:pt x="9" y="193"/>
                      <a:pt x="11" y="194"/>
                      <a:pt x="13" y="194"/>
                    </a:cubicBezTo>
                    <a:cubicBezTo>
                      <a:pt x="24" y="196"/>
                      <a:pt x="35" y="199"/>
                      <a:pt x="45" y="202"/>
                    </a:cubicBezTo>
                    <a:cubicBezTo>
                      <a:pt x="49" y="203"/>
                      <a:pt x="52" y="204"/>
                      <a:pt x="55" y="203"/>
                    </a:cubicBezTo>
                    <a:cubicBezTo>
                      <a:pt x="63" y="202"/>
                      <a:pt x="66" y="197"/>
                      <a:pt x="65" y="190"/>
                    </a:cubicBezTo>
                    <a:cubicBezTo>
                      <a:pt x="64" y="186"/>
                      <a:pt x="62" y="182"/>
                      <a:pt x="60" y="178"/>
                    </a:cubicBezTo>
                    <a:cubicBezTo>
                      <a:pt x="55" y="169"/>
                      <a:pt x="49" y="160"/>
                      <a:pt x="42" y="152"/>
                    </a:cubicBezTo>
                    <a:cubicBezTo>
                      <a:pt x="40" y="149"/>
                      <a:pt x="37" y="147"/>
                      <a:pt x="35" y="145"/>
                    </a:cubicBezTo>
                    <a:cubicBezTo>
                      <a:pt x="32" y="143"/>
                      <a:pt x="30" y="142"/>
                      <a:pt x="27" y="144"/>
                    </a:cubicBezTo>
                    <a:cubicBezTo>
                      <a:pt x="26" y="145"/>
                      <a:pt x="25" y="145"/>
                      <a:pt x="25" y="143"/>
                    </a:cubicBezTo>
                    <a:cubicBezTo>
                      <a:pt x="24" y="140"/>
                      <a:pt x="24" y="137"/>
                      <a:pt x="25" y="133"/>
                    </a:cubicBezTo>
                    <a:cubicBezTo>
                      <a:pt x="26" y="132"/>
                      <a:pt x="26" y="131"/>
                      <a:pt x="27" y="130"/>
                    </a:cubicBezTo>
                    <a:cubicBezTo>
                      <a:pt x="30" y="124"/>
                      <a:pt x="33" y="118"/>
                      <a:pt x="35" y="112"/>
                    </a:cubicBezTo>
                    <a:cubicBezTo>
                      <a:pt x="37" y="106"/>
                      <a:pt x="39" y="99"/>
                      <a:pt x="43" y="94"/>
                    </a:cubicBezTo>
                    <a:cubicBezTo>
                      <a:pt x="46" y="90"/>
                      <a:pt x="49" y="87"/>
                      <a:pt x="52" y="83"/>
                    </a:cubicBezTo>
                    <a:cubicBezTo>
                      <a:pt x="54" y="80"/>
                      <a:pt x="56" y="76"/>
                      <a:pt x="58" y="73"/>
                    </a:cubicBezTo>
                    <a:cubicBezTo>
                      <a:pt x="60" y="70"/>
                      <a:pt x="60" y="68"/>
                      <a:pt x="60" y="64"/>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7"/>
                    </a:cubicBezTo>
                    <a:cubicBezTo>
                      <a:pt x="121" y="23"/>
                      <a:pt x="122" y="29"/>
                      <a:pt x="122" y="36"/>
                    </a:cubicBezTo>
                    <a:cubicBezTo>
                      <a:pt x="123" y="40"/>
                      <a:pt x="122" y="43"/>
                      <a:pt x="123" y="47"/>
                    </a:cubicBezTo>
                    <a:cubicBezTo>
                      <a:pt x="124" y="61"/>
                      <a:pt x="128" y="74"/>
                      <a:pt x="138"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8"/>
                      <a:pt x="154" y="150"/>
                      <a:pt x="153" y="152"/>
                    </a:cubicBezTo>
                    <a:cubicBezTo>
                      <a:pt x="151" y="154"/>
                      <a:pt x="149" y="156"/>
                      <a:pt x="147" y="158"/>
                    </a:cubicBezTo>
                    <a:cubicBezTo>
                      <a:pt x="143" y="160"/>
                      <a:pt x="139" y="160"/>
                      <a:pt x="135" y="159"/>
                    </a:cubicBezTo>
                    <a:cubicBezTo>
                      <a:pt x="133" y="159"/>
                      <a:pt x="132" y="157"/>
                      <a:pt x="131" y="155"/>
                    </a:cubicBezTo>
                    <a:cubicBezTo>
                      <a:pt x="130" y="154"/>
                      <a:pt x="129" y="152"/>
                      <a:pt x="128" y="150"/>
                    </a:cubicBezTo>
                    <a:cubicBezTo>
                      <a:pt x="127" y="149"/>
                      <a:pt x="126" y="148"/>
                      <a:pt x="125" y="148"/>
                    </a:cubicBezTo>
                    <a:cubicBezTo>
                      <a:pt x="123" y="148"/>
                      <a:pt x="122" y="149"/>
                      <a:pt x="121" y="151"/>
                    </a:cubicBezTo>
                    <a:cubicBezTo>
                      <a:pt x="120" y="155"/>
                      <a:pt x="120" y="159"/>
                      <a:pt x="121" y="163"/>
                    </a:cubicBezTo>
                    <a:cubicBezTo>
                      <a:pt x="123" y="171"/>
                      <a:pt x="123" y="178"/>
                      <a:pt x="122" y="186"/>
                    </a:cubicBezTo>
                    <a:cubicBezTo>
                      <a:pt x="121" y="188"/>
                      <a:pt x="121" y="191"/>
                      <a:pt x="122" y="194"/>
                    </a:cubicBezTo>
                    <a:cubicBezTo>
                      <a:pt x="123" y="201"/>
                      <a:pt x="129" y="205"/>
                      <a:pt x="136" y="202"/>
                    </a:cubicBezTo>
                    <a:cubicBezTo>
                      <a:pt x="139" y="201"/>
                      <a:pt x="142" y="199"/>
                      <a:pt x="144" y="197"/>
                    </a:cubicBezTo>
                    <a:cubicBezTo>
                      <a:pt x="150" y="191"/>
                      <a:pt x="158" y="188"/>
                      <a:pt x="165" y="186"/>
                    </a:cubicBezTo>
                    <a:cubicBezTo>
                      <a:pt x="168" y="185"/>
                      <a:pt x="170" y="184"/>
                      <a:pt x="173" y="182"/>
                    </a:cubicBezTo>
                    <a:cubicBezTo>
                      <a:pt x="174" y="182"/>
                      <a:pt x="174" y="181"/>
                      <a:pt x="175" y="181"/>
                    </a:cubicBezTo>
                    <a:cubicBezTo>
                      <a:pt x="176" y="179"/>
                      <a:pt x="176" y="178"/>
                      <a:pt x="175" y="177"/>
                    </a:cubicBezTo>
                    <a:cubicBezTo>
                      <a:pt x="174" y="175"/>
                      <a:pt x="172" y="174"/>
                      <a:pt x="171" y="174"/>
                    </a:cubicBezTo>
                    <a:cubicBezTo>
                      <a:pt x="170" y="173"/>
                      <a:pt x="169" y="173"/>
                      <a:pt x="168" y="172"/>
                    </a:cubicBezTo>
                    <a:cubicBezTo>
                      <a:pt x="163" y="171"/>
                      <a:pt x="161" y="167"/>
                      <a:pt x="160" y="163"/>
                    </a:cubicBezTo>
                    <a:cubicBezTo>
                      <a:pt x="159" y="160"/>
                      <a:pt x="160" y="158"/>
                      <a:pt x="160" y="155"/>
                    </a:cubicBezTo>
                    <a:cubicBezTo>
                      <a:pt x="160" y="154"/>
                      <a:pt x="160" y="153"/>
                      <a:pt x="161" y="152"/>
                    </a:cubicBezTo>
                    <a:close/>
                    <a:moveTo>
                      <a:pt x="71" y="68"/>
                    </a:moveTo>
                    <a:cubicBezTo>
                      <a:pt x="71" y="68"/>
                      <a:pt x="71" y="69"/>
                      <a:pt x="71" y="69"/>
                    </a:cubicBezTo>
                    <a:cubicBezTo>
                      <a:pt x="73" y="71"/>
                      <a:pt x="74" y="73"/>
                      <a:pt x="77" y="73"/>
                    </a:cubicBezTo>
                    <a:cubicBezTo>
                      <a:pt x="81" y="74"/>
                      <a:pt x="85" y="73"/>
                      <a:pt x="88" y="71"/>
                    </a:cubicBezTo>
                    <a:cubicBezTo>
                      <a:pt x="91" y="70"/>
                      <a:pt x="94" y="68"/>
                      <a:pt x="98" y="66"/>
                    </a:cubicBezTo>
                    <a:cubicBezTo>
                      <a:pt x="99" y="66"/>
                      <a:pt x="100" y="66"/>
                      <a:pt x="101" y="65"/>
                    </a:cubicBezTo>
                    <a:cubicBezTo>
                      <a:pt x="101" y="65"/>
                      <a:pt x="102" y="66"/>
                      <a:pt x="102" y="66"/>
                    </a:cubicBezTo>
                    <a:cubicBezTo>
                      <a:pt x="102" y="67"/>
                      <a:pt x="102" y="67"/>
                      <a:pt x="102" y="68"/>
                    </a:cubicBezTo>
                    <a:cubicBezTo>
                      <a:pt x="101" y="68"/>
                      <a:pt x="100" y="69"/>
                      <a:pt x="99" y="69"/>
                    </a:cubicBezTo>
                    <a:cubicBezTo>
                      <a:pt x="95" y="71"/>
                      <a:pt x="91" y="74"/>
                      <a:pt x="87" y="77"/>
                    </a:cubicBezTo>
                    <a:cubicBezTo>
                      <a:pt x="85" y="78"/>
                      <a:pt x="83" y="79"/>
                      <a:pt x="81" y="80"/>
                    </a:cubicBezTo>
                    <a:cubicBezTo>
                      <a:pt x="78" y="82"/>
                      <a:pt x="76" y="82"/>
                      <a:pt x="73" y="79"/>
                    </a:cubicBezTo>
                    <a:cubicBezTo>
                      <a:pt x="71" y="77"/>
                      <a:pt x="69" y="74"/>
                      <a:pt x="67" y="71"/>
                    </a:cubicBezTo>
                    <a:cubicBezTo>
                      <a:pt x="67" y="71"/>
                      <a:pt x="66" y="70"/>
                      <a:pt x="65" y="69"/>
                    </a:cubicBezTo>
                    <a:cubicBezTo>
                      <a:pt x="65" y="70"/>
                      <a:pt x="65" y="70"/>
                      <a:pt x="65" y="70"/>
                    </a:cubicBezTo>
                    <a:cubicBezTo>
                      <a:pt x="64"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7" y="121"/>
                      <a:pt x="37" y="122"/>
                      <a:pt x="37" y="123"/>
                    </a:cubicBezTo>
                    <a:cubicBezTo>
                      <a:pt x="35" y="127"/>
                      <a:pt x="35" y="131"/>
                      <a:pt x="37" y="135"/>
                    </a:cubicBezTo>
                    <a:cubicBezTo>
                      <a:pt x="37" y="137"/>
                      <a:pt x="38" y="140"/>
                      <a:pt x="40" y="142"/>
                    </a:cubicBezTo>
                    <a:cubicBezTo>
                      <a:pt x="44" y="146"/>
                      <a:pt x="48" y="149"/>
                      <a:pt x="52" y="153"/>
                    </a:cubicBezTo>
                    <a:cubicBezTo>
                      <a:pt x="57" y="157"/>
                      <a:pt x="62" y="161"/>
                      <a:pt x="67" y="165"/>
                    </a:cubicBezTo>
                    <a:cubicBezTo>
                      <a:pt x="69" y="167"/>
                      <a:pt x="70" y="169"/>
                      <a:pt x="69" y="172"/>
                    </a:cubicBezTo>
                    <a:cubicBezTo>
                      <a:pt x="68" y="175"/>
                      <a:pt x="67" y="176"/>
                      <a:pt x="64" y="177"/>
                    </a:cubicBezTo>
                    <a:cubicBezTo>
                      <a:pt x="64" y="177"/>
                      <a:pt x="63" y="177"/>
                      <a:pt x="62" y="178"/>
                    </a:cubicBezTo>
                    <a:cubicBezTo>
                      <a:pt x="63" y="179"/>
                      <a:pt x="65" y="181"/>
                      <a:pt x="66" y="183"/>
                    </a:cubicBezTo>
                    <a:cubicBezTo>
                      <a:pt x="68" y="186"/>
                      <a:pt x="69" y="188"/>
                      <a:pt x="69" y="192"/>
                    </a:cubicBezTo>
                    <a:cubicBezTo>
                      <a:pt x="70" y="193"/>
                      <a:pt x="70" y="195"/>
                      <a:pt x="70" y="197"/>
                    </a:cubicBezTo>
                    <a:cubicBezTo>
                      <a:pt x="70" y="197"/>
                      <a:pt x="70" y="197"/>
                      <a:pt x="70" y="197"/>
                    </a:cubicBezTo>
                    <a:cubicBezTo>
                      <a:pt x="73" y="195"/>
                      <a:pt x="73" y="193"/>
                      <a:pt x="72" y="191"/>
                    </a:cubicBezTo>
                    <a:cubicBezTo>
                      <a:pt x="72" y="188"/>
                      <a:pt x="70" y="186"/>
                      <a:pt x="69" y="184"/>
                    </a:cubicBezTo>
                    <a:cubicBezTo>
                      <a:pt x="68" y="183"/>
                      <a:pt x="68" y="183"/>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4" y="173"/>
                    </a:cubicBezTo>
                    <a:cubicBezTo>
                      <a:pt x="114" y="173"/>
                      <a:pt x="115" y="172"/>
                      <a:pt x="115" y="172"/>
                    </a:cubicBezTo>
                    <a:cubicBezTo>
                      <a:pt x="116" y="172"/>
                      <a:pt x="116" y="174"/>
                      <a:pt x="117" y="174"/>
                    </a:cubicBezTo>
                    <a:cubicBezTo>
                      <a:pt x="117" y="178"/>
                      <a:pt x="117" y="182"/>
                      <a:pt x="115" y="186"/>
                    </a:cubicBezTo>
                    <a:cubicBezTo>
                      <a:pt x="115" y="188"/>
                      <a:pt x="114" y="190"/>
                      <a:pt x="114" y="192"/>
                    </a:cubicBezTo>
                    <a:cubicBezTo>
                      <a:pt x="113" y="194"/>
                      <a:pt x="114" y="195"/>
                      <a:pt x="116" y="195"/>
                    </a:cubicBezTo>
                    <a:cubicBezTo>
                      <a:pt x="117" y="191"/>
                      <a:pt x="118" y="186"/>
                      <a:pt x="119" y="182"/>
                    </a:cubicBezTo>
                    <a:cubicBezTo>
                      <a:pt x="119" y="178"/>
                      <a:pt x="120" y="175"/>
                      <a:pt x="119" y="171"/>
                    </a:cubicBezTo>
                    <a:cubicBezTo>
                      <a:pt x="119" y="167"/>
                      <a:pt x="118" y="163"/>
                      <a:pt x="118" y="159"/>
                    </a:cubicBezTo>
                    <a:cubicBezTo>
                      <a:pt x="118" y="156"/>
                      <a:pt x="118" y="153"/>
                      <a:pt x="119" y="150"/>
                    </a:cubicBezTo>
                    <a:cubicBezTo>
                      <a:pt x="120" y="147"/>
                      <a:pt x="122" y="146"/>
                      <a:pt x="126" y="146"/>
                    </a:cubicBezTo>
                    <a:cubicBezTo>
                      <a:pt x="126" y="146"/>
                      <a:pt x="126" y="146"/>
                      <a:pt x="126" y="146"/>
                    </a:cubicBezTo>
                    <a:cubicBezTo>
                      <a:pt x="127" y="142"/>
                      <a:pt x="129" y="140"/>
                      <a:pt x="132" y="139"/>
                    </a:cubicBezTo>
                    <a:cubicBezTo>
                      <a:pt x="137" y="138"/>
                      <a:pt x="142" y="138"/>
                      <a:pt x="146" y="141"/>
                    </a:cubicBezTo>
                    <a:cubicBezTo>
                      <a:pt x="145" y="138"/>
                      <a:pt x="142" y="137"/>
                      <a:pt x="140" y="136"/>
                    </a:cubicBezTo>
                    <a:cubicBezTo>
                      <a:pt x="145" y="119"/>
                      <a:pt x="136" y="97"/>
                      <a:pt x="126" y="92"/>
                    </a:cubicBezTo>
                    <a:cubicBezTo>
                      <a:pt x="131" y="97"/>
                      <a:pt x="134" y="103"/>
                      <a:pt x="136" y="110"/>
                    </a:cubicBezTo>
                    <a:cubicBezTo>
                      <a:pt x="139" y="117"/>
                      <a:pt x="140" y="123"/>
                      <a:pt x="139" y="131"/>
                    </a:cubicBezTo>
                    <a:cubicBezTo>
                      <a:pt x="138" y="135"/>
                      <a:pt x="136" y="138"/>
                      <a:pt x="132" y="138"/>
                    </a:cubicBezTo>
                    <a:cubicBezTo>
                      <a:pt x="130" y="138"/>
                      <a:pt x="128" y="137"/>
                      <a:pt x="128" y="134"/>
                    </a:cubicBezTo>
                    <a:cubicBezTo>
                      <a:pt x="127" y="132"/>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2"/>
                    </a:cubicBezTo>
                    <a:cubicBezTo>
                      <a:pt x="106" y="70"/>
                      <a:pt x="105" y="67"/>
                      <a:pt x="106" y="64"/>
                    </a:cubicBezTo>
                    <a:cubicBezTo>
                      <a:pt x="106" y="62"/>
                      <a:pt x="106" y="60"/>
                      <a:pt x="107" y="58"/>
                    </a:cubicBezTo>
                    <a:cubicBezTo>
                      <a:pt x="107" y="56"/>
                      <a:pt x="106" y="54"/>
                      <a:pt x="104" y="53"/>
                    </a:cubicBezTo>
                    <a:cubicBezTo>
                      <a:pt x="100" y="52"/>
                      <a:pt x="97" y="51"/>
                      <a:pt x="94" y="49"/>
                    </a:cubicBezTo>
                    <a:cubicBezTo>
                      <a:pt x="91" y="48"/>
                      <a:pt x="91" y="47"/>
                      <a:pt x="91" y="44"/>
                    </a:cubicBezTo>
                    <a:cubicBezTo>
                      <a:pt x="91" y="43"/>
                      <a:pt x="91" y="41"/>
                      <a:pt x="92" y="40"/>
                    </a:cubicBezTo>
                    <a:cubicBezTo>
                      <a:pt x="93" y="37"/>
                      <a:pt x="95" y="36"/>
                      <a:pt x="98" y="37"/>
                    </a:cubicBezTo>
                    <a:cubicBezTo>
                      <a:pt x="99" y="37"/>
                      <a:pt x="101" y="38"/>
                      <a:pt x="102" y="39"/>
                    </a:cubicBezTo>
                    <a:cubicBezTo>
                      <a:pt x="103" y="42"/>
                      <a:pt x="103" y="45"/>
                      <a:pt x="102" y="48"/>
                    </a:cubicBezTo>
                    <a:cubicBezTo>
                      <a:pt x="102" y="48"/>
                      <a:pt x="101" y="49"/>
                      <a:pt x="102" y="50"/>
                    </a:cubicBezTo>
                    <a:cubicBezTo>
                      <a:pt x="104" y="51"/>
                      <a:pt x="107" y="50"/>
                      <a:pt x="107" y="48"/>
                    </a:cubicBezTo>
                    <a:cubicBezTo>
                      <a:pt x="108" y="44"/>
                      <a:pt x="107" y="39"/>
                      <a:pt x="105" y="35"/>
                    </a:cubicBezTo>
                    <a:cubicBezTo>
                      <a:pt x="104" y="31"/>
                      <a:pt x="100" y="29"/>
                      <a:pt x="96" y="30"/>
                    </a:cubicBezTo>
                    <a:cubicBezTo>
                      <a:pt x="91" y="30"/>
                      <a:pt x="88" y="33"/>
                      <a:pt x="87" y="37"/>
                    </a:cubicBezTo>
                    <a:cubicBezTo>
                      <a:pt x="87" y="39"/>
                      <a:pt x="87" y="40"/>
                      <a:pt x="87" y="42"/>
                    </a:cubicBezTo>
                    <a:cubicBezTo>
                      <a:pt x="87" y="43"/>
                      <a:pt x="87" y="45"/>
                      <a:pt x="87" y="47"/>
                    </a:cubicBezTo>
                    <a:cubicBezTo>
                      <a:pt x="85" y="45"/>
                      <a:pt x="83" y="45"/>
                      <a:pt x="81" y="46"/>
                    </a:cubicBezTo>
                    <a:cubicBezTo>
                      <a:pt x="80" y="46"/>
                      <a:pt x="80" y="46"/>
                      <a:pt x="80" y="46"/>
                    </a:cubicBezTo>
                    <a:cubicBezTo>
                      <a:pt x="78" y="46"/>
                      <a:pt x="78" y="45"/>
                      <a:pt x="78" y="44"/>
                    </a:cubicBezTo>
                    <a:cubicBezTo>
                      <a:pt x="77" y="41"/>
                      <a:pt x="77" y="38"/>
                      <a:pt x="76" y="36"/>
                    </a:cubicBezTo>
                    <a:cubicBezTo>
                      <a:pt x="76" y="35"/>
                      <a:pt x="76" y="35"/>
                      <a:pt x="76" y="34"/>
                    </a:cubicBezTo>
                    <a:cubicBezTo>
                      <a:pt x="74" y="32"/>
                      <a:pt x="73" y="31"/>
                      <a:pt x="70" y="31"/>
                    </a:cubicBezTo>
                    <a:cubicBezTo>
                      <a:pt x="68" y="31"/>
                      <a:pt x="67" y="32"/>
                      <a:pt x="66" y="34"/>
                    </a:cubicBezTo>
                    <a:cubicBezTo>
                      <a:pt x="63" y="39"/>
                      <a:pt x="63" y="45"/>
                      <a:pt x="66" y="49"/>
                    </a:cubicBezTo>
                    <a:cubicBezTo>
                      <a:pt x="66" y="50"/>
                      <a:pt x="67" y="51"/>
                      <a:pt x="68" y="51"/>
                    </a:cubicBezTo>
                    <a:cubicBezTo>
                      <a:pt x="69" y="51"/>
                      <a:pt x="69" y="50"/>
                      <a:pt x="69" y="49"/>
                    </a:cubicBezTo>
                    <a:cubicBezTo>
                      <a:pt x="69" y="48"/>
                      <a:pt x="68" y="48"/>
                      <a:pt x="67" y="47"/>
                    </a:cubicBezTo>
                    <a:cubicBezTo>
                      <a:pt x="66" y="45"/>
                      <a:pt x="65" y="42"/>
                      <a:pt x="66" y="40"/>
                    </a:cubicBezTo>
                    <a:cubicBezTo>
                      <a:pt x="67" y="37"/>
                      <a:pt x="71" y="36"/>
                      <a:pt x="73" y="38"/>
                    </a:cubicBezTo>
                    <a:cubicBezTo>
                      <a:pt x="75" y="39"/>
                      <a:pt x="75" y="42"/>
                      <a:pt x="75" y="44"/>
                    </a:cubicBezTo>
                    <a:cubicBezTo>
                      <a:pt x="75" y="46"/>
                      <a:pt x="74" y="47"/>
                      <a:pt x="73" y="48"/>
                    </a:cubicBezTo>
                    <a:cubicBezTo>
                      <a:pt x="73" y="48"/>
                      <a:pt x="72" y="48"/>
                      <a:pt x="72" y="49"/>
                    </a:cubicBezTo>
                    <a:cubicBezTo>
                      <a:pt x="71" y="51"/>
                      <a:pt x="69" y="52"/>
                      <a:pt x="66" y="54"/>
                    </a:cubicBezTo>
                    <a:cubicBezTo>
                      <a:pt x="65" y="54"/>
                      <a:pt x="65" y="55"/>
                      <a:pt x="64" y="56"/>
                    </a:cubicBezTo>
                    <a:cubicBezTo>
                      <a:pt x="63" y="58"/>
                      <a:pt x="64" y="59"/>
                      <a:pt x="65" y="59"/>
                    </a:cubicBezTo>
                    <a:cubicBezTo>
                      <a:pt x="66" y="60"/>
                      <a:pt x="67" y="61"/>
                      <a:pt x="68" y="62"/>
                    </a:cubicBezTo>
                    <a:cubicBezTo>
                      <a:pt x="70" y="66"/>
                      <a:pt x="74" y="66"/>
                      <a:pt x="78" y="66"/>
                    </a:cubicBezTo>
                    <a:cubicBezTo>
                      <a:pt x="82" y="66"/>
                      <a:pt x="87" y="65"/>
                      <a:pt x="91" y="63"/>
                    </a:cubicBezTo>
                    <a:cubicBezTo>
                      <a:pt x="94" y="62"/>
                      <a:pt x="98" y="61"/>
                      <a:pt x="101" y="58"/>
                    </a:cubicBezTo>
                    <a:cubicBezTo>
                      <a:pt x="101" y="58"/>
                      <a:pt x="102" y="58"/>
                      <a:pt x="103" y="58"/>
                    </a:cubicBezTo>
                    <a:cubicBezTo>
                      <a:pt x="103" y="58"/>
                      <a:pt x="103" y="59"/>
                      <a:pt x="103" y="60"/>
                    </a:cubicBezTo>
                    <a:cubicBezTo>
                      <a:pt x="103" y="60"/>
                      <a:pt x="102" y="61"/>
                      <a:pt x="102" y="61"/>
                    </a:cubicBezTo>
                    <a:cubicBezTo>
                      <a:pt x="97" y="63"/>
                      <a:pt x="91" y="65"/>
                      <a:pt x="86" y="67"/>
                    </a:cubicBezTo>
                    <a:cubicBezTo>
                      <a:pt x="83" y="69"/>
                      <a:pt x="79" y="69"/>
                      <a:pt x="74" y="69"/>
                    </a:cubicBezTo>
                    <a:cubicBezTo>
                      <a:pt x="73" y="69"/>
                      <a:pt x="72" y="68"/>
                      <a:pt x="71" y="68"/>
                    </a:cubicBezTo>
                    <a:close/>
                    <a:moveTo>
                      <a:pt x="73" y="45"/>
                    </a:moveTo>
                    <a:cubicBezTo>
                      <a:pt x="73" y="43"/>
                      <a:pt x="73" y="41"/>
                      <a:pt x="72" y="40"/>
                    </a:cubicBezTo>
                    <a:cubicBezTo>
                      <a:pt x="71" y="40"/>
                      <a:pt x="71" y="40"/>
                      <a:pt x="70" y="39"/>
                    </a:cubicBezTo>
                    <a:cubicBezTo>
                      <a:pt x="70" y="40"/>
                      <a:pt x="70" y="41"/>
                      <a:pt x="70" y="41"/>
                    </a:cubicBezTo>
                    <a:cubicBezTo>
                      <a:pt x="72" y="41"/>
                      <a:pt x="72" y="42"/>
                      <a:pt x="72" y="44"/>
                    </a:cubicBezTo>
                    <a:cubicBezTo>
                      <a:pt x="71" y="44"/>
                      <a:pt x="72" y="45"/>
                      <a:pt x="73" y="45"/>
                    </a:cubicBezTo>
                    <a:close/>
                    <a:moveTo>
                      <a:pt x="97" y="39"/>
                    </a:moveTo>
                    <a:cubicBezTo>
                      <a:pt x="99" y="40"/>
                      <a:pt x="99" y="42"/>
                      <a:pt x="100" y="44"/>
                    </a:cubicBezTo>
                    <a:cubicBezTo>
                      <a:pt x="100" y="43"/>
                      <a:pt x="101" y="43"/>
                      <a:pt x="101" y="42"/>
                    </a:cubicBezTo>
                    <a:cubicBezTo>
                      <a:pt x="101" y="41"/>
                      <a:pt x="100" y="40"/>
                      <a:pt x="99" y="39"/>
                    </a:cubicBezTo>
                    <a:cubicBezTo>
                      <a:pt x="98"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6" name="Freeform 193"/>
              <p:cNvSpPr>
                <a:spLocks/>
              </p:cNvSpPr>
              <p:nvPr userDrawn="1"/>
            </p:nvSpPr>
            <p:spPr bwMode="auto">
              <a:xfrm>
                <a:off x="3551" y="2614"/>
                <a:ext cx="3" cy="2"/>
              </a:xfrm>
              <a:custGeom>
                <a:avLst/>
                <a:gdLst>
                  <a:gd name="T0" fmla="*/ 2 w 2"/>
                  <a:gd name="T1" fmla="*/ 0 h 2"/>
                  <a:gd name="T2" fmla="*/ 1 w 2"/>
                  <a:gd name="T3" fmla="*/ 1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1" y="1"/>
                    </a:cubicBezTo>
                    <a:cubicBezTo>
                      <a:pt x="1" y="2"/>
                      <a:pt x="0" y="2"/>
                      <a:pt x="0" y="2"/>
                    </a:cubicBezTo>
                    <a:cubicBezTo>
                      <a:pt x="0" y="1"/>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194"/>
              <p:cNvSpPr>
                <a:spLocks/>
              </p:cNvSpPr>
              <p:nvPr userDrawn="1"/>
            </p:nvSpPr>
            <p:spPr bwMode="auto">
              <a:xfrm>
                <a:off x="3564" y="2614"/>
                <a:ext cx="4" cy="1"/>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8" name="Freeform 195"/>
              <p:cNvSpPr>
                <a:spLocks/>
              </p:cNvSpPr>
              <p:nvPr userDrawn="1"/>
            </p:nvSpPr>
            <p:spPr bwMode="auto">
              <a:xfrm>
                <a:off x="2004"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196"/>
              <p:cNvSpPr>
                <a:spLocks noEditPoints="1"/>
              </p:cNvSpPr>
              <p:nvPr userDrawn="1"/>
            </p:nvSpPr>
            <p:spPr bwMode="auto">
              <a:xfrm>
                <a:off x="2152"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1"/>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0" name="Freeform 197"/>
              <p:cNvSpPr>
                <a:spLocks/>
              </p:cNvSpPr>
              <p:nvPr userDrawn="1"/>
            </p:nvSpPr>
            <p:spPr bwMode="auto">
              <a:xfrm>
                <a:off x="2350"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1" y="7"/>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Freeform 198"/>
              <p:cNvSpPr>
                <a:spLocks noEditPoints="1"/>
              </p:cNvSpPr>
              <p:nvPr userDrawn="1"/>
            </p:nvSpPr>
            <p:spPr bwMode="auto">
              <a:xfrm>
                <a:off x="2497"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2" name="Freeform 199"/>
              <p:cNvSpPr>
                <a:spLocks noEditPoints="1"/>
              </p:cNvSpPr>
              <p:nvPr userDrawn="1"/>
            </p:nvSpPr>
            <p:spPr bwMode="auto">
              <a:xfrm>
                <a:off x="2692"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Freeform 200"/>
              <p:cNvSpPr>
                <a:spLocks/>
              </p:cNvSpPr>
              <p:nvPr userDrawn="1"/>
            </p:nvSpPr>
            <p:spPr bwMode="auto">
              <a:xfrm>
                <a:off x="2890"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1" y="29"/>
                      <a:pt x="16" y="26"/>
                    </a:cubicBezTo>
                    <a:cubicBezTo>
                      <a:pt x="22"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4" name="Freeform 201"/>
              <p:cNvSpPr>
                <a:spLocks/>
              </p:cNvSpPr>
              <p:nvPr userDrawn="1"/>
            </p:nvSpPr>
            <p:spPr bwMode="auto">
              <a:xfrm>
                <a:off x="3032" y="3298"/>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3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1"/>
                      <a:pt x="21" y="83"/>
                    </a:cubicBezTo>
                    <a:cubicBezTo>
                      <a:pt x="21" y="43"/>
                      <a:pt x="21" y="43"/>
                      <a:pt x="21" y="43"/>
                    </a:cubicBezTo>
                    <a:cubicBezTo>
                      <a:pt x="21" y="14"/>
                      <a:pt x="35" y="0"/>
                      <a:pt x="63" y="0"/>
                    </a:cubicBezTo>
                    <a:cubicBezTo>
                      <a:pt x="63" y="17"/>
                      <a:pt x="63" y="17"/>
                      <a:pt x="63" y="17"/>
                    </a:cubicBezTo>
                    <a:cubicBezTo>
                      <a:pt x="49" y="18"/>
                      <a:pt x="42" y="27"/>
                      <a:pt x="42" y="44"/>
                    </a:cubicBezTo>
                    <a:cubicBezTo>
                      <a:pt x="42" y="84"/>
                      <a:pt x="42" y="84"/>
                      <a:pt x="42" y="84"/>
                    </a:cubicBezTo>
                    <a:cubicBezTo>
                      <a:pt x="42" y="104"/>
                      <a:pt x="35" y="115"/>
                      <a:pt x="21" y="120"/>
                    </a:cubicBezTo>
                    <a:cubicBezTo>
                      <a:pt x="21" y="120"/>
                      <a:pt x="21" y="120"/>
                      <a:pt x="21" y="120"/>
                    </a:cubicBezTo>
                    <a:cubicBezTo>
                      <a:pt x="35" y="124"/>
                      <a:pt x="42" y="136"/>
                      <a:pt x="42" y="155"/>
                    </a:cubicBezTo>
                    <a:cubicBezTo>
                      <a:pt x="42" y="195"/>
                      <a:pt x="42" y="195"/>
                      <a:pt x="42" y="195"/>
                    </a:cubicBezTo>
                    <a:cubicBezTo>
                      <a:pt x="42" y="205"/>
                      <a:pt x="43" y="212"/>
                      <a:pt x="46"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Freeform 202"/>
              <p:cNvSpPr>
                <a:spLocks/>
              </p:cNvSpPr>
              <p:nvPr userDrawn="1"/>
            </p:nvSpPr>
            <p:spPr bwMode="auto">
              <a:xfrm>
                <a:off x="3140" y="3298"/>
                <a:ext cx="77" cy="293"/>
              </a:xfrm>
              <a:custGeom>
                <a:avLst/>
                <a:gdLst>
                  <a:gd name="T0" fmla="*/ 64 w 64"/>
                  <a:gd name="T1" fmla="*/ 128 h 240"/>
                  <a:gd name="T2" fmla="*/ 42 w 64"/>
                  <a:gd name="T3" fmla="*/ 157 h 240"/>
                  <a:gd name="T4" fmla="*/ 42 w 64"/>
                  <a:gd name="T5" fmla="*/ 198 h 240"/>
                  <a:gd name="T6" fmla="*/ 0 w 64"/>
                  <a:gd name="T7" fmla="*/ 240 h 240"/>
                  <a:gd name="T8" fmla="*/ 0 w 64"/>
                  <a:gd name="T9" fmla="*/ 223 h 240"/>
                  <a:gd name="T10" fmla="*/ 17 w 64"/>
                  <a:gd name="T11" fmla="*/ 216 h 240"/>
                  <a:gd name="T12" fmla="*/ 22 w 64"/>
                  <a:gd name="T13" fmla="*/ 195 h 240"/>
                  <a:gd name="T14" fmla="*/ 22 w 64"/>
                  <a:gd name="T15" fmla="*/ 155 h 240"/>
                  <a:gd name="T16" fmla="*/ 43 w 64"/>
                  <a:gd name="T17" fmla="*/ 120 h 240"/>
                  <a:gd name="T18" fmla="*/ 43 w 64"/>
                  <a:gd name="T19" fmla="*/ 120 h 240"/>
                  <a:gd name="T20" fmla="*/ 22 w 64"/>
                  <a:gd name="T21" fmla="*/ 84 h 240"/>
                  <a:gd name="T22" fmla="*/ 22 w 64"/>
                  <a:gd name="T23" fmla="*/ 44 h 240"/>
                  <a:gd name="T24" fmla="*/ 0 w 64"/>
                  <a:gd name="T25" fmla="*/ 17 h 240"/>
                  <a:gd name="T26" fmla="*/ 0 w 64"/>
                  <a:gd name="T27" fmla="*/ 0 h 240"/>
                  <a:gd name="T28" fmla="*/ 42 w 64"/>
                  <a:gd name="T29" fmla="*/ 43 h 240"/>
                  <a:gd name="T30" fmla="*/ 42 w 64"/>
                  <a:gd name="T31" fmla="*/ 83 h 240"/>
                  <a:gd name="T32" fmla="*/ 64 w 64"/>
                  <a:gd name="T33" fmla="*/ 112 h 240"/>
                  <a:gd name="T34" fmla="*/ 64 w 64"/>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128"/>
                    </a:moveTo>
                    <a:cubicBezTo>
                      <a:pt x="49" y="129"/>
                      <a:pt x="42" y="139"/>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4"/>
                      <a:pt x="22" y="84"/>
                    </a:cubicBezTo>
                    <a:cubicBezTo>
                      <a:pt x="22" y="44"/>
                      <a:pt x="22" y="44"/>
                      <a:pt x="22" y="44"/>
                    </a:cubicBezTo>
                    <a:cubicBezTo>
                      <a:pt x="22" y="27"/>
                      <a:pt x="15" y="18"/>
                      <a:pt x="0" y="17"/>
                    </a:cubicBezTo>
                    <a:cubicBezTo>
                      <a:pt x="0" y="0"/>
                      <a:pt x="0" y="0"/>
                      <a:pt x="0" y="0"/>
                    </a:cubicBezTo>
                    <a:cubicBezTo>
                      <a:pt x="28" y="0"/>
                      <a:pt x="42" y="14"/>
                      <a:pt x="42" y="43"/>
                    </a:cubicBezTo>
                    <a:cubicBezTo>
                      <a:pt x="42" y="83"/>
                      <a:pt x="42" y="83"/>
                      <a:pt x="42" y="83"/>
                    </a:cubicBezTo>
                    <a:cubicBezTo>
                      <a:pt x="42" y="101"/>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6" name="Freeform 203"/>
              <p:cNvSpPr>
                <a:spLocks/>
              </p:cNvSpPr>
              <p:nvPr userDrawn="1"/>
            </p:nvSpPr>
            <p:spPr bwMode="auto">
              <a:xfrm>
                <a:off x="3248" y="3292"/>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1" y="7"/>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Freeform 204"/>
              <p:cNvSpPr>
                <a:spLocks noEditPoints="1"/>
              </p:cNvSpPr>
              <p:nvPr userDrawn="1"/>
            </p:nvSpPr>
            <p:spPr bwMode="auto">
              <a:xfrm>
                <a:off x="3395" y="3294"/>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8" name="Freeform 205"/>
              <p:cNvSpPr>
                <a:spLocks noEditPoints="1"/>
              </p:cNvSpPr>
              <p:nvPr userDrawn="1"/>
            </p:nvSpPr>
            <p:spPr bwMode="auto">
              <a:xfrm>
                <a:off x="3590" y="3294"/>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Freeform 206"/>
              <p:cNvSpPr>
                <a:spLocks/>
              </p:cNvSpPr>
              <p:nvPr userDrawn="1"/>
            </p:nvSpPr>
            <p:spPr bwMode="auto">
              <a:xfrm>
                <a:off x="3788"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Freeform 207"/>
              <p:cNvSpPr>
                <a:spLocks/>
              </p:cNvSpPr>
              <p:nvPr userDrawn="1"/>
            </p:nvSpPr>
            <p:spPr bwMode="auto">
              <a:xfrm>
                <a:off x="3938"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Freeform 208"/>
              <p:cNvSpPr>
                <a:spLocks noEditPoints="1"/>
              </p:cNvSpPr>
              <p:nvPr userDrawn="1"/>
            </p:nvSpPr>
            <p:spPr bwMode="auto">
              <a:xfrm>
                <a:off x="4085"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7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7"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Freeform 209"/>
              <p:cNvSpPr>
                <a:spLocks/>
              </p:cNvSpPr>
              <p:nvPr userDrawn="1"/>
            </p:nvSpPr>
            <p:spPr bwMode="auto">
              <a:xfrm>
                <a:off x="4284" y="3292"/>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Freeform 210"/>
              <p:cNvSpPr>
                <a:spLocks/>
              </p:cNvSpPr>
              <p:nvPr userDrawn="1"/>
            </p:nvSpPr>
            <p:spPr bwMode="auto">
              <a:xfrm>
                <a:off x="4433" y="3292"/>
                <a:ext cx="82"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Freeform 211"/>
              <p:cNvSpPr>
                <a:spLocks noEditPoints="1"/>
              </p:cNvSpPr>
              <p:nvPr userDrawn="1"/>
            </p:nvSpPr>
            <p:spPr bwMode="auto">
              <a:xfrm>
                <a:off x="4581"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5"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Freeform 212"/>
              <p:cNvSpPr>
                <a:spLocks/>
              </p:cNvSpPr>
              <p:nvPr userDrawn="1"/>
            </p:nvSpPr>
            <p:spPr bwMode="auto">
              <a:xfrm>
                <a:off x="4779"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Freeform 213"/>
              <p:cNvSpPr>
                <a:spLocks noEditPoints="1"/>
              </p:cNvSpPr>
              <p:nvPr userDrawn="1"/>
            </p:nvSpPr>
            <p:spPr bwMode="auto">
              <a:xfrm>
                <a:off x="4926"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Freeform 214"/>
              <p:cNvSpPr>
                <a:spLocks/>
              </p:cNvSpPr>
              <p:nvPr userDrawn="1"/>
            </p:nvSpPr>
            <p:spPr bwMode="auto">
              <a:xfrm>
                <a:off x="5125"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8" name="Freeform 215"/>
              <p:cNvSpPr>
                <a:spLocks noEditPoints="1"/>
              </p:cNvSpPr>
              <p:nvPr userDrawn="1"/>
            </p:nvSpPr>
            <p:spPr bwMode="auto">
              <a:xfrm>
                <a:off x="5261" y="3298"/>
                <a:ext cx="188" cy="218"/>
              </a:xfrm>
              <a:custGeom>
                <a:avLst/>
                <a:gdLst>
                  <a:gd name="T0" fmla="*/ 188 w 188"/>
                  <a:gd name="T1" fmla="*/ 67 h 218"/>
                  <a:gd name="T2" fmla="*/ 184 w 188"/>
                  <a:gd name="T3" fmla="*/ 84 h 218"/>
                  <a:gd name="T4" fmla="*/ 142 w 188"/>
                  <a:gd name="T5" fmla="*/ 84 h 218"/>
                  <a:gd name="T6" fmla="*/ 131 w 188"/>
                  <a:gd name="T7" fmla="*/ 134 h 218"/>
                  <a:gd name="T8" fmla="*/ 177 w 188"/>
                  <a:gd name="T9" fmla="*/ 134 h 218"/>
                  <a:gd name="T10" fmla="*/ 173 w 188"/>
                  <a:gd name="T11" fmla="*/ 152 h 218"/>
                  <a:gd name="T12" fmla="*/ 127 w 188"/>
                  <a:gd name="T13" fmla="*/ 152 h 218"/>
                  <a:gd name="T14" fmla="*/ 112 w 188"/>
                  <a:gd name="T15" fmla="*/ 218 h 218"/>
                  <a:gd name="T16" fmla="*/ 92 w 188"/>
                  <a:gd name="T17" fmla="*/ 218 h 218"/>
                  <a:gd name="T18" fmla="*/ 106 w 188"/>
                  <a:gd name="T19" fmla="*/ 152 h 218"/>
                  <a:gd name="T20" fmla="*/ 64 w 188"/>
                  <a:gd name="T21" fmla="*/ 152 h 218"/>
                  <a:gd name="T22" fmla="*/ 50 w 188"/>
                  <a:gd name="T23" fmla="*/ 218 h 218"/>
                  <a:gd name="T24" fmla="*/ 30 w 188"/>
                  <a:gd name="T25" fmla="*/ 218 h 218"/>
                  <a:gd name="T26" fmla="*/ 43 w 188"/>
                  <a:gd name="T27" fmla="*/ 152 h 218"/>
                  <a:gd name="T28" fmla="*/ 0 w 188"/>
                  <a:gd name="T29" fmla="*/ 152 h 218"/>
                  <a:gd name="T30" fmla="*/ 3 w 188"/>
                  <a:gd name="T31" fmla="*/ 134 h 218"/>
                  <a:gd name="T32" fmla="*/ 48 w 188"/>
                  <a:gd name="T33" fmla="*/ 134 h 218"/>
                  <a:gd name="T34" fmla="*/ 58 w 188"/>
                  <a:gd name="T35" fmla="*/ 84 h 218"/>
                  <a:gd name="T36" fmla="*/ 11 w 188"/>
                  <a:gd name="T37" fmla="*/ 84 h 218"/>
                  <a:gd name="T38" fmla="*/ 15 w 188"/>
                  <a:gd name="T39" fmla="*/ 67 h 218"/>
                  <a:gd name="T40" fmla="*/ 61 w 188"/>
                  <a:gd name="T41" fmla="*/ 67 h 218"/>
                  <a:gd name="T42" fmla="*/ 75 w 188"/>
                  <a:gd name="T43" fmla="*/ 0 h 218"/>
                  <a:gd name="T44" fmla="*/ 95 w 188"/>
                  <a:gd name="T45" fmla="*/ 0 h 218"/>
                  <a:gd name="T46" fmla="*/ 82 w 188"/>
                  <a:gd name="T47" fmla="*/ 67 h 218"/>
                  <a:gd name="T48" fmla="*/ 123 w 188"/>
                  <a:gd name="T49" fmla="*/ 67 h 218"/>
                  <a:gd name="T50" fmla="*/ 138 w 188"/>
                  <a:gd name="T51" fmla="*/ 0 h 218"/>
                  <a:gd name="T52" fmla="*/ 159 w 188"/>
                  <a:gd name="T53" fmla="*/ 0 h 218"/>
                  <a:gd name="T54" fmla="*/ 145 w 188"/>
                  <a:gd name="T55" fmla="*/ 67 h 218"/>
                  <a:gd name="T56" fmla="*/ 188 w 188"/>
                  <a:gd name="T57" fmla="*/ 67 h 218"/>
                  <a:gd name="T58" fmla="*/ 121 w 188"/>
                  <a:gd name="T59" fmla="*/ 84 h 218"/>
                  <a:gd name="T60" fmla="*/ 78 w 188"/>
                  <a:gd name="T61" fmla="*/ 84 h 218"/>
                  <a:gd name="T62" fmla="*/ 67 w 188"/>
                  <a:gd name="T63" fmla="*/ 134 h 218"/>
                  <a:gd name="T64" fmla="*/ 110 w 188"/>
                  <a:gd name="T65" fmla="*/ 134 h 218"/>
                  <a:gd name="T66" fmla="*/ 121 w 188"/>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8">
                    <a:moveTo>
                      <a:pt x="188" y="67"/>
                    </a:moveTo>
                    <a:lnTo>
                      <a:pt x="184" y="84"/>
                    </a:lnTo>
                    <a:lnTo>
                      <a:pt x="142" y="84"/>
                    </a:lnTo>
                    <a:lnTo>
                      <a:pt x="131" y="134"/>
                    </a:lnTo>
                    <a:lnTo>
                      <a:pt x="177" y="134"/>
                    </a:lnTo>
                    <a:lnTo>
                      <a:pt x="173" y="152"/>
                    </a:lnTo>
                    <a:lnTo>
                      <a:pt x="127" y="152"/>
                    </a:lnTo>
                    <a:lnTo>
                      <a:pt x="112" y="218"/>
                    </a:lnTo>
                    <a:lnTo>
                      <a:pt x="92" y="218"/>
                    </a:lnTo>
                    <a:lnTo>
                      <a:pt x="106" y="152"/>
                    </a:lnTo>
                    <a:lnTo>
                      <a:pt x="64" y="152"/>
                    </a:lnTo>
                    <a:lnTo>
                      <a:pt x="50" y="218"/>
                    </a:lnTo>
                    <a:lnTo>
                      <a:pt x="30" y="218"/>
                    </a:lnTo>
                    <a:lnTo>
                      <a:pt x="43" y="152"/>
                    </a:lnTo>
                    <a:lnTo>
                      <a:pt x="0" y="152"/>
                    </a:lnTo>
                    <a:lnTo>
                      <a:pt x="3" y="134"/>
                    </a:lnTo>
                    <a:lnTo>
                      <a:pt x="48" y="134"/>
                    </a:lnTo>
                    <a:lnTo>
                      <a:pt x="58" y="84"/>
                    </a:lnTo>
                    <a:lnTo>
                      <a:pt x="11" y="84"/>
                    </a:lnTo>
                    <a:lnTo>
                      <a:pt x="15" y="67"/>
                    </a:lnTo>
                    <a:lnTo>
                      <a:pt x="61" y="67"/>
                    </a:lnTo>
                    <a:lnTo>
                      <a:pt x="75" y="0"/>
                    </a:lnTo>
                    <a:lnTo>
                      <a:pt x="95" y="0"/>
                    </a:lnTo>
                    <a:lnTo>
                      <a:pt x="82" y="67"/>
                    </a:lnTo>
                    <a:lnTo>
                      <a:pt x="123" y="67"/>
                    </a:lnTo>
                    <a:lnTo>
                      <a:pt x="138" y="0"/>
                    </a:lnTo>
                    <a:lnTo>
                      <a:pt x="159" y="0"/>
                    </a:lnTo>
                    <a:lnTo>
                      <a:pt x="145" y="67"/>
                    </a:lnTo>
                    <a:lnTo>
                      <a:pt x="188"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Freeform 216"/>
              <p:cNvSpPr>
                <a:spLocks noEditPoints="1"/>
              </p:cNvSpPr>
              <p:nvPr userDrawn="1"/>
            </p:nvSpPr>
            <p:spPr bwMode="auto">
              <a:xfrm>
                <a:off x="5478" y="3294"/>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5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0" name="Freeform 217"/>
              <p:cNvSpPr>
                <a:spLocks/>
              </p:cNvSpPr>
              <p:nvPr userDrawn="1"/>
            </p:nvSpPr>
            <p:spPr bwMode="auto">
              <a:xfrm>
                <a:off x="5904" y="3292"/>
                <a:ext cx="82"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419"/>
            <p:cNvGrpSpPr>
              <a:grpSpLocks/>
            </p:cNvGrpSpPr>
            <p:nvPr userDrawn="1"/>
          </p:nvGrpSpPr>
          <p:grpSpPr bwMode="auto">
            <a:xfrm>
              <a:off x="1951" y="0"/>
              <a:ext cx="5890" cy="3541"/>
              <a:chOff x="1951" y="0"/>
              <a:chExt cx="5890" cy="3541"/>
            </a:xfrm>
            <a:grpFill/>
          </p:grpSpPr>
          <p:sp>
            <p:nvSpPr>
              <p:cNvPr id="1349" name="Freeform 219"/>
              <p:cNvSpPr>
                <a:spLocks noEditPoints="1"/>
              </p:cNvSpPr>
              <p:nvPr userDrawn="1"/>
            </p:nvSpPr>
            <p:spPr bwMode="auto">
              <a:xfrm>
                <a:off x="6051"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220"/>
              <p:cNvSpPr>
                <a:spLocks/>
              </p:cNvSpPr>
              <p:nvPr userDrawn="1"/>
            </p:nvSpPr>
            <p:spPr bwMode="auto">
              <a:xfrm>
                <a:off x="6250"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221"/>
              <p:cNvSpPr>
                <a:spLocks/>
              </p:cNvSpPr>
              <p:nvPr userDrawn="1"/>
            </p:nvSpPr>
            <p:spPr bwMode="auto">
              <a:xfrm>
                <a:off x="6398"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222"/>
              <p:cNvSpPr>
                <a:spLocks noEditPoints="1"/>
              </p:cNvSpPr>
              <p:nvPr userDrawn="1"/>
            </p:nvSpPr>
            <p:spPr bwMode="auto">
              <a:xfrm>
                <a:off x="6547"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223"/>
              <p:cNvSpPr>
                <a:spLocks/>
              </p:cNvSpPr>
              <p:nvPr userDrawn="1"/>
            </p:nvSpPr>
            <p:spPr bwMode="auto">
              <a:xfrm>
                <a:off x="6744"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224"/>
              <p:cNvSpPr>
                <a:spLocks/>
              </p:cNvSpPr>
              <p:nvPr userDrawn="1"/>
            </p:nvSpPr>
            <p:spPr bwMode="auto">
              <a:xfrm>
                <a:off x="6893"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225"/>
              <p:cNvSpPr>
                <a:spLocks/>
              </p:cNvSpPr>
              <p:nvPr userDrawn="1"/>
            </p:nvSpPr>
            <p:spPr bwMode="auto">
              <a:xfrm>
                <a:off x="7043"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226"/>
              <p:cNvSpPr>
                <a:spLocks/>
              </p:cNvSpPr>
              <p:nvPr userDrawn="1"/>
            </p:nvSpPr>
            <p:spPr bwMode="auto">
              <a:xfrm>
                <a:off x="7192"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1" y="29"/>
                      <a:pt x="16" y="26"/>
                    </a:cubicBezTo>
                    <a:cubicBezTo>
                      <a:pt x="22"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227"/>
              <p:cNvSpPr>
                <a:spLocks noEditPoints="1"/>
              </p:cNvSpPr>
              <p:nvPr userDrawn="1"/>
            </p:nvSpPr>
            <p:spPr bwMode="auto">
              <a:xfrm>
                <a:off x="7340" y="3294"/>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3"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228"/>
              <p:cNvSpPr>
                <a:spLocks/>
              </p:cNvSpPr>
              <p:nvPr userDrawn="1"/>
            </p:nvSpPr>
            <p:spPr bwMode="auto">
              <a:xfrm>
                <a:off x="7538"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229"/>
              <p:cNvSpPr>
                <a:spLocks noEditPoints="1"/>
              </p:cNvSpPr>
              <p:nvPr userDrawn="1"/>
            </p:nvSpPr>
            <p:spPr bwMode="auto">
              <a:xfrm>
                <a:off x="7686"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5"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230"/>
              <p:cNvSpPr>
                <a:spLocks noEditPoints="1"/>
              </p:cNvSpPr>
              <p:nvPr userDrawn="1"/>
            </p:nvSpPr>
            <p:spPr bwMode="auto">
              <a:xfrm>
                <a:off x="5672" y="3284"/>
                <a:ext cx="218" cy="256"/>
              </a:xfrm>
              <a:custGeom>
                <a:avLst/>
                <a:gdLst>
                  <a:gd name="T0" fmla="*/ 175 w 179"/>
                  <a:gd name="T1" fmla="*/ 174 h 209"/>
                  <a:gd name="T2" fmla="*/ 134 w 179"/>
                  <a:gd name="T3" fmla="*/ 209 h 209"/>
                  <a:gd name="T4" fmla="*/ 81 w 179"/>
                  <a:gd name="T5" fmla="*/ 199 h 209"/>
                  <a:gd name="T6" fmla="*/ 32 w 179"/>
                  <a:gd name="T7" fmla="*/ 202 h 209"/>
                  <a:gd name="T8" fmla="*/ 2 w 179"/>
                  <a:gd name="T9" fmla="*/ 184 h 209"/>
                  <a:gd name="T10" fmla="*/ 14 w 179"/>
                  <a:gd name="T11" fmla="*/ 159 h 209"/>
                  <a:gd name="T12" fmla="*/ 9 w 179"/>
                  <a:gd name="T13" fmla="*/ 163 h 209"/>
                  <a:gd name="T14" fmla="*/ 6 w 179"/>
                  <a:gd name="T15" fmla="*/ 184 h 209"/>
                  <a:gd name="T16" fmla="*/ 45 w 179"/>
                  <a:gd name="T17" fmla="*/ 203 h 209"/>
                  <a:gd name="T18" fmla="*/ 42 w 179"/>
                  <a:gd name="T19" fmla="*/ 153 h 209"/>
                  <a:gd name="T20" fmla="*/ 25 w 179"/>
                  <a:gd name="T21" fmla="*/ 134 h 209"/>
                  <a:gd name="T22" fmla="*/ 52 w 179"/>
                  <a:gd name="T23" fmla="*/ 84 h 209"/>
                  <a:gd name="T24" fmla="*/ 58 w 179"/>
                  <a:gd name="T25" fmla="*/ 28 h 209"/>
                  <a:gd name="T26" fmla="*/ 117 w 179"/>
                  <a:gd name="T27" fmla="*/ 18 h 209"/>
                  <a:gd name="T28" fmla="*/ 159 w 179"/>
                  <a:gd name="T29" fmla="*/ 129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80 h 209"/>
                  <a:gd name="T48" fmla="*/ 63 w 179"/>
                  <a:gd name="T49" fmla="*/ 77 h 209"/>
                  <a:gd name="T50" fmla="*/ 56 w 179"/>
                  <a:gd name="T51" fmla="*/ 101 h 209"/>
                  <a:gd name="T52" fmla="*/ 45 w 179"/>
                  <a:gd name="T53" fmla="*/ 141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9 h 209"/>
                  <a:gd name="T84" fmla="*/ 87 w 179"/>
                  <a:gd name="T85" fmla="*/ 42 h 209"/>
                  <a:gd name="T86" fmla="*/ 78 w 179"/>
                  <a:gd name="T87" fmla="*/ 44 h 209"/>
                  <a:gd name="T88" fmla="*/ 66 w 179"/>
                  <a:gd name="T89" fmla="*/ 35 h 209"/>
                  <a:gd name="T90" fmla="*/ 67 w 179"/>
                  <a:gd name="T91" fmla="*/ 48 h 209"/>
                  <a:gd name="T92" fmla="*/ 73 w 179"/>
                  <a:gd name="T93" fmla="*/ 48 h 209"/>
                  <a:gd name="T94" fmla="*/ 65 w 179"/>
                  <a:gd name="T95" fmla="*/ 60 h 209"/>
                  <a:gd name="T96" fmla="*/ 101 w 179"/>
                  <a:gd name="T97" fmla="*/ 59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6"/>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9"/>
                      <a:pt x="134" y="209"/>
                    </a:cubicBezTo>
                    <a:cubicBezTo>
                      <a:pt x="131" y="209"/>
                      <a:pt x="128" y="209"/>
                      <a:pt x="125" y="208"/>
                    </a:cubicBezTo>
                    <a:cubicBezTo>
                      <a:pt x="122" y="208"/>
                      <a:pt x="119" y="206"/>
                      <a:pt x="118" y="203"/>
                    </a:cubicBezTo>
                    <a:cubicBezTo>
                      <a:pt x="116" y="200"/>
                      <a:pt x="113" y="198"/>
                      <a:pt x="110" y="198"/>
                    </a:cubicBezTo>
                    <a:cubicBezTo>
                      <a:pt x="100" y="198"/>
                      <a:pt x="90" y="199"/>
                      <a:pt x="81" y="199"/>
                    </a:cubicBezTo>
                    <a:cubicBezTo>
                      <a:pt x="76" y="199"/>
                      <a:pt x="72" y="200"/>
                      <a:pt x="68" y="202"/>
                    </a:cubicBezTo>
                    <a:cubicBezTo>
                      <a:pt x="66" y="203"/>
                      <a:pt x="64" y="204"/>
                      <a:pt x="63" y="205"/>
                    </a:cubicBezTo>
                    <a:cubicBezTo>
                      <a:pt x="58" y="209"/>
                      <a:pt x="54" y="209"/>
                      <a:pt x="48" y="208"/>
                    </a:cubicBezTo>
                    <a:cubicBezTo>
                      <a:pt x="43" y="206"/>
                      <a:pt x="38" y="204"/>
                      <a:pt x="32" y="202"/>
                    </a:cubicBezTo>
                    <a:cubicBezTo>
                      <a:pt x="25" y="200"/>
                      <a:pt x="18" y="199"/>
                      <a:pt x="11" y="198"/>
                    </a:cubicBezTo>
                    <a:cubicBezTo>
                      <a:pt x="9" y="197"/>
                      <a:pt x="7" y="196"/>
                      <a:pt x="5" y="196"/>
                    </a:cubicBezTo>
                    <a:cubicBezTo>
                      <a:pt x="1" y="194"/>
                      <a:pt x="0" y="192"/>
                      <a:pt x="1" y="188"/>
                    </a:cubicBezTo>
                    <a:cubicBezTo>
                      <a:pt x="1" y="187"/>
                      <a:pt x="2" y="185"/>
                      <a:pt x="2" y="184"/>
                    </a:cubicBezTo>
                    <a:cubicBezTo>
                      <a:pt x="4" y="180"/>
                      <a:pt x="4" y="176"/>
                      <a:pt x="3" y="172"/>
                    </a:cubicBezTo>
                    <a:cubicBezTo>
                      <a:pt x="3" y="170"/>
                      <a:pt x="2" y="169"/>
                      <a:pt x="2" y="167"/>
                    </a:cubicBezTo>
                    <a:cubicBezTo>
                      <a:pt x="1" y="163"/>
                      <a:pt x="3" y="160"/>
                      <a:pt x="7" y="160"/>
                    </a:cubicBezTo>
                    <a:cubicBezTo>
                      <a:pt x="10" y="160"/>
                      <a:pt x="12" y="160"/>
                      <a:pt x="14" y="159"/>
                    </a:cubicBezTo>
                    <a:cubicBezTo>
                      <a:pt x="19" y="159"/>
                      <a:pt x="22" y="155"/>
                      <a:pt x="23" y="150"/>
                    </a:cubicBezTo>
                    <a:cubicBezTo>
                      <a:pt x="23" y="150"/>
                      <a:pt x="23" y="150"/>
                      <a:pt x="23" y="150"/>
                    </a:cubicBezTo>
                    <a:cubicBezTo>
                      <a:pt x="25" y="153"/>
                      <a:pt x="23" y="160"/>
                      <a:pt x="17" y="162"/>
                    </a:cubicBezTo>
                    <a:cubicBezTo>
                      <a:pt x="15" y="163"/>
                      <a:pt x="12" y="163"/>
                      <a:pt x="9" y="163"/>
                    </a:cubicBezTo>
                    <a:cubicBezTo>
                      <a:pt x="9" y="163"/>
                      <a:pt x="9" y="163"/>
                      <a:pt x="9" y="163"/>
                    </a:cubicBezTo>
                    <a:cubicBezTo>
                      <a:pt x="5" y="162"/>
                      <a:pt x="3" y="164"/>
                      <a:pt x="4" y="168"/>
                    </a:cubicBezTo>
                    <a:cubicBezTo>
                      <a:pt x="5" y="170"/>
                      <a:pt x="6" y="171"/>
                      <a:pt x="6" y="173"/>
                    </a:cubicBezTo>
                    <a:cubicBezTo>
                      <a:pt x="8" y="176"/>
                      <a:pt x="8" y="180"/>
                      <a:pt x="6" y="184"/>
                    </a:cubicBezTo>
                    <a:cubicBezTo>
                      <a:pt x="6" y="185"/>
                      <a:pt x="5" y="187"/>
                      <a:pt x="4" y="188"/>
                    </a:cubicBezTo>
                    <a:cubicBezTo>
                      <a:pt x="4" y="190"/>
                      <a:pt x="4" y="192"/>
                      <a:pt x="7" y="193"/>
                    </a:cubicBezTo>
                    <a:cubicBezTo>
                      <a:pt x="9" y="194"/>
                      <a:pt x="11" y="194"/>
                      <a:pt x="13" y="195"/>
                    </a:cubicBezTo>
                    <a:cubicBezTo>
                      <a:pt x="24" y="197"/>
                      <a:pt x="35" y="199"/>
                      <a:pt x="45" y="203"/>
                    </a:cubicBezTo>
                    <a:cubicBezTo>
                      <a:pt x="49" y="204"/>
                      <a:pt x="52" y="204"/>
                      <a:pt x="55" y="204"/>
                    </a:cubicBezTo>
                    <a:cubicBezTo>
                      <a:pt x="63" y="202"/>
                      <a:pt x="66" y="198"/>
                      <a:pt x="65" y="190"/>
                    </a:cubicBezTo>
                    <a:cubicBezTo>
                      <a:pt x="64" y="186"/>
                      <a:pt x="62" y="182"/>
                      <a:pt x="60" y="179"/>
                    </a:cubicBezTo>
                    <a:cubicBezTo>
                      <a:pt x="54" y="170"/>
                      <a:pt x="49" y="161"/>
                      <a:pt x="42" y="153"/>
                    </a:cubicBezTo>
                    <a:cubicBezTo>
                      <a:pt x="40" y="150"/>
                      <a:pt x="37" y="147"/>
                      <a:pt x="35" y="145"/>
                    </a:cubicBezTo>
                    <a:cubicBezTo>
                      <a:pt x="32" y="143"/>
                      <a:pt x="29" y="143"/>
                      <a:pt x="27" y="145"/>
                    </a:cubicBezTo>
                    <a:cubicBezTo>
                      <a:pt x="26" y="145"/>
                      <a:pt x="25" y="145"/>
                      <a:pt x="25" y="144"/>
                    </a:cubicBezTo>
                    <a:cubicBezTo>
                      <a:pt x="24" y="141"/>
                      <a:pt x="24" y="137"/>
                      <a:pt x="25" y="134"/>
                    </a:cubicBezTo>
                    <a:cubicBezTo>
                      <a:pt x="26" y="133"/>
                      <a:pt x="26" y="132"/>
                      <a:pt x="27" y="130"/>
                    </a:cubicBezTo>
                    <a:cubicBezTo>
                      <a:pt x="30" y="125"/>
                      <a:pt x="32" y="119"/>
                      <a:pt x="35" y="113"/>
                    </a:cubicBezTo>
                    <a:cubicBezTo>
                      <a:pt x="37" y="106"/>
                      <a:pt x="39" y="100"/>
                      <a:pt x="43" y="94"/>
                    </a:cubicBezTo>
                    <a:cubicBezTo>
                      <a:pt x="46" y="91"/>
                      <a:pt x="49" y="87"/>
                      <a:pt x="52" y="84"/>
                    </a:cubicBezTo>
                    <a:cubicBezTo>
                      <a:pt x="54" y="80"/>
                      <a:pt x="56" y="77"/>
                      <a:pt x="58" y="74"/>
                    </a:cubicBezTo>
                    <a:cubicBezTo>
                      <a:pt x="60" y="71"/>
                      <a:pt x="60" y="68"/>
                      <a:pt x="60" y="65"/>
                    </a:cubicBezTo>
                    <a:cubicBezTo>
                      <a:pt x="59" y="58"/>
                      <a:pt x="59" y="51"/>
                      <a:pt x="59" y="44"/>
                    </a:cubicBezTo>
                    <a:cubicBezTo>
                      <a:pt x="58" y="39"/>
                      <a:pt x="58" y="33"/>
                      <a:pt x="58" y="28"/>
                    </a:cubicBezTo>
                    <a:cubicBezTo>
                      <a:pt x="59" y="17"/>
                      <a:pt x="63" y="8"/>
                      <a:pt x="73" y="3"/>
                    </a:cubicBezTo>
                    <a:cubicBezTo>
                      <a:pt x="77" y="1"/>
                      <a:pt x="81" y="1"/>
                      <a:pt x="85" y="0"/>
                    </a:cubicBezTo>
                    <a:cubicBezTo>
                      <a:pt x="91" y="0"/>
                      <a:pt x="97" y="1"/>
                      <a:pt x="102" y="4"/>
                    </a:cubicBezTo>
                    <a:cubicBezTo>
                      <a:pt x="109" y="6"/>
                      <a:pt x="114" y="12"/>
                      <a:pt x="117" y="18"/>
                    </a:cubicBezTo>
                    <a:cubicBezTo>
                      <a:pt x="120" y="24"/>
                      <a:pt x="122" y="30"/>
                      <a:pt x="122" y="37"/>
                    </a:cubicBezTo>
                    <a:cubicBezTo>
                      <a:pt x="122" y="40"/>
                      <a:pt x="122" y="44"/>
                      <a:pt x="123" y="47"/>
                    </a:cubicBezTo>
                    <a:cubicBezTo>
                      <a:pt x="124" y="62"/>
                      <a:pt x="128" y="75"/>
                      <a:pt x="138" y="85"/>
                    </a:cubicBezTo>
                    <a:cubicBezTo>
                      <a:pt x="150" y="97"/>
                      <a:pt x="156" y="112"/>
                      <a:pt x="159" y="129"/>
                    </a:cubicBezTo>
                    <a:cubicBezTo>
                      <a:pt x="161" y="134"/>
                      <a:pt x="161" y="139"/>
                      <a:pt x="160" y="144"/>
                    </a:cubicBezTo>
                    <a:cubicBezTo>
                      <a:pt x="160" y="145"/>
                      <a:pt x="159" y="146"/>
                      <a:pt x="159" y="147"/>
                    </a:cubicBezTo>
                    <a:cubicBezTo>
                      <a:pt x="158" y="147"/>
                      <a:pt x="158" y="148"/>
                      <a:pt x="157" y="148"/>
                    </a:cubicBezTo>
                    <a:cubicBezTo>
                      <a:pt x="155" y="149"/>
                      <a:pt x="154" y="151"/>
                      <a:pt x="153" y="152"/>
                    </a:cubicBezTo>
                    <a:cubicBezTo>
                      <a:pt x="151" y="154"/>
                      <a:pt x="149" y="157"/>
                      <a:pt x="147" y="158"/>
                    </a:cubicBezTo>
                    <a:cubicBezTo>
                      <a:pt x="143" y="161"/>
                      <a:pt x="139" y="161"/>
                      <a:pt x="135" y="160"/>
                    </a:cubicBezTo>
                    <a:cubicBezTo>
                      <a:pt x="133" y="159"/>
                      <a:pt x="132" y="158"/>
                      <a:pt x="131" y="156"/>
                    </a:cubicBezTo>
                    <a:cubicBezTo>
                      <a:pt x="130" y="154"/>
                      <a:pt x="129" y="152"/>
                      <a:pt x="128" y="151"/>
                    </a:cubicBezTo>
                    <a:cubicBezTo>
                      <a:pt x="127" y="150"/>
                      <a:pt x="126" y="148"/>
                      <a:pt x="125" y="148"/>
                    </a:cubicBezTo>
                    <a:cubicBezTo>
                      <a:pt x="123" y="148"/>
                      <a:pt x="122" y="150"/>
                      <a:pt x="121" y="152"/>
                    </a:cubicBezTo>
                    <a:cubicBezTo>
                      <a:pt x="120" y="156"/>
                      <a:pt x="120" y="160"/>
                      <a:pt x="121" y="164"/>
                    </a:cubicBezTo>
                    <a:cubicBezTo>
                      <a:pt x="123" y="171"/>
                      <a:pt x="123" y="179"/>
                      <a:pt x="122" y="186"/>
                    </a:cubicBezTo>
                    <a:cubicBezTo>
                      <a:pt x="121" y="189"/>
                      <a:pt x="121" y="192"/>
                      <a:pt x="122" y="194"/>
                    </a:cubicBezTo>
                    <a:cubicBezTo>
                      <a:pt x="123" y="202"/>
                      <a:pt x="129" y="205"/>
                      <a:pt x="136" y="203"/>
                    </a:cubicBezTo>
                    <a:cubicBezTo>
                      <a:pt x="139" y="202"/>
                      <a:pt x="142" y="200"/>
                      <a:pt x="144" y="198"/>
                    </a:cubicBezTo>
                    <a:cubicBezTo>
                      <a:pt x="150" y="192"/>
                      <a:pt x="158" y="189"/>
                      <a:pt x="165" y="186"/>
                    </a:cubicBezTo>
                    <a:cubicBezTo>
                      <a:pt x="168" y="186"/>
                      <a:pt x="170" y="184"/>
                      <a:pt x="173" y="183"/>
                    </a:cubicBezTo>
                    <a:cubicBezTo>
                      <a:pt x="174" y="183"/>
                      <a:pt x="174" y="182"/>
                      <a:pt x="175" y="181"/>
                    </a:cubicBezTo>
                    <a:cubicBezTo>
                      <a:pt x="176" y="180"/>
                      <a:pt x="176" y="178"/>
                      <a:pt x="175" y="177"/>
                    </a:cubicBezTo>
                    <a:cubicBezTo>
                      <a:pt x="174" y="176"/>
                      <a:pt x="172" y="175"/>
                      <a:pt x="171" y="174"/>
                    </a:cubicBezTo>
                    <a:cubicBezTo>
                      <a:pt x="170" y="174"/>
                      <a:pt x="169" y="173"/>
                      <a:pt x="168" y="173"/>
                    </a:cubicBezTo>
                    <a:cubicBezTo>
                      <a:pt x="163" y="172"/>
                      <a:pt x="161" y="168"/>
                      <a:pt x="160" y="163"/>
                    </a:cubicBezTo>
                    <a:cubicBezTo>
                      <a:pt x="159" y="161"/>
                      <a:pt x="160" y="158"/>
                      <a:pt x="160" y="156"/>
                    </a:cubicBezTo>
                    <a:cubicBezTo>
                      <a:pt x="160" y="155"/>
                      <a:pt x="160" y="154"/>
                      <a:pt x="161" y="153"/>
                    </a:cubicBezTo>
                    <a:close/>
                    <a:moveTo>
                      <a:pt x="71" y="69"/>
                    </a:moveTo>
                    <a:cubicBezTo>
                      <a:pt x="71" y="69"/>
                      <a:pt x="71" y="69"/>
                      <a:pt x="71" y="69"/>
                    </a:cubicBezTo>
                    <a:cubicBezTo>
                      <a:pt x="73" y="72"/>
                      <a:pt x="74" y="73"/>
                      <a:pt x="77" y="74"/>
                    </a:cubicBezTo>
                    <a:cubicBezTo>
                      <a:pt x="81" y="74"/>
                      <a:pt x="85" y="74"/>
                      <a:pt x="88" y="72"/>
                    </a:cubicBezTo>
                    <a:cubicBezTo>
                      <a:pt x="91" y="70"/>
                      <a:pt x="94" y="69"/>
                      <a:pt x="98" y="67"/>
                    </a:cubicBezTo>
                    <a:cubicBezTo>
                      <a:pt x="99" y="66"/>
                      <a:pt x="100" y="66"/>
                      <a:pt x="101" y="66"/>
                    </a:cubicBezTo>
                    <a:cubicBezTo>
                      <a:pt x="101" y="66"/>
                      <a:pt x="102" y="66"/>
                      <a:pt x="102" y="67"/>
                    </a:cubicBezTo>
                    <a:cubicBezTo>
                      <a:pt x="102" y="67"/>
                      <a:pt x="102" y="68"/>
                      <a:pt x="102" y="68"/>
                    </a:cubicBezTo>
                    <a:cubicBezTo>
                      <a:pt x="101" y="69"/>
                      <a:pt x="100" y="69"/>
                      <a:pt x="99" y="70"/>
                    </a:cubicBezTo>
                    <a:cubicBezTo>
                      <a:pt x="94" y="72"/>
                      <a:pt x="91" y="75"/>
                      <a:pt x="87" y="78"/>
                    </a:cubicBezTo>
                    <a:cubicBezTo>
                      <a:pt x="85" y="79"/>
                      <a:pt x="83" y="80"/>
                      <a:pt x="81" y="81"/>
                    </a:cubicBezTo>
                    <a:cubicBezTo>
                      <a:pt x="78" y="83"/>
                      <a:pt x="76" y="82"/>
                      <a:pt x="73" y="80"/>
                    </a:cubicBezTo>
                    <a:cubicBezTo>
                      <a:pt x="71" y="77"/>
                      <a:pt x="69" y="74"/>
                      <a:pt x="67" y="72"/>
                    </a:cubicBezTo>
                    <a:cubicBezTo>
                      <a:pt x="67" y="71"/>
                      <a:pt x="66" y="70"/>
                      <a:pt x="65" y="70"/>
                    </a:cubicBezTo>
                    <a:cubicBezTo>
                      <a:pt x="65" y="70"/>
                      <a:pt x="65" y="71"/>
                      <a:pt x="65" y="71"/>
                    </a:cubicBezTo>
                    <a:cubicBezTo>
                      <a:pt x="64" y="73"/>
                      <a:pt x="64" y="75"/>
                      <a:pt x="63" y="77"/>
                    </a:cubicBezTo>
                    <a:cubicBezTo>
                      <a:pt x="63" y="79"/>
                      <a:pt x="61" y="81"/>
                      <a:pt x="60" y="84"/>
                    </a:cubicBezTo>
                    <a:cubicBezTo>
                      <a:pt x="59" y="86"/>
                      <a:pt x="57" y="89"/>
                      <a:pt x="57" y="92"/>
                    </a:cubicBezTo>
                    <a:cubicBezTo>
                      <a:pt x="57" y="94"/>
                      <a:pt x="58" y="96"/>
                      <a:pt x="58" y="98"/>
                    </a:cubicBezTo>
                    <a:cubicBezTo>
                      <a:pt x="58" y="99"/>
                      <a:pt x="57" y="100"/>
                      <a:pt x="56" y="101"/>
                    </a:cubicBezTo>
                    <a:cubicBezTo>
                      <a:pt x="54" y="105"/>
                      <a:pt x="52" y="109"/>
                      <a:pt x="50" y="113"/>
                    </a:cubicBezTo>
                    <a:cubicBezTo>
                      <a:pt x="47" y="117"/>
                      <a:pt x="46" y="122"/>
                      <a:pt x="46" y="128"/>
                    </a:cubicBezTo>
                    <a:cubicBezTo>
                      <a:pt x="46" y="130"/>
                      <a:pt x="46" y="133"/>
                      <a:pt x="46" y="136"/>
                    </a:cubicBezTo>
                    <a:cubicBezTo>
                      <a:pt x="46" y="138"/>
                      <a:pt x="45" y="139"/>
                      <a:pt x="45" y="141"/>
                    </a:cubicBezTo>
                    <a:cubicBezTo>
                      <a:pt x="45" y="142"/>
                      <a:pt x="44" y="142"/>
                      <a:pt x="43" y="141"/>
                    </a:cubicBezTo>
                    <a:cubicBezTo>
                      <a:pt x="42" y="141"/>
                      <a:pt x="41" y="140"/>
                      <a:pt x="40" y="139"/>
                    </a:cubicBezTo>
                    <a:cubicBezTo>
                      <a:pt x="38" y="134"/>
                      <a:pt x="37" y="130"/>
                      <a:pt x="38" y="125"/>
                    </a:cubicBezTo>
                    <a:cubicBezTo>
                      <a:pt x="38" y="124"/>
                      <a:pt x="38" y="123"/>
                      <a:pt x="38" y="121"/>
                    </a:cubicBezTo>
                    <a:cubicBezTo>
                      <a:pt x="38" y="121"/>
                      <a:pt x="38" y="121"/>
                      <a:pt x="38" y="121"/>
                    </a:cubicBezTo>
                    <a:cubicBezTo>
                      <a:pt x="37" y="122"/>
                      <a:pt x="37" y="123"/>
                      <a:pt x="37"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70" y="170"/>
                      <a:pt x="69" y="173"/>
                    </a:cubicBezTo>
                    <a:cubicBezTo>
                      <a:pt x="68" y="175"/>
                      <a:pt x="67" y="177"/>
                      <a:pt x="64" y="178"/>
                    </a:cubicBezTo>
                    <a:cubicBezTo>
                      <a:pt x="64" y="178"/>
                      <a:pt x="63" y="178"/>
                      <a:pt x="62" y="178"/>
                    </a:cubicBezTo>
                    <a:cubicBezTo>
                      <a:pt x="63" y="180"/>
                      <a:pt x="65" y="182"/>
                      <a:pt x="66" y="183"/>
                    </a:cubicBezTo>
                    <a:cubicBezTo>
                      <a:pt x="68" y="186"/>
                      <a:pt x="69" y="189"/>
                      <a:pt x="69" y="192"/>
                    </a:cubicBezTo>
                    <a:cubicBezTo>
                      <a:pt x="70" y="194"/>
                      <a:pt x="70" y="196"/>
                      <a:pt x="70" y="198"/>
                    </a:cubicBezTo>
                    <a:cubicBezTo>
                      <a:pt x="70" y="197"/>
                      <a:pt x="70" y="197"/>
                      <a:pt x="70" y="197"/>
                    </a:cubicBezTo>
                    <a:cubicBezTo>
                      <a:pt x="73" y="196"/>
                      <a:pt x="73" y="194"/>
                      <a:pt x="72" y="191"/>
                    </a:cubicBezTo>
                    <a:cubicBezTo>
                      <a:pt x="72" y="189"/>
                      <a:pt x="70" y="186"/>
                      <a:pt x="69" y="184"/>
                    </a:cubicBezTo>
                    <a:cubicBezTo>
                      <a:pt x="68" y="184"/>
                      <a:pt x="68" y="183"/>
                      <a:pt x="68" y="183"/>
                    </a:cubicBezTo>
                    <a:cubicBezTo>
                      <a:pt x="69" y="182"/>
                      <a:pt x="71" y="182"/>
                      <a:pt x="72" y="183"/>
                    </a:cubicBezTo>
                    <a:cubicBezTo>
                      <a:pt x="74" y="184"/>
                      <a:pt x="76" y="186"/>
                      <a:pt x="79" y="186"/>
                    </a:cubicBezTo>
                    <a:cubicBezTo>
                      <a:pt x="85" y="188"/>
                      <a:pt x="91" y="187"/>
                      <a:pt x="97" y="185"/>
                    </a:cubicBezTo>
                    <a:cubicBezTo>
                      <a:pt x="101" y="184"/>
                      <a:pt x="106" y="183"/>
                      <a:pt x="109" y="179"/>
                    </a:cubicBezTo>
                    <a:cubicBezTo>
                      <a:pt x="111" y="178"/>
                      <a:pt x="112" y="176"/>
                      <a:pt x="113" y="174"/>
                    </a:cubicBezTo>
                    <a:cubicBezTo>
                      <a:pt x="114" y="173"/>
                      <a:pt x="115" y="173"/>
                      <a:pt x="115" y="173"/>
                    </a:cubicBezTo>
                    <a:cubicBezTo>
                      <a:pt x="116" y="173"/>
                      <a:pt x="116" y="174"/>
                      <a:pt x="117" y="175"/>
                    </a:cubicBezTo>
                    <a:cubicBezTo>
                      <a:pt x="117" y="179"/>
                      <a:pt x="117" y="182"/>
                      <a:pt x="115" y="186"/>
                    </a:cubicBezTo>
                    <a:cubicBezTo>
                      <a:pt x="115" y="188"/>
                      <a:pt x="114" y="191"/>
                      <a:pt x="114" y="193"/>
                    </a:cubicBezTo>
                    <a:cubicBezTo>
                      <a:pt x="113" y="195"/>
                      <a:pt x="114" y="196"/>
                      <a:pt x="116" y="196"/>
                    </a:cubicBezTo>
                    <a:cubicBezTo>
                      <a:pt x="117" y="191"/>
                      <a:pt x="118" y="187"/>
                      <a:pt x="119" y="183"/>
                    </a:cubicBezTo>
                    <a:cubicBezTo>
                      <a:pt x="119" y="179"/>
                      <a:pt x="120" y="175"/>
                      <a:pt x="119" y="171"/>
                    </a:cubicBezTo>
                    <a:cubicBezTo>
                      <a:pt x="119" y="168"/>
                      <a:pt x="118" y="164"/>
                      <a:pt x="118" y="160"/>
                    </a:cubicBezTo>
                    <a:cubicBezTo>
                      <a:pt x="118" y="157"/>
                      <a:pt x="118" y="154"/>
                      <a:pt x="119" y="151"/>
                    </a:cubicBezTo>
                    <a:cubicBezTo>
                      <a:pt x="120" y="148"/>
                      <a:pt x="122" y="146"/>
                      <a:pt x="126" y="146"/>
                    </a:cubicBezTo>
                    <a:cubicBezTo>
                      <a:pt x="126" y="146"/>
                      <a:pt x="126" y="146"/>
                      <a:pt x="126" y="146"/>
                    </a:cubicBezTo>
                    <a:cubicBezTo>
                      <a:pt x="127" y="143"/>
                      <a:pt x="129" y="140"/>
                      <a:pt x="132" y="139"/>
                    </a:cubicBezTo>
                    <a:cubicBezTo>
                      <a:pt x="137" y="138"/>
                      <a:pt x="141" y="139"/>
                      <a:pt x="146" y="141"/>
                    </a:cubicBezTo>
                    <a:cubicBezTo>
                      <a:pt x="145" y="139"/>
                      <a:pt x="142" y="138"/>
                      <a:pt x="140" y="136"/>
                    </a:cubicBezTo>
                    <a:cubicBezTo>
                      <a:pt x="145" y="119"/>
                      <a:pt x="135" y="98"/>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5"/>
                      <a:pt x="124" y="108"/>
                    </a:cubicBezTo>
                    <a:cubicBezTo>
                      <a:pt x="123" y="103"/>
                      <a:pt x="121" y="99"/>
                      <a:pt x="117" y="95"/>
                    </a:cubicBezTo>
                    <a:cubicBezTo>
                      <a:pt x="117" y="95"/>
                      <a:pt x="117" y="95"/>
                      <a:pt x="117" y="94"/>
                    </a:cubicBezTo>
                    <a:cubicBezTo>
                      <a:pt x="115" y="87"/>
                      <a:pt x="112" y="79"/>
                      <a:pt x="107" y="73"/>
                    </a:cubicBezTo>
                    <a:cubicBezTo>
                      <a:pt x="106" y="70"/>
                      <a:pt x="105" y="67"/>
                      <a:pt x="106"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1"/>
                    </a:cubicBezTo>
                    <a:cubicBezTo>
                      <a:pt x="93" y="38"/>
                      <a:pt x="95" y="37"/>
                      <a:pt x="98" y="37"/>
                    </a:cubicBezTo>
                    <a:cubicBezTo>
                      <a:pt x="99" y="37"/>
                      <a:pt x="101" y="38"/>
                      <a:pt x="102" y="40"/>
                    </a:cubicBezTo>
                    <a:cubicBezTo>
                      <a:pt x="103" y="43"/>
                      <a:pt x="103" y="45"/>
                      <a:pt x="102" y="48"/>
                    </a:cubicBezTo>
                    <a:cubicBezTo>
                      <a:pt x="102" y="49"/>
                      <a:pt x="101" y="50"/>
                      <a:pt x="102" y="51"/>
                    </a:cubicBezTo>
                    <a:cubicBezTo>
                      <a:pt x="104" y="52"/>
                      <a:pt x="107" y="50"/>
                      <a:pt x="107" y="49"/>
                    </a:cubicBezTo>
                    <a:cubicBezTo>
                      <a:pt x="107" y="44"/>
                      <a:pt x="107" y="40"/>
                      <a:pt x="105" y="36"/>
                    </a:cubicBezTo>
                    <a:cubicBezTo>
                      <a:pt x="103" y="32"/>
                      <a:pt x="100" y="30"/>
                      <a:pt x="96" y="30"/>
                    </a:cubicBezTo>
                    <a:cubicBezTo>
                      <a:pt x="91" y="31"/>
                      <a:pt x="88" y="34"/>
                      <a:pt x="87" y="38"/>
                    </a:cubicBezTo>
                    <a:cubicBezTo>
                      <a:pt x="87" y="39"/>
                      <a:pt x="87" y="41"/>
                      <a:pt x="87" y="42"/>
                    </a:cubicBezTo>
                    <a:cubicBezTo>
                      <a:pt x="87" y="44"/>
                      <a:pt x="87" y="46"/>
                      <a:pt x="87" y="47"/>
                    </a:cubicBezTo>
                    <a:cubicBezTo>
                      <a:pt x="85" y="46"/>
                      <a:pt x="83" y="46"/>
                      <a:pt x="81" y="46"/>
                    </a:cubicBezTo>
                    <a:cubicBezTo>
                      <a:pt x="80" y="46"/>
                      <a:pt x="80" y="46"/>
                      <a:pt x="80" y="46"/>
                    </a:cubicBezTo>
                    <a:cubicBezTo>
                      <a:pt x="78" y="46"/>
                      <a:pt x="78" y="46"/>
                      <a:pt x="78" y="44"/>
                    </a:cubicBezTo>
                    <a:cubicBezTo>
                      <a:pt x="77" y="42"/>
                      <a:pt x="77" y="39"/>
                      <a:pt x="76" y="36"/>
                    </a:cubicBezTo>
                    <a:cubicBezTo>
                      <a:pt x="76" y="36"/>
                      <a:pt x="76" y="35"/>
                      <a:pt x="76" y="35"/>
                    </a:cubicBezTo>
                    <a:cubicBezTo>
                      <a:pt x="74" y="33"/>
                      <a:pt x="73" y="31"/>
                      <a:pt x="70" y="31"/>
                    </a:cubicBezTo>
                    <a:cubicBezTo>
                      <a:pt x="68" y="31"/>
                      <a:pt x="67" y="33"/>
                      <a:pt x="66" y="35"/>
                    </a:cubicBezTo>
                    <a:cubicBezTo>
                      <a:pt x="63" y="40"/>
                      <a:pt x="63" y="45"/>
                      <a:pt x="66" y="50"/>
                    </a:cubicBezTo>
                    <a:cubicBezTo>
                      <a:pt x="66" y="51"/>
                      <a:pt x="67" y="52"/>
                      <a:pt x="68" y="51"/>
                    </a:cubicBezTo>
                    <a:cubicBezTo>
                      <a:pt x="69" y="51"/>
                      <a:pt x="69" y="50"/>
                      <a:pt x="69" y="50"/>
                    </a:cubicBezTo>
                    <a:cubicBezTo>
                      <a:pt x="69" y="49"/>
                      <a:pt x="68" y="48"/>
                      <a:pt x="67" y="48"/>
                    </a:cubicBezTo>
                    <a:cubicBezTo>
                      <a:pt x="66" y="45"/>
                      <a:pt x="65" y="43"/>
                      <a:pt x="66" y="40"/>
                    </a:cubicBezTo>
                    <a:cubicBezTo>
                      <a:pt x="67" y="37"/>
                      <a:pt x="71" y="36"/>
                      <a:pt x="73" y="38"/>
                    </a:cubicBezTo>
                    <a:cubicBezTo>
                      <a:pt x="74" y="40"/>
                      <a:pt x="75" y="42"/>
                      <a:pt x="75" y="45"/>
                    </a:cubicBezTo>
                    <a:cubicBezTo>
                      <a:pt x="75" y="46"/>
                      <a:pt x="74" y="48"/>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2"/>
                      <a:pt x="68" y="63"/>
                    </a:cubicBezTo>
                    <a:cubicBezTo>
                      <a:pt x="70" y="66"/>
                      <a:pt x="74" y="67"/>
                      <a:pt x="78" y="67"/>
                    </a:cubicBezTo>
                    <a:cubicBezTo>
                      <a:pt x="82" y="67"/>
                      <a:pt x="87" y="65"/>
                      <a:pt x="91" y="64"/>
                    </a:cubicBezTo>
                    <a:cubicBezTo>
                      <a:pt x="94" y="63"/>
                      <a:pt x="98" y="62"/>
                      <a:pt x="101" y="59"/>
                    </a:cubicBezTo>
                    <a:cubicBezTo>
                      <a:pt x="101" y="58"/>
                      <a:pt x="102" y="58"/>
                      <a:pt x="103" y="59"/>
                    </a:cubicBezTo>
                    <a:cubicBezTo>
                      <a:pt x="103" y="59"/>
                      <a:pt x="103" y="60"/>
                      <a:pt x="103" y="61"/>
                    </a:cubicBezTo>
                    <a:cubicBezTo>
                      <a:pt x="103" y="61"/>
                      <a:pt x="102" y="61"/>
                      <a:pt x="102" y="62"/>
                    </a:cubicBezTo>
                    <a:cubicBezTo>
                      <a:pt x="97" y="64"/>
                      <a:pt x="91" y="66"/>
                      <a:pt x="86" y="68"/>
                    </a:cubicBezTo>
                    <a:cubicBezTo>
                      <a:pt x="82" y="69"/>
                      <a:pt x="78" y="70"/>
                      <a:pt x="74" y="69"/>
                    </a:cubicBezTo>
                    <a:cubicBezTo>
                      <a:pt x="73" y="69"/>
                      <a:pt x="72" y="69"/>
                      <a:pt x="71" y="69"/>
                    </a:cubicBezTo>
                    <a:close/>
                    <a:moveTo>
                      <a:pt x="73" y="45"/>
                    </a:moveTo>
                    <a:cubicBezTo>
                      <a:pt x="73" y="43"/>
                      <a:pt x="73" y="42"/>
                      <a:pt x="72" y="40"/>
                    </a:cubicBezTo>
                    <a:cubicBezTo>
                      <a:pt x="71" y="40"/>
                      <a:pt x="71" y="40"/>
                      <a:pt x="70" y="40"/>
                    </a:cubicBezTo>
                    <a:cubicBezTo>
                      <a:pt x="70" y="40"/>
                      <a:pt x="70" y="41"/>
                      <a:pt x="70" y="41"/>
                    </a:cubicBezTo>
                    <a:cubicBezTo>
                      <a:pt x="72" y="42"/>
                      <a:pt x="71" y="43"/>
                      <a:pt x="71" y="44"/>
                    </a:cubicBezTo>
                    <a:cubicBezTo>
                      <a:pt x="71" y="45"/>
                      <a:pt x="72" y="46"/>
                      <a:pt x="73" y="45"/>
                    </a:cubicBezTo>
                    <a:close/>
                    <a:moveTo>
                      <a:pt x="97" y="40"/>
                    </a:moveTo>
                    <a:cubicBezTo>
                      <a:pt x="99" y="40"/>
                      <a:pt x="99" y="42"/>
                      <a:pt x="100" y="44"/>
                    </a:cubicBezTo>
                    <a:cubicBezTo>
                      <a:pt x="100" y="44"/>
                      <a:pt x="101" y="43"/>
                      <a:pt x="101" y="43"/>
                    </a:cubicBezTo>
                    <a:cubicBezTo>
                      <a:pt x="101" y="42"/>
                      <a:pt x="100" y="40"/>
                      <a:pt x="99" y="40"/>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231"/>
              <p:cNvSpPr>
                <a:spLocks/>
              </p:cNvSpPr>
              <p:nvPr userDrawn="1"/>
            </p:nvSpPr>
            <p:spPr bwMode="auto">
              <a:xfrm>
                <a:off x="5762" y="3343"/>
                <a:ext cx="3"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232"/>
              <p:cNvSpPr>
                <a:spLocks/>
              </p:cNvSpPr>
              <p:nvPr userDrawn="1"/>
            </p:nvSpPr>
            <p:spPr bwMode="auto">
              <a:xfrm>
                <a:off x="5774" y="3343"/>
                <a:ext cx="5" cy="2"/>
              </a:xfrm>
              <a:custGeom>
                <a:avLst/>
                <a:gdLst>
                  <a:gd name="T0" fmla="*/ 0 w 4"/>
                  <a:gd name="T1" fmla="*/ 0 h 2"/>
                  <a:gd name="T2" fmla="*/ 3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0"/>
                      <a:pt x="3" y="0"/>
                    </a:cubicBezTo>
                    <a:cubicBezTo>
                      <a:pt x="3" y="1"/>
                      <a:pt x="3" y="1"/>
                      <a:pt x="4" y="2"/>
                    </a:cubicBezTo>
                    <a:cubicBezTo>
                      <a:pt x="3" y="2"/>
                      <a:pt x="3" y="2"/>
                      <a:pt x="2"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233"/>
              <p:cNvSpPr>
                <a:spLocks noEditPoints="1"/>
              </p:cNvSpPr>
              <p:nvPr userDrawn="1"/>
            </p:nvSpPr>
            <p:spPr bwMode="auto">
              <a:xfrm>
                <a:off x="1951"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234"/>
              <p:cNvSpPr>
                <a:spLocks/>
              </p:cNvSpPr>
              <p:nvPr userDrawn="1"/>
            </p:nvSpPr>
            <p:spPr bwMode="auto">
              <a:xfrm>
                <a:off x="2149"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235"/>
              <p:cNvSpPr>
                <a:spLocks/>
              </p:cNvSpPr>
              <p:nvPr userDrawn="1"/>
            </p:nvSpPr>
            <p:spPr bwMode="auto">
              <a:xfrm>
                <a:off x="2299" y="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236"/>
              <p:cNvSpPr>
                <a:spLocks noEditPoints="1"/>
              </p:cNvSpPr>
              <p:nvPr userDrawn="1"/>
            </p:nvSpPr>
            <p:spPr bwMode="auto">
              <a:xfrm>
                <a:off x="2446"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237"/>
              <p:cNvSpPr>
                <a:spLocks/>
              </p:cNvSpPr>
              <p:nvPr userDrawn="1"/>
            </p:nvSpPr>
            <p:spPr bwMode="auto">
              <a:xfrm>
                <a:off x="2643"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238"/>
              <p:cNvSpPr>
                <a:spLocks noEditPoints="1"/>
              </p:cNvSpPr>
              <p:nvPr userDrawn="1"/>
            </p:nvSpPr>
            <p:spPr bwMode="auto">
              <a:xfrm>
                <a:off x="2792"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239"/>
              <p:cNvSpPr>
                <a:spLocks/>
              </p:cNvSpPr>
              <p:nvPr userDrawn="1"/>
            </p:nvSpPr>
            <p:spPr bwMode="auto">
              <a:xfrm>
                <a:off x="2990" y="7"/>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240"/>
              <p:cNvSpPr>
                <a:spLocks/>
              </p:cNvSpPr>
              <p:nvPr userDrawn="1"/>
            </p:nvSpPr>
            <p:spPr bwMode="auto">
              <a:xfrm>
                <a:off x="3140" y="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241"/>
              <p:cNvSpPr>
                <a:spLocks/>
              </p:cNvSpPr>
              <p:nvPr userDrawn="1"/>
            </p:nvSpPr>
            <p:spPr bwMode="auto">
              <a:xfrm>
                <a:off x="3288"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2" y="46"/>
                      <a:pt x="18" y="48"/>
                      <a:pt x="14"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242"/>
              <p:cNvSpPr>
                <a:spLocks noEditPoints="1"/>
              </p:cNvSpPr>
              <p:nvPr userDrawn="1"/>
            </p:nvSpPr>
            <p:spPr bwMode="auto">
              <a:xfrm>
                <a:off x="3437"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1"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243"/>
              <p:cNvSpPr>
                <a:spLocks noEditPoints="1"/>
              </p:cNvSpPr>
              <p:nvPr userDrawn="1"/>
            </p:nvSpPr>
            <p:spPr bwMode="auto">
              <a:xfrm>
                <a:off x="3632"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244"/>
              <p:cNvSpPr>
                <a:spLocks noEditPoints="1"/>
              </p:cNvSpPr>
              <p:nvPr userDrawn="1"/>
            </p:nvSpPr>
            <p:spPr bwMode="auto">
              <a:xfrm>
                <a:off x="3827"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245"/>
              <p:cNvSpPr>
                <a:spLocks noEditPoints="1"/>
              </p:cNvSpPr>
              <p:nvPr userDrawn="1"/>
            </p:nvSpPr>
            <p:spPr bwMode="auto">
              <a:xfrm>
                <a:off x="4228"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246"/>
              <p:cNvSpPr>
                <a:spLocks/>
              </p:cNvSpPr>
              <p:nvPr userDrawn="1"/>
            </p:nvSpPr>
            <p:spPr bwMode="auto">
              <a:xfrm>
                <a:off x="4425"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247"/>
              <p:cNvSpPr>
                <a:spLocks/>
              </p:cNvSpPr>
              <p:nvPr userDrawn="1"/>
            </p:nvSpPr>
            <p:spPr bwMode="auto">
              <a:xfrm>
                <a:off x="4575"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248"/>
              <p:cNvSpPr>
                <a:spLocks noEditPoints="1"/>
              </p:cNvSpPr>
              <p:nvPr userDrawn="1"/>
            </p:nvSpPr>
            <p:spPr bwMode="auto">
              <a:xfrm>
                <a:off x="4723" y="9"/>
                <a:ext cx="156" cy="247"/>
              </a:xfrm>
              <a:custGeom>
                <a:avLst/>
                <a:gdLst>
                  <a:gd name="T0" fmla="*/ 128 w 128"/>
                  <a:gd name="T1" fmla="*/ 101 h 203"/>
                  <a:gd name="T2" fmla="*/ 124 w 128"/>
                  <a:gd name="T3" fmla="*/ 145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5"/>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249"/>
              <p:cNvSpPr>
                <a:spLocks/>
              </p:cNvSpPr>
              <p:nvPr userDrawn="1"/>
            </p:nvSpPr>
            <p:spPr bwMode="auto">
              <a:xfrm>
                <a:off x="4920"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8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9" y="48"/>
                      <a:pt x="14" y="50"/>
                    </a:cubicBezTo>
                    <a:cubicBezTo>
                      <a:pt x="9" y="52"/>
                      <a:pt x="5" y="54"/>
                      <a:pt x="0" y="55"/>
                    </a:cubicBezTo>
                    <a:cubicBezTo>
                      <a:pt x="0" y="32"/>
                      <a:pt x="0" y="32"/>
                      <a:pt x="0" y="32"/>
                    </a:cubicBezTo>
                    <a:cubicBezTo>
                      <a:pt x="5" y="31"/>
                      <a:pt x="11" y="29"/>
                      <a:pt x="16" y="26"/>
                    </a:cubicBezTo>
                    <a:cubicBezTo>
                      <a:pt x="22" y="24"/>
                      <a:pt x="27" y="21"/>
                      <a:pt x="32" y="19"/>
                    </a:cubicBezTo>
                    <a:cubicBezTo>
                      <a:pt x="38" y="16"/>
                      <a:pt x="43" y="13"/>
                      <a:pt x="48"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250"/>
              <p:cNvSpPr>
                <a:spLocks/>
              </p:cNvSpPr>
              <p:nvPr userDrawn="1"/>
            </p:nvSpPr>
            <p:spPr bwMode="auto">
              <a:xfrm>
                <a:off x="5070"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2" y="46"/>
                      <a:pt x="18" y="48"/>
                      <a:pt x="14"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251"/>
              <p:cNvSpPr>
                <a:spLocks noEditPoints="1"/>
              </p:cNvSpPr>
              <p:nvPr userDrawn="1"/>
            </p:nvSpPr>
            <p:spPr bwMode="auto">
              <a:xfrm>
                <a:off x="5219"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Freeform 252"/>
              <p:cNvSpPr>
                <a:spLocks noEditPoints="1"/>
              </p:cNvSpPr>
              <p:nvPr userDrawn="1"/>
            </p:nvSpPr>
            <p:spPr bwMode="auto">
              <a:xfrm>
                <a:off x="5414"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Freeform 253"/>
              <p:cNvSpPr>
                <a:spLocks noEditPoints="1"/>
              </p:cNvSpPr>
              <p:nvPr userDrawn="1"/>
            </p:nvSpPr>
            <p:spPr bwMode="auto">
              <a:xfrm>
                <a:off x="5609"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Freeform 254"/>
              <p:cNvSpPr>
                <a:spLocks/>
              </p:cNvSpPr>
              <p:nvPr userDrawn="1"/>
            </p:nvSpPr>
            <p:spPr bwMode="auto">
              <a:xfrm>
                <a:off x="5806"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0"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255"/>
              <p:cNvSpPr>
                <a:spLocks noEditPoints="1"/>
              </p:cNvSpPr>
              <p:nvPr userDrawn="1"/>
            </p:nvSpPr>
            <p:spPr bwMode="auto">
              <a:xfrm>
                <a:off x="5943" y="13"/>
                <a:ext cx="188" cy="219"/>
              </a:xfrm>
              <a:custGeom>
                <a:avLst/>
                <a:gdLst>
                  <a:gd name="T0" fmla="*/ 188 w 188"/>
                  <a:gd name="T1" fmla="*/ 68 h 219"/>
                  <a:gd name="T2" fmla="*/ 185 w 188"/>
                  <a:gd name="T3" fmla="*/ 85 h 219"/>
                  <a:gd name="T4" fmla="*/ 141 w 188"/>
                  <a:gd name="T5" fmla="*/ 85 h 219"/>
                  <a:gd name="T6" fmla="*/ 130 w 188"/>
                  <a:gd name="T7" fmla="*/ 135 h 219"/>
                  <a:gd name="T8" fmla="*/ 177 w 188"/>
                  <a:gd name="T9" fmla="*/ 135 h 219"/>
                  <a:gd name="T10" fmla="*/ 173 w 188"/>
                  <a:gd name="T11" fmla="*/ 153 h 219"/>
                  <a:gd name="T12" fmla="*/ 126 w 188"/>
                  <a:gd name="T13" fmla="*/ 153 h 219"/>
                  <a:gd name="T14" fmla="*/ 112 w 188"/>
                  <a:gd name="T15" fmla="*/ 219 h 219"/>
                  <a:gd name="T16" fmla="*/ 91 w 188"/>
                  <a:gd name="T17" fmla="*/ 219 h 219"/>
                  <a:gd name="T18" fmla="*/ 106 w 188"/>
                  <a:gd name="T19" fmla="*/ 153 h 219"/>
                  <a:gd name="T20" fmla="*/ 64 w 188"/>
                  <a:gd name="T21" fmla="*/ 153 h 219"/>
                  <a:gd name="T22" fmla="*/ 49 w 188"/>
                  <a:gd name="T23" fmla="*/ 219 h 219"/>
                  <a:gd name="T24" fmla="*/ 29 w 188"/>
                  <a:gd name="T25" fmla="*/ 219 h 219"/>
                  <a:gd name="T26" fmla="*/ 43 w 188"/>
                  <a:gd name="T27" fmla="*/ 153 h 219"/>
                  <a:gd name="T28" fmla="*/ 0 w 188"/>
                  <a:gd name="T29" fmla="*/ 153 h 219"/>
                  <a:gd name="T30" fmla="*/ 3 w 188"/>
                  <a:gd name="T31" fmla="*/ 135 h 219"/>
                  <a:gd name="T32" fmla="*/ 47 w 188"/>
                  <a:gd name="T33" fmla="*/ 135 h 219"/>
                  <a:gd name="T34" fmla="*/ 57 w 188"/>
                  <a:gd name="T35" fmla="*/ 85 h 219"/>
                  <a:gd name="T36" fmla="*/ 10 w 188"/>
                  <a:gd name="T37" fmla="*/ 85 h 219"/>
                  <a:gd name="T38" fmla="*/ 14 w 188"/>
                  <a:gd name="T39" fmla="*/ 68 h 219"/>
                  <a:gd name="T40" fmla="*/ 60 w 188"/>
                  <a:gd name="T41" fmla="*/ 68 h 219"/>
                  <a:gd name="T42" fmla="*/ 74 w 188"/>
                  <a:gd name="T43" fmla="*/ 0 h 219"/>
                  <a:gd name="T44" fmla="*/ 96 w 188"/>
                  <a:gd name="T45" fmla="*/ 0 h 219"/>
                  <a:gd name="T46" fmla="*/ 81 w 188"/>
                  <a:gd name="T47" fmla="*/ 68 h 219"/>
                  <a:gd name="T48" fmla="*/ 124 w 188"/>
                  <a:gd name="T49" fmla="*/ 68 h 219"/>
                  <a:gd name="T50" fmla="*/ 137 w 188"/>
                  <a:gd name="T51" fmla="*/ 0 h 219"/>
                  <a:gd name="T52" fmla="*/ 158 w 188"/>
                  <a:gd name="T53" fmla="*/ 0 h 219"/>
                  <a:gd name="T54" fmla="*/ 145 w 188"/>
                  <a:gd name="T55" fmla="*/ 68 h 219"/>
                  <a:gd name="T56" fmla="*/ 188 w 188"/>
                  <a:gd name="T57" fmla="*/ 68 h 219"/>
                  <a:gd name="T58" fmla="*/ 120 w 188"/>
                  <a:gd name="T59" fmla="*/ 85 h 219"/>
                  <a:gd name="T60" fmla="*/ 78 w 188"/>
                  <a:gd name="T61" fmla="*/ 85 h 219"/>
                  <a:gd name="T62" fmla="*/ 67 w 188"/>
                  <a:gd name="T63" fmla="*/ 135 h 219"/>
                  <a:gd name="T64" fmla="*/ 109 w 188"/>
                  <a:gd name="T65" fmla="*/ 135 h 219"/>
                  <a:gd name="T66" fmla="*/ 120 w 188"/>
                  <a:gd name="T67" fmla="*/ 8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9">
                    <a:moveTo>
                      <a:pt x="188" y="68"/>
                    </a:moveTo>
                    <a:lnTo>
                      <a:pt x="185" y="85"/>
                    </a:lnTo>
                    <a:lnTo>
                      <a:pt x="141" y="85"/>
                    </a:lnTo>
                    <a:lnTo>
                      <a:pt x="130" y="135"/>
                    </a:lnTo>
                    <a:lnTo>
                      <a:pt x="177" y="135"/>
                    </a:lnTo>
                    <a:lnTo>
                      <a:pt x="173" y="153"/>
                    </a:lnTo>
                    <a:lnTo>
                      <a:pt x="126" y="153"/>
                    </a:lnTo>
                    <a:lnTo>
                      <a:pt x="112" y="219"/>
                    </a:lnTo>
                    <a:lnTo>
                      <a:pt x="91" y="219"/>
                    </a:lnTo>
                    <a:lnTo>
                      <a:pt x="106" y="153"/>
                    </a:lnTo>
                    <a:lnTo>
                      <a:pt x="64" y="153"/>
                    </a:lnTo>
                    <a:lnTo>
                      <a:pt x="49" y="219"/>
                    </a:lnTo>
                    <a:lnTo>
                      <a:pt x="29" y="219"/>
                    </a:lnTo>
                    <a:lnTo>
                      <a:pt x="43" y="153"/>
                    </a:lnTo>
                    <a:lnTo>
                      <a:pt x="0" y="153"/>
                    </a:lnTo>
                    <a:lnTo>
                      <a:pt x="3" y="135"/>
                    </a:lnTo>
                    <a:lnTo>
                      <a:pt x="47" y="135"/>
                    </a:lnTo>
                    <a:lnTo>
                      <a:pt x="57" y="85"/>
                    </a:lnTo>
                    <a:lnTo>
                      <a:pt x="10" y="85"/>
                    </a:lnTo>
                    <a:lnTo>
                      <a:pt x="14" y="68"/>
                    </a:lnTo>
                    <a:lnTo>
                      <a:pt x="60" y="68"/>
                    </a:lnTo>
                    <a:lnTo>
                      <a:pt x="74" y="0"/>
                    </a:lnTo>
                    <a:lnTo>
                      <a:pt x="96" y="0"/>
                    </a:lnTo>
                    <a:lnTo>
                      <a:pt x="81" y="68"/>
                    </a:lnTo>
                    <a:lnTo>
                      <a:pt x="124" y="68"/>
                    </a:lnTo>
                    <a:lnTo>
                      <a:pt x="137" y="0"/>
                    </a:lnTo>
                    <a:lnTo>
                      <a:pt x="158" y="0"/>
                    </a:lnTo>
                    <a:lnTo>
                      <a:pt x="145" y="68"/>
                    </a:lnTo>
                    <a:lnTo>
                      <a:pt x="188" y="68"/>
                    </a:lnTo>
                    <a:close/>
                    <a:moveTo>
                      <a:pt x="120" y="85"/>
                    </a:moveTo>
                    <a:lnTo>
                      <a:pt x="78" y="85"/>
                    </a:lnTo>
                    <a:lnTo>
                      <a:pt x="67" y="135"/>
                    </a:lnTo>
                    <a:lnTo>
                      <a:pt x="109" y="135"/>
                    </a:lnTo>
                    <a:lnTo>
                      <a:pt x="12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Freeform 256"/>
              <p:cNvSpPr>
                <a:spLocks noEditPoints="1"/>
              </p:cNvSpPr>
              <p:nvPr userDrawn="1"/>
            </p:nvSpPr>
            <p:spPr bwMode="auto">
              <a:xfrm>
                <a:off x="6159"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3" y="18"/>
                      <a:pt x="29"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Freeform 257"/>
              <p:cNvSpPr>
                <a:spLocks/>
              </p:cNvSpPr>
              <p:nvPr userDrawn="1"/>
            </p:nvSpPr>
            <p:spPr bwMode="auto">
              <a:xfrm>
                <a:off x="6357"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Freeform 258"/>
              <p:cNvSpPr>
                <a:spLocks noEditPoints="1"/>
              </p:cNvSpPr>
              <p:nvPr userDrawn="1"/>
            </p:nvSpPr>
            <p:spPr bwMode="auto">
              <a:xfrm>
                <a:off x="6506" y="9"/>
                <a:ext cx="154" cy="247"/>
              </a:xfrm>
              <a:custGeom>
                <a:avLst/>
                <a:gdLst>
                  <a:gd name="T0" fmla="*/ 127 w 127"/>
                  <a:gd name="T1" fmla="*/ 101 h 203"/>
                  <a:gd name="T2" fmla="*/ 123 w 127"/>
                  <a:gd name="T3" fmla="*/ 145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259"/>
              <p:cNvSpPr>
                <a:spLocks noEditPoints="1"/>
              </p:cNvSpPr>
              <p:nvPr userDrawn="1"/>
            </p:nvSpPr>
            <p:spPr bwMode="auto">
              <a:xfrm>
                <a:off x="6701"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5" y="185"/>
                      <a:pt x="98" y="192"/>
                      <a:pt x="89"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Freeform 260"/>
              <p:cNvSpPr>
                <a:spLocks/>
              </p:cNvSpPr>
              <p:nvPr userDrawn="1"/>
            </p:nvSpPr>
            <p:spPr bwMode="auto">
              <a:xfrm>
                <a:off x="6898"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261"/>
              <p:cNvSpPr>
                <a:spLocks noEditPoints="1"/>
              </p:cNvSpPr>
              <p:nvPr userDrawn="1"/>
            </p:nvSpPr>
            <p:spPr bwMode="auto">
              <a:xfrm>
                <a:off x="7045" y="9"/>
                <a:ext cx="156" cy="247"/>
              </a:xfrm>
              <a:custGeom>
                <a:avLst/>
                <a:gdLst>
                  <a:gd name="T0" fmla="*/ 128 w 128"/>
                  <a:gd name="T1" fmla="*/ 101 h 203"/>
                  <a:gd name="T2" fmla="*/ 124 w 128"/>
                  <a:gd name="T3" fmla="*/ 145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5"/>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Freeform 262"/>
              <p:cNvSpPr>
                <a:spLocks/>
              </p:cNvSpPr>
              <p:nvPr userDrawn="1"/>
            </p:nvSpPr>
            <p:spPr bwMode="auto">
              <a:xfrm>
                <a:off x="7244" y="7"/>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263"/>
              <p:cNvSpPr>
                <a:spLocks noEditPoints="1"/>
              </p:cNvSpPr>
              <p:nvPr userDrawn="1"/>
            </p:nvSpPr>
            <p:spPr bwMode="auto">
              <a:xfrm>
                <a:off x="7392"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Freeform 264"/>
              <p:cNvSpPr>
                <a:spLocks/>
              </p:cNvSpPr>
              <p:nvPr userDrawn="1"/>
            </p:nvSpPr>
            <p:spPr bwMode="auto">
              <a:xfrm>
                <a:off x="7589"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7"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265"/>
              <p:cNvSpPr>
                <a:spLocks/>
              </p:cNvSpPr>
              <p:nvPr userDrawn="1"/>
            </p:nvSpPr>
            <p:spPr bwMode="auto">
              <a:xfrm>
                <a:off x="7739"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266"/>
              <p:cNvSpPr>
                <a:spLocks noEditPoints="1"/>
              </p:cNvSpPr>
              <p:nvPr userDrawn="1"/>
            </p:nvSpPr>
            <p:spPr bwMode="auto">
              <a:xfrm>
                <a:off x="3986" y="0"/>
                <a:ext cx="219" cy="255"/>
              </a:xfrm>
              <a:custGeom>
                <a:avLst/>
                <a:gdLst>
                  <a:gd name="T0" fmla="*/ 175 w 179"/>
                  <a:gd name="T1" fmla="*/ 174 h 209"/>
                  <a:gd name="T2" fmla="*/ 134 w 179"/>
                  <a:gd name="T3" fmla="*/ 209 h 209"/>
                  <a:gd name="T4" fmla="*/ 80 w 179"/>
                  <a:gd name="T5" fmla="*/ 199 h 209"/>
                  <a:gd name="T6" fmla="*/ 32 w 179"/>
                  <a:gd name="T7" fmla="*/ 202 h 209"/>
                  <a:gd name="T8" fmla="*/ 2 w 179"/>
                  <a:gd name="T9" fmla="*/ 184 h 209"/>
                  <a:gd name="T10" fmla="*/ 14 w 179"/>
                  <a:gd name="T11" fmla="*/ 159 h 209"/>
                  <a:gd name="T12" fmla="*/ 9 w 179"/>
                  <a:gd name="T13" fmla="*/ 163 h 209"/>
                  <a:gd name="T14" fmla="*/ 6 w 179"/>
                  <a:gd name="T15" fmla="*/ 184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59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1 w 179"/>
                  <a:gd name="T45" fmla="*/ 68 h 209"/>
                  <a:gd name="T46" fmla="*/ 73 w 179"/>
                  <a:gd name="T47" fmla="*/ 80 h 209"/>
                  <a:gd name="T48" fmla="*/ 63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9 h 209"/>
                  <a:gd name="T84" fmla="*/ 86 w 179"/>
                  <a:gd name="T85" fmla="*/ 42 h 209"/>
                  <a:gd name="T86" fmla="*/ 78 w 179"/>
                  <a:gd name="T87" fmla="*/ 44 h 209"/>
                  <a:gd name="T88" fmla="*/ 65 w 179"/>
                  <a:gd name="T89" fmla="*/ 35 h 209"/>
                  <a:gd name="T90" fmla="*/ 67 w 179"/>
                  <a:gd name="T91" fmla="*/ 48 h 209"/>
                  <a:gd name="T92" fmla="*/ 73 w 179"/>
                  <a:gd name="T93" fmla="*/ 48 h 209"/>
                  <a:gd name="T94" fmla="*/ 65 w 179"/>
                  <a:gd name="T95" fmla="*/ 60 h 209"/>
                  <a:gd name="T96" fmla="*/ 101 w 179"/>
                  <a:gd name="T97" fmla="*/ 58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6"/>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09" y="198"/>
                    </a:cubicBezTo>
                    <a:cubicBezTo>
                      <a:pt x="100" y="198"/>
                      <a:pt x="90" y="198"/>
                      <a:pt x="80" y="199"/>
                    </a:cubicBezTo>
                    <a:cubicBezTo>
                      <a:pt x="76" y="199"/>
                      <a:pt x="72" y="199"/>
                      <a:pt x="68" y="202"/>
                    </a:cubicBezTo>
                    <a:cubicBezTo>
                      <a:pt x="66" y="203"/>
                      <a:pt x="64" y="204"/>
                      <a:pt x="63" y="205"/>
                    </a:cubicBezTo>
                    <a:cubicBezTo>
                      <a:pt x="58" y="209"/>
                      <a:pt x="53" y="209"/>
                      <a:pt x="48" y="208"/>
                    </a:cubicBezTo>
                    <a:cubicBezTo>
                      <a:pt x="43" y="206"/>
                      <a:pt x="38" y="204"/>
                      <a:pt x="32" y="202"/>
                    </a:cubicBezTo>
                    <a:cubicBezTo>
                      <a:pt x="25" y="200"/>
                      <a:pt x="18" y="199"/>
                      <a:pt x="11" y="197"/>
                    </a:cubicBezTo>
                    <a:cubicBezTo>
                      <a:pt x="9" y="197"/>
                      <a:pt x="7" y="196"/>
                      <a:pt x="5" y="196"/>
                    </a:cubicBezTo>
                    <a:cubicBezTo>
                      <a:pt x="1" y="194"/>
                      <a:pt x="0" y="192"/>
                      <a:pt x="1" y="188"/>
                    </a:cubicBezTo>
                    <a:cubicBezTo>
                      <a:pt x="1" y="187"/>
                      <a:pt x="2" y="185"/>
                      <a:pt x="2" y="184"/>
                    </a:cubicBezTo>
                    <a:cubicBezTo>
                      <a:pt x="4" y="180"/>
                      <a:pt x="4" y="176"/>
                      <a:pt x="3" y="172"/>
                    </a:cubicBezTo>
                    <a:cubicBezTo>
                      <a:pt x="3" y="170"/>
                      <a:pt x="2" y="169"/>
                      <a:pt x="2" y="167"/>
                    </a:cubicBezTo>
                    <a:cubicBezTo>
                      <a:pt x="1" y="163"/>
                      <a:pt x="3" y="160"/>
                      <a:pt x="7" y="160"/>
                    </a:cubicBezTo>
                    <a:cubicBezTo>
                      <a:pt x="9" y="160"/>
                      <a:pt x="12" y="160"/>
                      <a:pt x="14" y="159"/>
                    </a:cubicBezTo>
                    <a:cubicBezTo>
                      <a:pt x="19" y="158"/>
                      <a:pt x="22" y="155"/>
                      <a:pt x="23" y="150"/>
                    </a:cubicBezTo>
                    <a:cubicBezTo>
                      <a:pt x="23" y="150"/>
                      <a:pt x="23" y="150"/>
                      <a:pt x="23" y="150"/>
                    </a:cubicBezTo>
                    <a:cubicBezTo>
                      <a:pt x="25" y="153"/>
                      <a:pt x="23" y="160"/>
                      <a:pt x="17" y="162"/>
                    </a:cubicBezTo>
                    <a:cubicBezTo>
                      <a:pt x="15" y="163"/>
                      <a:pt x="12" y="163"/>
                      <a:pt x="9" y="163"/>
                    </a:cubicBezTo>
                    <a:cubicBezTo>
                      <a:pt x="9" y="163"/>
                      <a:pt x="9" y="162"/>
                      <a:pt x="9" y="162"/>
                    </a:cubicBezTo>
                    <a:cubicBezTo>
                      <a:pt x="5" y="162"/>
                      <a:pt x="3" y="164"/>
                      <a:pt x="4" y="168"/>
                    </a:cubicBezTo>
                    <a:cubicBezTo>
                      <a:pt x="5" y="169"/>
                      <a:pt x="5" y="171"/>
                      <a:pt x="6" y="173"/>
                    </a:cubicBezTo>
                    <a:cubicBezTo>
                      <a:pt x="8" y="176"/>
                      <a:pt x="8" y="180"/>
                      <a:pt x="6" y="184"/>
                    </a:cubicBezTo>
                    <a:cubicBezTo>
                      <a:pt x="6" y="185"/>
                      <a:pt x="5" y="186"/>
                      <a:pt x="4" y="188"/>
                    </a:cubicBezTo>
                    <a:cubicBezTo>
                      <a:pt x="4" y="190"/>
                      <a:pt x="4" y="192"/>
                      <a:pt x="6" y="193"/>
                    </a:cubicBezTo>
                    <a:cubicBezTo>
                      <a:pt x="9" y="193"/>
                      <a:pt x="11" y="194"/>
                      <a:pt x="13" y="194"/>
                    </a:cubicBezTo>
                    <a:cubicBezTo>
                      <a:pt x="24" y="196"/>
                      <a:pt x="35" y="199"/>
                      <a:pt x="45" y="202"/>
                    </a:cubicBezTo>
                    <a:cubicBezTo>
                      <a:pt x="49" y="203"/>
                      <a:pt x="52" y="204"/>
                      <a:pt x="55" y="204"/>
                    </a:cubicBezTo>
                    <a:cubicBezTo>
                      <a:pt x="63" y="202"/>
                      <a:pt x="66" y="198"/>
                      <a:pt x="64" y="190"/>
                    </a:cubicBezTo>
                    <a:cubicBezTo>
                      <a:pt x="64" y="186"/>
                      <a:pt x="62" y="182"/>
                      <a:pt x="60" y="179"/>
                    </a:cubicBezTo>
                    <a:cubicBezTo>
                      <a:pt x="54" y="170"/>
                      <a:pt x="49" y="161"/>
                      <a:pt x="42" y="152"/>
                    </a:cubicBezTo>
                    <a:cubicBezTo>
                      <a:pt x="40" y="150"/>
                      <a:pt x="37" y="147"/>
                      <a:pt x="35" y="145"/>
                    </a:cubicBezTo>
                    <a:cubicBezTo>
                      <a:pt x="32" y="143"/>
                      <a:pt x="29" y="143"/>
                      <a:pt x="27" y="145"/>
                    </a:cubicBezTo>
                    <a:cubicBezTo>
                      <a:pt x="26" y="145"/>
                      <a:pt x="25" y="145"/>
                      <a:pt x="25" y="144"/>
                    </a:cubicBezTo>
                    <a:cubicBezTo>
                      <a:pt x="24" y="140"/>
                      <a:pt x="24" y="137"/>
                      <a:pt x="25" y="134"/>
                    </a:cubicBezTo>
                    <a:cubicBezTo>
                      <a:pt x="26" y="133"/>
                      <a:pt x="26" y="131"/>
                      <a:pt x="27" y="130"/>
                    </a:cubicBezTo>
                    <a:cubicBezTo>
                      <a:pt x="30" y="125"/>
                      <a:pt x="32" y="119"/>
                      <a:pt x="35" y="113"/>
                    </a:cubicBezTo>
                    <a:cubicBezTo>
                      <a:pt x="37" y="106"/>
                      <a:pt x="39" y="100"/>
                      <a:pt x="43" y="94"/>
                    </a:cubicBezTo>
                    <a:cubicBezTo>
                      <a:pt x="46" y="91"/>
                      <a:pt x="49" y="87"/>
                      <a:pt x="52" y="83"/>
                    </a:cubicBezTo>
                    <a:cubicBezTo>
                      <a:pt x="54" y="80"/>
                      <a:pt x="56" y="77"/>
                      <a:pt x="58" y="73"/>
                    </a:cubicBezTo>
                    <a:cubicBezTo>
                      <a:pt x="60" y="71"/>
                      <a:pt x="60" y="68"/>
                      <a:pt x="60" y="65"/>
                    </a:cubicBezTo>
                    <a:cubicBezTo>
                      <a:pt x="59" y="58"/>
                      <a:pt x="59" y="51"/>
                      <a:pt x="59" y="44"/>
                    </a:cubicBezTo>
                    <a:cubicBezTo>
                      <a:pt x="58" y="39"/>
                      <a:pt x="58" y="33"/>
                      <a:pt x="58" y="27"/>
                    </a:cubicBezTo>
                    <a:cubicBezTo>
                      <a:pt x="59" y="17"/>
                      <a:pt x="63" y="8"/>
                      <a:pt x="73" y="3"/>
                    </a:cubicBezTo>
                    <a:cubicBezTo>
                      <a:pt x="77" y="1"/>
                      <a:pt x="81" y="0"/>
                      <a:pt x="85" y="0"/>
                    </a:cubicBezTo>
                    <a:cubicBezTo>
                      <a:pt x="91" y="0"/>
                      <a:pt x="97" y="1"/>
                      <a:pt x="102" y="3"/>
                    </a:cubicBezTo>
                    <a:cubicBezTo>
                      <a:pt x="109" y="6"/>
                      <a:pt x="114" y="11"/>
                      <a:pt x="117" y="18"/>
                    </a:cubicBezTo>
                    <a:cubicBezTo>
                      <a:pt x="120" y="24"/>
                      <a:pt x="122" y="30"/>
                      <a:pt x="122" y="37"/>
                    </a:cubicBezTo>
                    <a:cubicBezTo>
                      <a:pt x="122" y="40"/>
                      <a:pt x="122" y="44"/>
                      <a:pt x="123" y="47"/>
                    </a:cubicBezTo>
                    <a:cubicBezTo>
                      <a:pt x="124" y="61"/>
                      <a:pt x="128" y="75"/>
                      <a:pt x="138" y="85"/>
                    </a:cubicBezTo>
                    <a:cubicBezTo>
                      <a:pt x="150" y="97"/>
                      <a:pt x="156" y="112"/>
                      <a:pt x="159" y="128"/>
                    </a:cubicBezTo>
                    <a:cubicBezTo>
                      <a:pt x="160" y="133"/>
                      <a:pt x="161" y="138"/>
                      <a:pt x="160" y="143"/>
                    </a:cubicBezTo>
                    <a:cubicBezTo>
                      <a:pt x="159" y="145"/>
                      <a:pt x="159" y="146"/>
                      <a:pt x="159" y="147"/>
                    </a:cubicBezTo>
                    <a:cubicBezTo>
                      <a:pt x="158" y="147"/>
                      <a:pt x="158" y="148"/>
                      <a:pt x="157" y="148"/>
                    </a:cubicBezTo>
                    <a:cubicBezTo>
                      <a:pt x="155" y="149"/>
                      <a:pt x="154" y="151"/>
                      <a:pt x="153" y="152"/>
                    </a:cubicBezTo>
                    <a:cubicBezTo>
                      <a:pt x="151" y="154"/>
                      <a:pt x="149" y="157"/>
                      <a:pt x="147" y="158"/>
                    </a:cubicBezTo>
                    <a:cubicBezTo>
                      <a:pt x="143" y="161"/>
                      <a:pt x="139" y="161"/>
                      <a:pt x="135" y="160"/>
                    </a:cubicBezTo>
                    <a:cubicBezTo>
                      <a:pt x="133" y="159"/>
                      <a:pt x="132" y="158"/>
                      <a:pt x="131" y="156"/>
                    </a:cubicBezTo>
                    <a:cubicBezTo>
                      <a:pt x="130" y="154"/>
                      <a:pt x="129" y="152"/>
                      <a:pt x="128" y="151"/>
                    </a:cubicBezTo>
                    <a:cubicBezTo>
                      <a:pt x="127" y="149"/>
                      <a:pt x="126" y="148"/>
                      <a:pt x="124" y="148"/>
                    </a:cubicBezTo>
                    <a:cubicBezTo>
                      <a:pt x="123" y="148"/>
                      <a:pt x="122" y="150"/>
                      <a:pt x="121" y="151"/>
                    </a:cubicBezTo>
                    <a:cubicBezTo>
                      <a:pt x="120" y="155"/>
                      <a:pt x="120" y="159"/>
                      <a:pt x="121" y="163"/>
                    </a:cubicBezTo>
                    <a:cubicBezTo>
                      <a:pt x="123" y="171"/>
                      <a:pt x="123" y="179"/>
                      <a:pt x="122" y="186"/>
                    </a:cubicBezTo>
                    <a:cubicBezTo>
                      <a:pt x="121" y="189"/>
                      <a:pt x="121" y="192"/>
                      <a:pt x="122" y="194"/>
                    </a:cubicBezTo>
                    <a:cubicBezTo>
                      <a:pt x="123" y="202"/>
                      <a:pt x="129" y="205"/>
                      <a:pt x="136" y="203"/>
                    </a:cubicBezTo>
                    <a:cubicBezTo>
                      <a:pt x="139" y="202"/>
                      <a:pt x="142" y="200"/>
                      <a:pt x="144" y="197"/>
                    </a:cubicBezTo>
                    <a:cubicBezTo>
                      <a:pt x="150" y="192"/>
                      <a:pt x="158" y="189"/>
                      <a:pt x="165" y="186"/>
                    </a:cubicBezTo>
                    <a:cubicBezTo>
                      <a:pt x="168" y="185"/>
                      <a:pt x="170"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1"/>
                      <a:pt x="160" y="158"/>
                      <a:pt x="160" y="155"/>
                    </a:cubicBezTo>
                    <a:cubicBezTo>
                      <a:pt x="160" y="155"/>
                      <a:pt x="160" y="154"/>
                      <a:pt x="161" y="153"/>
                    </a:cubicBezTo>
                    <a:close/>
                    <a:moveTo>
                      <a:pt x="71" y="69"/>
                    </a:moveTo>
                    <a:cubicBezTo>
                      <a:pt x="71" y="69"/>
                      <a:pt x="71" y="69"/>
                      <a:pt x="71" y="69"/>
                    </a:cubicBezTo>
                    <a:cubicBezTo>
                      <a:pt x="72" y="71"/>
                      <a:pt x="74" y="73"/>
                      <a:pt x="77" y="74"/>
                    </a:cubicBezTo>
                    <a:cubicBezTo>
                      <a:pt x="81" y="74"/>
                      <a:pt x="85" y="73"/>
                      <a:pt x="88" y="72"/>
                    </a:cubicBezTo>
                    <a:cubicBezTo>
                      <a:pt x="91" y="70"/>
                      <a:pt x="94" y="68"/>
                      <a:pt x="97" y="67"/>
                    </a:cubicBezTo>
                    <a:cubicBezTo>
                      <a:pt x="98" y="66"/>
                      <a:pt x="100" y="66"/>
                      <a:pt x="101" y="66"/>
                    </a:cubicBezTo>
                    <a:cubicBezTo>
                      <a:pt x="101" y="66"/>
                      <a:pt x="102" y="66"/>
                      <a:pt x="102" y="67"/>
                    </a:cubicBezTo>
                    <a:cubicBezTo>
                      <a:pt x="102" y="67"/>
                      <a:pt x="102" y="68"/>
                      <a:pt x="101" y="68"/>
                    </a:cubicBezTo>
                    <a:cubicBezTo>
                      <a:pt x="101" y="69"/>
                      <a:pt x="100" y="69"/>
                      <a:pt x="99" y="70"/>
                    </a:cubicBezTo>
                    <a:cubicBezTo>
                      <a:pt x="94" y="72"/>
                      <a:pt x="90" y="75"/>
                      <a:pt x="86" y="77"/>
                    </a:cubicBezTo>
                    <a:cubicBezTo>
                      <a:pt x="85" y="79"/>
                      <a:pt x="83" y="80"/>
                      <a:pt x="81" y="81"/>
                    </a:cubicBezTo>
                    <a:cubicBezTo>
                      <a:pt x="78" y="82"/>
                      <a:pt x="75" y="82"/>
                      <a:pt x="73" y="80"/>
                    </a:cubicBezTo>
                    <a:cubicBezTo>
                      <a:pt x="71" y="77"/>
                      <a:pt x="69" y="74"/>
                      <a:pt x="67" y="72"/>
                    </a:cubicBezTo>
                    <a:cubicBezTo>
                      <a:pt x="67" y="71"/>
                      <a:pt x="66" y="70"/>
                      <a:pt x="65" y="69"/>
                    </a:cubicBezTo>
                    <a:cubicBezTo>
                      <a:pt x="65" y="70"/>
                      <a:pt x="65" y="71"/>
                      <a:pt x="65" y="71"/>
                    </a:cubicBezTo>
                    <a:cubicBezTo>
                      <a:pt x="64" y="73"/>
                      <a:pt x="64" y="75"/>
                      <a:pt x="63" y="77"/>
                    </a:cubicBezTo>
                    <a:cubicBezTo>
                      <a:pt x="63" y="79"/>
                      <a:pt x="61" y="81"/>
                      <a:pt x="60" y="83"/>
                    </a:cubicBezTo>
                    <a:cubicBezTo>
                      <a:pt x="59" y="86"/>
                      <a:pt x="57" y="89"/>
                      <a:pt x="57" y="92"/>
                    </a:cubicBezTo>
                    <a:cubicBezTo>
                      <a:pt x="57" y="94"/>
                      <a:pt x="58" y="96"/>
                      <a:pt x="58" y="98"/>
                    </a:cubicBezTo>
                    <a:cubicBezTo>
                      <a:pt x="57" y="99"/>
                      <a:pt x="57" y="100"/>
                      <a:pt x="56" y="101"/>
                    </a:cubicBezTo>
                    <a:cubicBezTo>
                      <a:pt x="54" y="105"/>
                      <a:pt x="51" y="109"/>
                      <a:pt x="50" y="113"/>
                    </a:cubicBezTo>
                    <a:cubicBezTo>
                      <a:pt x="47" y="117"/>
                      <a:pt x="46" y="122"/>
                      <a:pt x="46" y="127"/>
                    </a:cubicBezTo>
                    <a:cubicBezTo>
                      <a:pt x="45" y="130"/>
                      <a:pt x="46" y="133"/>
                      <a:pt x="46" y="136"/>
                    </a:cubicBezTo>
                    <a:cubicBezTo>
                      <a:pt x="45" y="138"/>
                      <a:pt x="45" y="139"/>
                      <a:pt x="45" y="140"/>
                    </a:cubicBezTo>
                    <a:cubicBezTo>
                      <a:pt x="44" y="142"/>
                      <a:pt x="43" y="142"/>
                      <a:pt x="42" y="141"/>
                    </a:cubicBezTo>
                    <a:cubicBezTo>
                      <a:pt x="42" y="140"/>
                      <a:pt x="41" y="139"/>
                      <a:pt x="40" y="138"/>
                    </a:cubicBezTo>
                    <a:cubicBezTo>
                      <a:pt x="38" y="134"/>
                      <a:pt x="37" y="130"/>
                      <a:pt x="37" y="125"/>
                    </a:cubicBezTo>
                    <a:cubicBezTo>
                      <a:pt x="38" y="124"/>
                      <a:pt x="38" y="122"/>
                      <a:pt x="38" y="121"/>
                    </a:cubicBezTo>
                    <a:cubicBezTo>
                      <a:pt x="38" y="121"/>
                      <a:pt x="38" y="121"/>
                      <a:pt x="38" y="121"/>
                    </a:cubicBezTo>
                    <a:cubicBezTo>
                      <a:pt x="37" y="122"/>
                      <a:pt x="37" y="123"/>
                      <a:pt x="36"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69" y="170"/>
                      <a:pt x="69" y="172"/>
                    </a:cubicBezTo>
                    <a:cubicBezTo>
                      <a:pt x="68" y="175"/>
                      <a:pt x="67" y="177"/>
                      <a:pt x="64" y="178"/>
                    </a:cubicBezTo>
                    <a:cubicBezTo>
                      <a:pt x="64" y="178"/>
                      <a:pt x="63" y="178"/>
                      <a:pt x="62" y="178"/>
                    </a:cubicBezTo>
                    <a:cubicBezTo>
                      <a:pt x="63" y="180"/>
                      <a:pt x="64" y="182"/>
                      <a:pt x="66" y="183"/>
                    </a:cubicBezTo>
                    <a:cubicBezTo>
                      <a:pt x="68" y="186"/>
                      <a:pt x="69" y="189"/>
                      <a:pt x="69" y="192"/>
                    </a:cubicBezTo>
                    <a:cubicBezTo>
                      <a:pt x="70" y="194"/>
                      <a:pt x="70" y="196"/>
                      <a:pt x="70" y="198"/>
                    </a:cubicBezTo>
                    <a:cubicBezTo>
                      <a:pt x="70" y="197"/>
                      <a:pt x="70" y="197"/>
                      <a:pt x="70" y="197"/>
                    </a:cubicBezTo>
                    <a:cubicBezTo>
                      <a:pt x="73" y="196"/>
                      <a:pt x="73" y="193"/>
                      <a:pt x="72" y="191"/>
                    </a:cubicBezTo>
                    <a:cubicBezTo>
                      <a:pt x="72" y="189"/>
                      <a:pt x="70" y="186"/>
                      <a:pt x="69" y="184"/>
                    </a:cubicBezTo>
                    <a:cubicBezTo>
                      <a:pt x="68" y="184"/>
                      <a:pt x="68" y="183"/>
                      <a:pt x="68" y="183"/>
                    </a:cubicBezTo>
                    <a:cubicBezTo>
                      <a:pt x="69" y="182"/>
                      <a:pt x="71" y="181"/>
                      <a:pt x="72" y="182"/>
                    </a:cubicBezTo>
                    <a:cubicBezTo>
                      <a:pt x="74" y="184"/>
                      <a:pt x="76" y="186"/>
                      <a:pt x="79" y="186"/>
                    </a:cubicBezTo>
                    <a:cubicBezTo>
                      <a:pt x="85" y="187"/>
                      <a:pt x="91" y="187"/>
                      <a:pt x="97" y="185"/>
                    </a:cubicBezTo>
                    <a:cubicBezTo>
                      <a:pt x="101" y="184"/>
                      <a:pt x="106" y="183"/>
                      <a:pt x="109" y="179"/>
                    </a:cubicBezTo>
                    <a:cubicBezTo>
                      <a:pt x="111" y="178"/>
                      <a:pt x="112" y="176"/>
                      <a:pt x="113" y="174"/>
                    </a:cubicBezTo>
                    <a:cubicBezTo>
                      <a:pt x="114" y="173"/>
                      <a:pt x="115" y="173"/>
                      <a:pt x="115" y="173"/>
                    </a:cubicBezTo>
                    <a:cubicBezTo>
                      <a:pt x="116" y="173"/>
                      <a:pt x="116" y="174"/>
                      <a:pt x="117" y="175"/>
                    </a:cubicBezTo>
                    <a:cubicBezTo>
                      <a:pt x="117" y="179"/>
                      <a:pt x="116" y="182"/>
                      <a:pt x="115" y="186"/>
                    </a:cubicBezTo>
                    <a:cubicBezTo>
                      <a:pt x="115" y="188"/>
                      <a:pt x="114" y="191"/>
                      <a:pt x="113" y="193"/>
                    </a:cubicBezTo>
                    <a:cubicBezTo>
                      <a:pt x="113" y="195"/>
                      <a:pt x="114" y="196"/>
                      <a:pt x="116" y="196"/>
                    </a:cubicBezTo>
                    <a:cubicBezTo>
                      <a:pt x="117" y="191"/>
                      <a:pt x="118" y="187"/>
                      <a:pt x="119" y="183"/>
                    </a:cubicBezTo>
                    <a:cubicBezTo>
                      <a:pt x="119" y="179"/>
                      <a:pt x="120" y="175"/>
                      <a:pt x="119" y="171"/>
                    </a:cubicBezTo>
                    <a:cubicBezTo>
                      <a:pt x="119" y="167"/>
                      <a:pt x="118" y="164"/>
                      <a:pt x="118" y="160"/>
                    </a:cubicBezTo>
                    <a:cubicBezTo>
                      <a:pt x="118" y="157"/>
                      <a:pt x="118" y="153"/>
                      <a:pt x="119" y="150"/>
                    </a:cubicBezTo>
                    <a:cubicBezTo>
                      <a:pt x="120" y="148"/>
                      <a:pt x="122" y="146"/>
                      <a:pt x="125" y="146"/>
                    </a:cubicBezTo>
                    <a:cubicBezTo>
                      <a:pt x="126" y="146"/>
                      <a:pt x="126" y="146"/>
                      <a:pt x="126" y="146"/>
                    </a:cubicBezTo>
                    <a:cubicBezTo>
                      <a:pt x="127" y="142"/>
                      <a:pt x="129" y="140"/>
                      <a:pt x="132" y="139"/>
                    </a:cubicBezTo>
                    <a:cubicBezTo>
                      <a:pt x="137" y="138"/>
                      <a:pt x="141" y="139"/>
                      <a:pt x="146" y="141"/>
                    </a:cubicBezTo>
                    <a:cubicBezTo>
                      <a:pt x="145" y="138"/>
                      <a:pt x="142" y="138"/>
                      <a:pt x="140" y="136"/>
                    </a:cubicBezTo>
                    <a:cubicBezTo>
                      <a:pt x="145" y="119"/>
                      <a:pt x="135" y="97"/>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4"/>
                      <a:pt x="124" y="107"/>
                    </a:cubicBezTo>
                    <a:cubicBezTo>
                      <a:pt x="122" y="103"/>
                      <a:pt x="121" y="99"/>
                      <a:pt x="117" y="95"/>
                    </a:cubicBezTo>
                    <a:cubicBezTo>
                      <a:pt x="117" y="95"/>
                      <a:pt x="117" y="95"/>
                      <a:pt x="117" y="94"/>
                    </a:cubicBezTo>
                    <a:cubicBezTo>
                      <a:pt x="115" y="86"/>
                      <a:pt x="112" y="79"/>
                      <a:pt x="107" y="73"/>
                    </a:cubicBezTo>
                    <a:cubicBezTo>
                      <a:pt x="105" y="70"/>
                      <a:pt x="105" y="67"/>
                      <a:pt x="105"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1"/>
                    </a:cubicBezTo>
                    <a:cubicBezTo>
                      <a:pt x="93" y="38"/>
                      <a:pt x="95" y="37"/>
                      <a:pt x="98" y="37"/>
                    </a:cubicBezTo>
                    <a:cubicBezTo>
                      <a:pt x="99" y="37"/>
                      <a:pt x="101" y="38"/>
                      <a:pt x="102" y="40"/>
                    </a:cubicBezTo>
                    <a:cubicBezTo>
                      <a:pt x="103" y="43"/>
                      <a:pt x="103" y="45"/>
                      <a:pt x="102" y="48"/>
                    </a:cubicBezTo>
                    <a:cubicBezTo>
                      <a:pt x="102" y="49"/>
                      <a:pt x="101" y="50"/>
                      <a:pt x="102" y="50"/>
                    </a:cubicBezTo>
                    <a:cubicBezTo>
                      <a:pt x="104" y="51"/>
                      <a:pt x="107" y="50"/>
                      <a:pt x="107" y="49"/>
                    </a:cubicBezTo>
                    <a:cubicBezTo>
                      <a:pt x="107" y="44"/>
                      <a:pt x="107" y="40"/>
                      <a:pt x="105" y="36"/>
                    </a:cubicBezTo>
                    <a:cubicBezTo>
                      <a:pt x="103" y="32"/>
                      <a:pt x="100" y="30"/>
                      <a:pt x="96" y="30"/>
                    </a:cubicBezTo>
                    <a:cubicBezTo>
                      <a:pt x="91" y="31"/>
                      <a:pt x="88" y="33"/>
                      <a:pt x="87" y="38"/>
                    </a:cubicBezTo>
                    <a:cubicBezTo>
                      <a:pt x="87" y="39"/>
                      <a:pt x="86" y="41"/>
                      <a:pt x="86" y="42"/>
                    </a:cubicBezTo>
                    <a:cubicBezTo>
                      <a:pt x="87" y="44"/>
                      <a:pt x="87" y="45"/>
                      <a:pt x="87" y="47"/>
                    </a:cubicBezTo>
                    <a:cubicBezTo>
                      <a:pt x="85" y="46"/>
                      <a:pt x="83" y="46"/>
                      <a:pt x="80" y="46"/>
                    </a:cubicBezTo>
                    <a:cubicBezTo>
                      <a:pt x="80" y="46"/>
                      <a:pt x="80" y="46"/>
                      <a:pt x="79" y="46"/>
                    </a:cubicBezTo>
                    <a:cubicBezTo>
                      <a:pt x="78" y="46"/>
                      <a:pt x="78" y="46"/>
                      <a:pt x="78" y="44"/>
                    </a:cubicBezTo>
                    <a:cubicBezTo>
                      <a:pt x="77" y="42"/>
                      <a:pt x="77" y="39"/>
                      <a:pt x="76" y="36"/>
                    </a:cubicBezTo>
                    <a:cubicBezTo>
                      <a:pt x="76" y="36"/>
                      <a:pt x="76" y="35"/>
                      <a:pt x="76" y="35"/>
                    </a:cubicBezTo>
                    <a:cubicBezTo>
                      <a:pt x="74" y="33"/>
                      <a:pt x="73" y="31"/>
                      <a:pt x="70" y="31"/>
                    </a:cubicBezTo>
                    <a:cubicBezTo>
                      <a:pt x="68" y="31"/>
                      <a:pt x="66" y="33"/>
                      <a:pt x="65" y="35"/>
                    </a:cubicBezTo>
                    <a:cubicBezTo>
                      <a:pt x="63" y="40"/>
                      <a:pt x="63" y="45"/>
                      <a:pt x="66" y="50"/>
                    </a:cubicBezTo>
                    <a:cubicBezTo>
                      <a:pt x="66" y="51"/>
                      <a:pt x="67" y="51"/>
                      <a:pt x="68" y="51"/>
                    </a:cubicBezTo>
                    <a:cubicBezTo>
                      <a:pt x="69" y="51"/>
                      <a:pt x="69" y="50"/>
                      <a:pt x="69" y="49"/>
                    </a:cubicBezTo>
                    <a:cubicBezTo>
                      <a:pt x="68" y="49"/>
                      <a:pt x="68" y="48"/>
                      <a:pt x="67" y="48"/>
                    </a:cubicBezTo>
                    <a:cubicBezTo>
                      <a:pt x="66" y="45"/>
                      <a:pt x="65" y="43"/>
                      <a:pt x="66" y="40"/>
                    </a:cubicBezTo>
                    <a:cubicBezTo>
                      <a:pt x="67" y="37"/>
                      <a:pt x="71" y="36"/>
                      <a:pt x="73" y="38"/>
                    </a:cubicBezTo>
                    <a:cubicBezTo>
                      <a:pt x="74" y="40"/>
                      <a:pt x="75" y="42"/>
                      <a:pt x="75" y="44"/>
                    </a:cubicBezTo>
                    <a:cubicBezTo>
                      <a:pt x="75" y="46"/>
                      <a:pt x="74" y="47"/>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2"/>
                      <a:pt x="68" y="63"/>
                    </a:cubicBezTo>
                    <a:cubicBezTo>
                      <a:pt x="70" y="66"/>
                      <a:pt x="74" y="67"/>
                      <a:pt x="78" y="67"/>
                    </a:cubicBezTo>
                    <a:cubicBezTo>
                      <a:pt x="82" y="66"/>
                      <a:pt x="86" y="65"/>
                      <a:pt x="91" y="64"/>
                    </a:cubicBezTo>
                    <a:cubicBezTo>
                      <a:pt x="94" y="63"/>
                      <a:pt x="98" y="62"/>
                      <a:pt x="101" y="58"/>
                    </a:cubicBezTo>
                    <a:cubicBezTo>
                      <a:pt x="101" y="58"/>
                      <a:pt x="102" y="58"/>
                      <a:pt x="103" y="58"/>
                    </a:cubicBezTo>
                    <a:cubicBezTo>
                      <a:pt x="103" y="59"/>
                      <a:pt x="103" y="60"/>
                      <a:pt x="103" y="60"/>
                    </a:cubicBezTo>
                    <a:cubicBezTo>
                      <a:pt x="103" y="61"/>
                      <a:pt x="102" y="61"/>
                      <a:pt x="102" y="62"/>
                    </a:cubicBezTo>
                    <a:cubicBezTo>
                      <a:pt x="96" y="64"/>
                      <a:pt x="91" y="66"/>
                      <a:pt x="86" y="68"/>
                    </a:cubicBezTo>
                    <a:cubicBezTo>
                      <a:pt x="82" y="69"/>
                      <a:pt x="78" y="70"/>
                      <a:pt x="74" y="69"/>
                    </a:cubicBezTo>
                    <a:cubicBezTo>
                      <a:pt x="73" y="69"/>
                      <a:pt x="72" y="69"/>
                      <a:pt x="71" y="69"/>
                    </a:cubicBezTo>
                    <a:close/>
                    <a:moveTo>
                      <a:pt x="73" y="45"/>
                    </a:moveTo>
                    <a:cubicBezTo>
                      <a:pt x="73" y="43"/>
                      <a:pt x="73" y="42"/>
                      <a:pt x="72" y="40"/>
                    </a:cubicBezTo>
                    <a:cubicBezTo>
                      <a:pt x="71" y="40"/>
                      <a:pt x="71" y="40"/>
                      <a:pt x="70" y="40"/>
                    </a:cubicBezTo>
                    <a:cubicBezTo>
                      <a:pt x="70" y="40"/>
                      <a:pt x="70" y="41"/>
                      <a:pt x="70" y="41"/>
                    </a:cubicBezTo>
                    <a:cubicBezTo>
                      <a:pt x="72" y="42"/>
                      <a:pt x="71" y="43"/>
                      <a:pt x="71" y="44"/>
                    </a:cubicBezTo>
                    <a:cubicBezTo>
                      <a:pt x="71" y="45"/>
                      <a:pt x="72" y="45"/>
                      <a:pt x="73" y="45"/>
                    </a:cubicBezTo>
                    <a:close/>
                    <a:moveTo>
                      <a:pt x="97" y="40"/>
                    </a:moveTo>
                    <a:cubicBezTo>
                      <a:pt x="99" y="40"/>
                      <a:pt x="99" y="42"/>
                      <a:pt x="100" y="44"/>
                    </a:cubicBezTo>
                    <a:cubicBezTo>
                      <a:pt x="100" y="44"/>
                      <a:pt x="101" y="43"/>
                      <a:pt x="101" y="43"/>
                    </a:cubicBezTo>
                    <a:cubicBezTo>
                      <a:pt x="101" y="42"/>
                      <a:pt x="100" y="40"/>
                      <a:pt x="99" y="40"/>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267"/>
              <p:cNvSpPr>
                <a:spLocks/>
              </p:cNvSpPr>
              <p:nvPr userDrawn="1"/>
            </p:nvSpPr>
            <p:spPr bwMode="auto">
              <a:xfrm>
                <a:off x="4077" y="59"/>
                <a:ext cx="2"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268"/>
              <p:cNvSpPr>
                <a:spLocks/>
              </p:cNvSpPr>
              <p:nvPr userDrawn="1"/>
            </p:nvSpPr>
            <p:spPr bwMode="auto">
              <a:xfrm>
                <a:off x="4089" y="59"/>
                <a:ext cx="4" cy="2"/>
              </a:xfrm>
              <a:custGeom>
                <a:avLst/>
                <a:gdLst>
                  <a:gd name="T0" fmla="*/ 0 w 3"/>
                  <a:gd name="T1" fmla="*/ 0 h 2"/>
                  <a:gd name="T2" fmla="*/ 3 w 3"/>
                  <a:gd name="T3" fmla="*/ 0 h 2"/>
                  <a:gd name="T4" fmla="*/ 3 w 3"/>
                  <a:gd name="T5" fmla="*/ 1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0"/>
                    </a:cubicBezTo>
                    <a:cubicBezTo>
                      <a:pt x="3" y="0"/>
                      <a:pt x="3" y="1"/>
                      <a:pt x="3" y="1"/>
                    </a:cubicBezTo>
                    <a:cubicBezTo>
                      <a:pt x="3" y="1"/>
                      <a:pt x="3" y="2"/>
                      <a:pt x="2"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269"/>
              <p:cNvSpPr>
                <a:spLocks noEditPoints="1"/>
              </p:cNvSpPr>
              <p:nvPr userDrawn="1"/>
            </p:nvSpPr>
            <p:spPr bwMode="auto">
              <a:xfrm>
                <a:off x="203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Freeform 270"/>
              <p:cNvSpPr>
                <a:spLocks noEditPoints="1"/>
              </p:cNvSpPr>
              <p:nvPr userDrawn="1"/>
            </p:nvSpPr>
            <p:spPr bwMode="auto">
              <a:xfrm>
                <a:off x="2228"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271"/>
              <p:cNvSpPr>
                <a:spLocks noEditPoints="1"/>
              </p:cNvSpPr>
              <p:nvPr userDrawn="1"/>
            </p:nvSpPr>
            <p:spPr bwMode="auto">
              <a:xfrm>
                <a:off x="242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272"/>
              <p:cNvSpPr>
                <a:spLocks/>
              </p:cNvSpPr>
              <p:nvPr userDrawn="1"/>
            </p:nvSpPr>
            <p:spPr bwMode="auto">
              <a:xfrm>
                <a:off x="2620"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273"/>
              <p:cNvSpPr>
                <a:spLocks/>
              </p:cNvSpPr>
              <p:nvPr userDrawn="1"/>
            </p:nvSpPr>
            <p:spPr bwMode="auto">
              <a:xfrm>
                <a:off x="2770" y="73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274"/>
              <p:cNvSpPr>
                <a:spLocks noEditPoints="1"/>
              </p:cNvSpPr>
              <p:nvPr userDrawn="1"/>
            </p:nvSpPr>
            <p:spPr bwMode="auto">
              <a:xfrm>
                <a:off x="2918"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7"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275"/>
              <p:cNvSpPr>
                <a:spLocks/>
              </p:cNvSpPr>
              <p:nvPr userDrawn="1"/>
            </p:nvSpPr>
            <p:spPr bwMode="auto">
              <a:xfrm>
                <a:off x="3115"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276"/>
              <p:cNvSpPr>
                <a:spLocks noEditPoints="1"/>
              </p:cNvSpPr>
              <p:nvPr userDrawn="1"/>
            </p:nvSpPr>
            <p:spPr bwMode="auto">
              <a:xfrm>
                <a:off x="3264"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277"/>
              <p:cNvSpPr>
                <a:spLocks noEditPoints="1"/>
              </p:cNvSpPr>
              <p:nvPr userDrawn="1"/>
            </p:nvSpPr>
            <p:spPr bwMode="auto">
              <a:xfrm>
                <a:off x="3459"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278"/>
              <p:cNvSpPr>
                <a:spLocks/>
              </p:cNvSpPr>
              <p:nvPr userDrawn="1"/>
            </p:nvSpPr>
            <p:spPr bwMode="auto">
              <a:xfrm>
                <a:off x="3656"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279"/>
              <p:cNvSpPr>
                <a:spLocks noEditPoints="1"/>
              </p:cNvSpPr>
              <p:nvPr userDrawn="1"/>
            </p:nvSpPr>
            <p:spPr bwMode="auto">
              <a:xfrm>
                <a:off x="3805" y="739"/>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280"/>
              <p:cNvSpPr>
                <a:spLocks noEditPoints="1"/>
              </p:cNvSpPr>
              <p:nvPr userDrawn="1"/>
            </p:nvSpPr>
            <p:spPr bwMode="auto">
              <a:xfrm>
                <a:off x="3989" y="743"/>
                <a:ext cx="189" cy="219"/>
              </a:xfrm>
              <a:custGeom>
                <a:avLst/>
                <a:gdLst>
                  <a:gd name="T0" fmla="*/ 189 w 189"/>
                  <a:gd name="T1" fmla="*/ 67 h 219"/>
                  <a:gd name="T2" fmla="*/ 185 w 189"/>
                  <a:gd name="T3" fmla="*/ 85 h 219"/>
                  <a:gd name="T4" fmla="*/ 141 w 189"/>
                  <a:gd name="T5" fmla="*/ 85 h 219"/>
                  <a:gd name="T6" fmla="*/ 132 w 189"/>
                  <a:gd name="T7" fmla="*/ 135 h 219"/>
                  <a:gd name="T8" fmla="*/ 178 w 189"/>
                  <a:gd name="T9" fmla="*/ 135 h 219"/>
                  <a:gd name="T10" fmla="*/ 173 w 189"/>
                  <a:gd name="T11" fmla="*/ 152 h 219"/>
                  <a:gd name="T12" fmla="*/ 128 w 189"/>
                  <a:gd name="T13" fmla="*/ 152 h 219"/>
                  <a:gd name="T14" fmla="*/ 113 w 189"/>
                  <a:gd name="T15" fmla="*/ 219 h 219"/>
                  <a:gd name="T16" fmla="*/ 93 w 189"/>
                  <a:gd name="T17" fmla="*/ 219 h 219"/>
                  <a:gd name="T18" fmla="*/ 106 w 189"/>
                  <a:gd name="T19" fmla="*/ 152 h 219"/>
                  <a:gd name="T20" fmla="*/ 65 w 189"/>
                  <a:gd name="T21" fmla="*/ 152 h 219"/>
                  <a:gd name="T22" fmla="*/ 51 w 189"/>
                  <a:gd name="T23" fmla="*/ 219 h 219"/>
                  <a:gd name="T24" fmla="*/ 30 w 189"/>
                  <a:gd name="T25" fmla="*/ 219 h 219"/>
                  <a:gd name="T26" fmla="*/ 44 w 189"/>
                  <a:gd name="T27" fmla="*/ 152 h 219"/>
                  <a:gd name="T28" fmla="*/ 0 w 189"/>
                  <a:gd name="T29" fmla="*/ 152 h 219"/>
                  <a:gd name="T30" fmla="*/ 4 w 189"/>
                  <a:gd name="T31" fmla="*/ 135 h 219"/>
                  <a:gd name="T32" fmla="*/ 47 w 189"/>
                  <a:gd name="T33" fmla="*/ 135 h 219"/>
                  <a:gd name="T34" fmla="*/ 58 w 189"/>
                  <a:gd name="T35" fmla="*/ 85 h 219"/>
                  <a:gd name="T36" fmla="*/ 12 w 189"/>
                  <a:gd name="T37" fmla="*/ 85 h 219"/>
                  <a:gd name="T38" fmla="*/ 16 w 189"/>
                  <a:gd name="T39" fmla="*/ 67 h 219"/>
                  <a:gd name="T40" fmla="*/ 61 w 189"/>
                  <a:gd name="T41" fmla="*/ 67 h 219"/>
                  <a:gd name="T42" fmla="*/ 75 w 189"/>
                  <a:gd name="T43" fmla="*/ 0 h 219"/>
                  <a:gd name="T44" fmla="*/ 96 w 189"/>
                  <a:gd name="T45" fmla="*/ 0 h 219"/>
                  <a:gd name="T46" fmla="*/ 83 w 189"/>
                  <a:gd name="T47" fmla="*/ 67 h 219"/>
                  <a:gd name="T48" fmla="*/ 124 w 189"/>
                  <a:gd name="T49" fmla="*/ 67 h 219"/>
                  <a:gd name="T50" fmla="*/ 139 w 189"/>
                  <a:gd name="T51" fmla="*/ 0 h 219"/>
                  <a:gd name="T52" fmla="*/ 160 w 189"/>
                  <a:gd name="T53" fmla="*/ 0 h 219"/>
                  <a:gd name="T54" fmla="*/ 145 w 189"/>
                  <a:gd name="T55" fmla="*/ 67 h 219"/>
                  <a:gd name="T56" fmla="*/ 189 w 189"/>
                  <a:gd name="T57" fmla="*/ 67 h 219"/>
                  <a:gd name="T58" fmla="*/ 121 w 189"/>
                  <a:gd name="T59" fmla="*/ 85 h 219"/>
                  <a:gd name="T60" fmla="*/ 79 w 189"/>
                  <a:gd name="T61" fmla="*/ 85 h 219"/>
                  <a:gd name="T62" fmla="*/ 68 w 189"/>
                  <a:gd name="T63" fmla="*/ 135 h 219"/>
                  <a:gd name="T64" fmla="*/ 111 w 189"/>
                  <a:gd name="T65" fmla="*/ 135 h 219"/>
                  <a:gd name="T66" fmla="*/ 121 w 189"/>
                  <a:gd name="T67" fmla="*/ 8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5" y="85"/>
                    </a:lnTo>
                    <a:lnTo>
                      <a:pt x="141" y="85"/>
                    </a:lnTo>
                    <a:lnTo>
                      <a:pt x="132" y="135"/>
                    </a:lnTo>
                    <a:lnTo>
                      <a:pt x="178" y="135"/>
                    </a:lnTo>
                    <a:lnTo>
                      <a:pt x="173" y="152"/>
                    </a:lnTo>
                    <a:lnTo>
                      <a:pt x="128" y="152"/>
                    </a:lnTo>
                    <a:lnTo>
                      <a:pt x="113" y="219"/>
                    </a:lnTo>
                    <a:lnTo>
                      <a:pt x="93" y="219"/>
                    </a:lnTo>
                    <a:lnTo>
                      <a:pt x="106" y="152"/>
                    </a:lnTo>
                    <a:lnTo>
                      <a:pt x="65" y="152"/>
                    </a:lnTo>
                    <a:lnTo>
                      <a:pt x="51" y="219"/>
                    </a:lnTo>
                    <a:lnTo>
                      <a:pt x="30" y="219"/>
                    </a:lnTo>
                    <a:lnTo>
                      <a:pt x="44" y="152"/>
                    </a:lnTo>
                    <a:lnTo>
                      <a:pt x="0" y="152"/>
                    </a:lnTo>
                    <a:lnTo>
                      <a:pt x="4" y="135"/>
                    </a:lnTo>
                    <a:lnTo>
                      <a:pt x="47" y="135"/>
                    </a:lnTo>
                    <a:lnTo>
                      <a:pt x="58" y="85"/>
                    </a:lnTo>
                    <a:lnTo>
                      <a:pt x="12" y="85"/>
                    </a:lnTo>
                    <a:lnTo>
                      <a:pt x="16" y="67"/>
                    </a:lnTo>
                    <a:lnTo>
                      <a:pt x="61" y="67"/>
                    </a:lnTo>
                    <a:lnTo>
                      <a:pt x="75" y="0"/>
                    </a:lnTo>
                    <a:lnTo>
                      <a:pt x="96" y="0"/>
                    </a:lnTo>
                    <a:lnTo>
                      <a:pt x="83" y="67"/>
                    </a:lnTo>
                    <a:lnTo>
                      <a:pt x="124" y="67"/>
                    </a:lnTo>
                    <a:lnTo>
                      <a:pt x="139" y="0"/>
                    </a:lnTo>
                    <a:lnTo>
                      <a:pt x="160" y="0"/>
                    </a:lnTo>
                    <a:lnTo>
                      <a:pt x="145" y="67"/>
                    </a:lnTo>
                    <a:lnTo>
                      <a:pt x="189" y="67"/>
                    </a:lnTo>
                    <a:close/>
                    <a:moveTo>
                      <a:pt x="121" y="85"/>
                    </a:moveTo>
                    <a:lnTo>
                      <a:pt x="79" y="85"/>
                    </a:lnTo>
                    <a:lnTo>
                      <a:pt x="68" y="135"/>
                    </a:lnTo>
                    <a:lnTo>
                      <a:pt x="111" y="135"/>
                    </a:lnTo>
                    <a:lnTo>
                      <a:pt x="12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281"/>
              <p:cNvSpPr>
                <a:spLocks noEditPoints="1"/>
              </p:cNvSpPr>
              <p:nvPr userDrawn="1"/>
            </p:nvSpPr>
            <p:spPr bwMode="auto">
              <a:xfrm>
                <a:off x="4207" y="739"/>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4" y="185"/>
                      <a:pt x="97" y="191"/>
                      <a:pt x="89" y="196"/>
                    </a:cubicBezTo>
                    <a:cubicBezTo>
                      <a:pt x="81" y="201"/>
                      <a:pt x="72" y="203"/>
                      <a:pt x="62"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Freeform 282"/>
              <p:cNvSpPr>
                <a:spLocks noEditPoints="1"/>
              </p:cNvSpPr>
              <p:nvPr userDrawn="1"/>
            </p:nvSpPr>
            <p:spPr bwMode="auto">
              <a:xfrm>
                <a:off x="4402" y="739"/>
                <a:ext cx="155" cy="248"/>
              </a:xfrm>
              <a:custGeom>
                <a:avLst/>
                <a:gdLst>
                  <a:gd name="T0" fmla="*/ 127 w 127"/>
                  <a:gd name="T1" fmla="*/ 101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4" y="185"/>
                      <a:pt x="97" y="191"/>
                      <a:pt x="89" y="196"/>
                    </a:cubicBezTo>
                    <a:cubicBezTo>
                      <a:pt x="81" y="201"/>
                      <a:pt x="72" y="203"/>
                      <a:pt x="61"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283"/>
              <p:cNvSpPr>
                <a:spLocks/>
              </p:cNvSpPr>
              <p:nvPr userDrawn="1"/>
            </p:nvSpPr>
            <p:spPr bwMode="auto">
              <a:xfrm>
                <a:off x="4600" y="738"/>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284"/>
              <p:cNvSpPr>
                <a:spLocks noEditPoints="1"/>
              </p:cNvSpPr>
              <p:nvPr userDrawn="1"/>
            </p:nvSpPr>
            <p:spPr bwMode="auto">
              <a:xfrm>
                <a:off x="4747"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285"/>
              <p:cNvSpPr>
                <a:spLocks noEditPoints="1"/>
              </p:cNvSpPr>
              <p:nvPr userDrawn="1"/>
            </p:nvSpPr>
            <p:spPr bwMode="auto">
              <a:xfrm>
                <a:off x="4942"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286"/>
              <p:cNvSpPr>
                <a:spLocks noEditPoints="1"/>
              </p:cNvSpPr>
              <p:nvPr userDrawn="1"/>
            </p:nvSpPr>
            <p:spPr bwMode="auto">
              <a:xfrm>
                <a:off x="5137"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287"/>
              <p:cNvSpPr>
                <a:spLocks/>
              </p:cNvSpPr>
              <p:nvPr userDrawn="1"/>
            </p:nvSpPr>
            <p:spPr bwMode="auto">
              <a:xfrm>
                <a:off x="5334"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288"/>
              <p:cNvSpPr>
                <a:spLocks noEditPoints="1"/>
              </p:cNvSpPr>
              <p:nvPr userDrawn="1"/>
            </p:nvSpPr>
            <p:spPr bwMode="auto">
              <a:xfrm>
                <a:off x="5483"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289"/>
              <p:cNvSpPr>
                <a:spLocks/>
              </p:cNvSpPr>
              <p:nvPr userDrawn="1"/>
            </p:nvSpPr>
            <p:spPr bwMode="auto">
              <a:xfrm>
                <a:off x="5680" y="738"/>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3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290"/>
              <p:cNvSpPr>
                <a:spLocks/>
              </p:cNvSpPr>
              <p:nvPr userDrawn="1"/>
            </p:nvSpPr>
            <p:spPr bwMode="auto">
              <a:xfrm>
                <a:off x="5830" y="738"/>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291"/>
              <p:cNvSpPr>
                <a:spLocks noEditPoints="1"/>
              </p:cNvSpPr>
              <p:nvPr userDrawn="1"/>
            </p:nvSpPr>
            <p:spPr bwMode="auto">
              <a:xfrm>
                <a:off x="5978"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3"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292"/>
              <p:cNvSpPr>
                <a:spLocks/>
              </p:cNvSpPr>
              <p:nvPr userDrawn="1"/>
            </p:nvSpPr>
            <p:spPr bwMode="auto">
              <a:xfrm>
                <a:off x="6175"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293"/>
              <p:cNvSpPr>
                <a:spLocks noEditPoints="1"/>
              </p:cNvSpPr>
              <p:nvPr userDrawn="1"/>
            </p:nvSpPr>
            <p:spPr bwMode="auto">
              <a:xfrm>
                <a:off x="6324"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6" name="Freeform 294"/>
              <p:cNvSpPr>
                <a:spLocks noEditPoints="1"/>
              </p:cNvSpPr>
              <p:nvPr userDrawn="1"/>
            </p:nvSpPr>
            <p:spPr bwMode="auto">
              <a:xfrm>
                <a:off x="6519"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295"/>
              <p:cNvSpPr>
                <a:spLocks/>
              </p:cNvSpPr>
              <p:nvPr userDrawn="1"/>
            </p:nvSpPr>
            <p:spPr bwMode="auto">
              <a:xfrm>
                <a:off x="6944" y="73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Freeform 296"/>
              <p:cNvSpPr>
                <a:spLocks noEditPoints="1"/>
              </p:cNvSpPr>
              <p:nvPr userDrawn="1"/>
            </p:nvSpPr>
            <p:spPr bwMode="auto">
              <a:xfrm>
                <a:off x="7092"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297"/>
              <p:cNvSpPr>
                <a:spLocks noEditPoints="1"/>
              </p:cNvSpPr>
              <p:nvPr userDrawn="1"/>
            </p:nvSpPr>
            <p:spPr bwMode="auto">
              <a:xfrm>
                <a:off x="7287"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Freeform 298"/>
              <p:cNvSpPr>
                <a:spLocks/>
              </p:cNvSpPr>
              <p:nvPr userDrawn="1"/>
            </p:nvSpPr>
            <p:spPr bwMode="auto">
              <a:xfrm>
                <a:off x="7484"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Freeform 299"/>
              <p:cNvSpPr>
                <a:spLocks noEditPoints="1"/>
              </p:cNvSpPr>
              <p:nvPr userDrawn="1"/>
            </p:nvSpPr>
            <p:spPr bwMode="auto">
              <a:xfrm>
                <a:off x="763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Freeform 300"/>
              <p:cNvSpPr>
                <a:spLocks noEditPoints="1"/>
              </p:cNvSpPr>
              <p:nvPr userDrawn="1"/>
            </p:nvSpPr>
            <p:spPr bwMode="auto">
              <a:xfrm>
                <a:off x="6712" y="730"/>
                <a:ext cx="218" cy="256"/>
              </a:xfrm>
              <a:custGeom>
                <a:avLst/>
                <a:gdLst>
                  <a:gd name="T0" fmla="*/ 176 w 179"/>
                  <a:gd name="T1" fmla="*/ 174 h 209"/>
                  <a:gd name="T2" fmla="*/ 135 w 179"/>
                  <a:gd name="T3" fmla="*/ 208 h 209"/>
                  <a:gd name="T4" fmla="*/ 81 w 179"/>
                  <a:gd name="T5" fmla="*/ 198 h 209"/>
                  <a:gd name="T6" fmla="*/ 33 w 179"/>
                  <a:gd name="T7" fmla="*/ 202 h 209"/>
                  <a:gd name="T8" fmla="*/ 3 w 179"/>
                  <a:gd name="T9" fmla="*/ 184 h 209"/>
                  <a:gd name="T10" fmla="*/ 14 w 179"/>
                  <a:gd name="T11" fmla="*/ 159 h 209"/>
                  <a:gd name="T12" fmla="*/ 10 w 179"/>
                  <a:gd name="T13" fmla="*/ 162 h 209"/>
                  <a:gd name="T14" fmla="*/ 7 w 179"/>
                  <a:gd name="T15" fmla="*/ 183 h 209"/>
                  <a:gd name="T16" fmla="*/ 46 w 179"/>
                  <a:gd name="T17" fmla="*/ 202 h 209"/>
                  <a:gd name="T18" fmla="*/ 43 w 179"/>
                  <a:gd name="T19" fmla="*/ 152 h 209"/>
                  <a:gd name="T20" fmla="*/ 26 w 179"/>
                  <a:gd name="T21" fmla="*/ 133 h 209"/>
                  <a:gd name="T22" fmla="*/ 52 w 179"/>
                  <a:gd name="T23" fmla="*/ 83 h 209"/>
                  <a:gd name="T24" fmla="*/ 59 w 179"/>
                  <a:gd name="T25" fmla="*/ 27 h 209"/>
                  <a:gd name="T26" fmla="*/ 118 w 179"/>
                  <a:gd name="T27" fmla="*/ 18 h 209"/>
                  <a:gd name="T28" fmla="*/ 160 w 179"/>
                  <a:gd name="T29" fmla="*/ 128 h 209"/>
                  <a:gd name="T30" fmla="*/ 153 w 179"/>
                  <a:gd name="T31" fmla="*/ 152 h 209"/>
                  <a:gd name="T32" fmla="*/ 128 w 179"/>
                  <a:gd name="T33" fmla="*/ 150 h 209"/>
                  <a:gd name="T34" fmla="*/ 122 w 179"/>
                  <a:gd name="T35" fmla="*/ 186 h 209"/>
                  <a:gd name="T36" fmla="*/ 166 w 179"/>
                  <a:gd name="T37" fmla="*/ 186 h 209"/>
                  <a:gd name="T38" fmla="*/ 171 w 179"/>
                  <a:gd name="T39" fmla="*/ 174 h 209"/>
                  <a:gd name="T40" fmla="*/ 161 w 179"/>
                  <a:gd name="T41" fmla="*/ 152 h 209"/>
                  <a:gd name="T42" fmla="*/ 89 w 179"/>
                  <a:gd name="T43" fmla="*/ 71 h 209"/>
                  <a:gd name="T44" fmla="*/ 102 w 179"/>
                  <a:gd name="T45" fmla="*/ 68 h 209"/>
                  <a:gd name="T46" fmla="*/ 74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2 h 209"/>
                  <a:gd name="T58" fmla="*/ 65 w 179"/>
                  <a:gd name="T59" fmla="*/ 177 h 209"/>
                  <a:gd name="T60" fmla="*/ 70 w 179"/>
                  <a:gd name="T61" fmla="*/ 197 h 209"/>
                  <a:gd name="T62" fmla="*/ 69 w 179"/>
                  <a:gd name="T63" fmla="*/ 182 h 209"/>
                  <a:gd name="T64" fmla="*/ 109 w 179"/>
                  <a:gd name="T65" fmla="*/ 179 h 209"/>
                  <a:gd name="T66" fmla="*/ 116 w 179"/>
                  <a:gd name="T67" fmla="*/ 186 h 209"/>
                  <a:gd name="T68" fmla="*/ 120 w 179"/>
                  <a:gd name="T69" fmla="*/ 171 h 209"/>
                  <a:gd name="T70" fmla="*/ 127 w 179"/>
                  <a:gd name="T71" fmla="*/ 146 h 209"/>
                  <a:gd name="T72" fmla="*/ 127 w 179"/>
                  <a:gd name="T73" fmla="*/ 92 h 209"/>
                  <a:gd name="T74" fmla="*/ 128 w 179"/>
                  <a:gd name="T75" fmla="*/ 134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60 h 209"/>
                  <a:gd name="T96" fmla="*/ 101 w 179"/>
                  <a:gd name="T97" fmla="*/ 58 h 209"/>
                  <a:gd name="T98" fmla="*/ 87 w 179"/>
                  <a:gd name="T99" fmla="*/ 67 h 209"/>
                  <a:gd name="T100" fmla="*/ 72 w 179"/>
                  <a:gd name="T101" fmla="*/ 40 h 209"/>
                  <a:gd name="T102" fmla="*/ 73 w 179"/>
                  <a:gd name="T103" fmla="*/ 45 h 209"/>
                  <a:gd name="T104" fmla="*/ 100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2" y="155"/>
                      <a:pt x="162" y="158"/>
                      <a:pt x="163" y="161"/>
                    </a:cubicBezTo>
                    <a:cubicBezTo>
                      <a:pt x="164" y="165"/>
                      <a:pt x="167" y="168"/>
                      <a:pt x="171" y="170"/>
                    </a:cubicBezTo>
                    <a:cubicBezTo>
                      <a:pt x="173" y="171"/>
                      <a:pt x="174" y="172"/>
                      <a:pt x="176" y="174"/>
                    </a:cubicBezTo>
                    <a:cubicBezTo>
                      <a:pt x="179" y="176"/>
                      <a:pt x="179" y="180"/>
                      <a:pt x="176" y="183"/>
                    </a:cubicBezTo>
                    <a:cubicBezTo>
                      <a:pt x="173" y="185"/>
                      <a:pt x="170" y="187"/>
                      <a:pt x="166" y="189"/>
                    </a:cubicBezTo>
                    <a:cubicBezTo>
                      <a:pt x="157" y="193"/>
                      <a:pt x="149" y="199"/>
                      <a:pt x="141" y="206"/>
                    </a:cubicBezTo>
                    <a:cubicBezTo>
                      <a:pt x="139" y="208"/>
                      <a:pt x="137" y="208"/>
                      <a:pt x="135" y="208"/>
                    </a:cubicBezTo>
                    <a:cubicBezTo>
                      <a:pt x="131" y="209"/>
                      <a:pt x="128" y="209"/>
                      <a:pt x="125" y="208"/>
                    </a:cubicBezTo>
                    <a:cubicBezTo>
                      <a:pt x="122" y="207"/>
                      <a:pt x="120" y="205"/>
                      <a:pt x="118" y="203"/>
                    </a:cubicBezTo>
                    <a:cubicBezTo>
                      <a:pt x="116" y="199"/>
                      <a:pt x="114" y="198"/>
                      <a:pt x="110" y="198"/>
                    </a:cubicBezTo>
                    <a:cubicBezTo>
                      <a:pt x="100" y="198"/>
                      <a:pt x="91" y="198"/>
                      <a:pt x="81" y="198"/>
                    </a:cubicBezTo>
                    <a:cubicBezTo>
                      <a:pt x="76" y="198"/>
                      <a:pt x="72" y="199"/>
                      <a:pt x="68" y="201"/>
                    </a:cubicBezTo>
                    <a:cubicBezTo>
                      <a:pt x="66" y="202"/>
                      <a:pt x="65" y="204"/>
                      <a:pt x="63" y="205"/>
                    </a:cubicBezTo>
                    <a:cubicBezTo>
                      <a:pt x="59" y="208"/>
                      <a:pt x="54" y="209"/>
                      <a:pt x="49" y="207"/>
                    </a:cubicBezTo>
                    <a:cubicBezTo>
                      <a:pt x="43" y="205"/>
                      <a:pt x="38" y="203"/>
                      <a:pt x="33" y="202"/>
                    </a:cubicBezTo>
                    <a:cubicBezTo>
                      <a:pt x="26" y="200"/>
                      <a:pt x="19" y="199"/>
                      <a:pt x="11" y="197"/>
                    </a:cubicBezTo>
                    <a:cubicBezTo>
                      <a:pt x="9" y="197"/>
                      <a:pt x="7" y="196"/>
                      <a:pt x="5" y="195"/>
                    </a:cubicBezTo>
                    <a:cubicBezTo>
                      <a:pt x="2" y="194"/>
                      <a:pt x="0" y="191"/>
                      <a:pt x="1" y="188"/>
                    </a:cubicBezTo>
                    <a:cubicBezTo>
                      <a:pt x="2" y="186"/>
                      <a:pt x="2" y="185"/>
                      <a:pt x="3" y="184"/>
                    </a:cubicBezTo>
                    <a:cubicBezTo>
                      <a:pt x="5" y="180"/>
                      <a:pt x="5" y="176"/>
                      <a:pt x="4" y="172"/>
                    </a:cubicBezTo>
                    <a:cubicBezTo>
                      <a:pt x="3" y="170"/>
                      <a:pt x="3" y="168"/>
                      <a:pt x="2" y="166"/>
                    </a:cubicBezTo>
                    <a:cubicBezTo>
                      <a:pt x="2" y="162"/>
                      <a:pt x="3" y="160"/>
                      <a:pt x="8" y="160"/>
                    </a:cubicBezTo>
                    <a:cubicBezTo>
                      <a:pt x="10" y="159"/>
                      <a:pt x="12" y="159"/>
                      <a:pt x="14" y="159"/>
                    </a:cubicBezTo>
                    <a:cubicBezTo>
                      <a:pt x="19" y="158"/>
                      <a:pt x="23" y="155"/>
                      <a:pt x="23" y="150"/>
                    </a:cubicBezTo>
                    <a:cubicBezTo>
                      <a:pt x="23" y="149"/>
                      <a:pt x="24" y="149"/>
                      <a:pt x="24" y="149"/>
                    </a:cubicBezTo>
                    <a:cubicBezTo>
                      <a:pt x="25" y="153"/>
                      <a:pt x="24" y="159"/>
                      <a:pt x="18" y="161"/>
                    </a:cubicBezTo>
                    <a:cubicBezTo>
                      <a:pt x="15" y="162"/>
                      <a:pt x="12" y="162"/>
                      <a:pt x="10" y="162"/>
                    </a:cubicBezTo>
                    <a:cubicBezTo>
                      <a:pt x="9" y="162"/>
                      <a:pt x="9" y="162"/>
                      <a:pt x="9" y="162"/>
                    </a:cubicBezTo>
                    <a:cubicBezTo>
                      <a:pt x="5" y="162"/>
                      <a:pt x="4" y="164"/>
                      <a:pt x="5" y="167"/>
                    </a:cubicBezTo>
                    <a:cubicBezTo>
                      <a:pt x="5" y="169"/>
                      <a:pt x="6" y="171"/>
                      <a:pt x="7" y="172"/>
                    </a:cubicBezTo>
                    <a:cubicBezTo>
                      <a:pt x="9" y="176"/>
                      <a:pt x="9" y="179"/>
                      <a:pt x="7" y="183"/>
                    </a:cubicBezTo>
                    <a:cubicBezTo>
                      <a:pt x="6" y="185"/>
                      <a:pt x="5" y="186"/>
                      <a:pt x="5" y="188"/>
                    </a:cubicBezTo>
                    <a:cubicBezTo>
                      <a:pt x="4" y="190"/>
                      <a:pt x="5" y="191"/>
                      <a:pt x="7" y="192"/>
                    </a:cubicBezTo>
                    <a:cubicBezTo>
                      <a:pt x="9" y="193"/>
                      <a:pt x="11" y="194"/>
                      <a:pt x="14" y="194"/>
                    </a:cubicBezTo>
                    <a:cubicBezTo>
                      <a:pt x="25" y="196"/>
                      <a:pt x="35" y="199"/>
                      <a:pt x="46" y="202"/>
                    </a:cubicBezTo>
                    <a:cubicBezTo>
                      <a:pt x="49" y="203"/>
                      <a:pt x="52" y="204"/>
                      <a:pt x="56" y="203"/>
                    </a:cubicBezTo>
                    <a:cubicBezTo>
                      <a:pt x="63" y="202"/>
                      <a:pt x="66" y="197"/>
                      <a:pt x="65" y="190"/>
                    </a:cubicBezTo>
                    <a:cubicBezTo>
                      <a:pt x="64" y="186"/>
                      <a:pt x="63" y="182"/>
                      <a:pt x="61" y="179"/>
                    </a:cubicBezTo>
                    <a:cubicBezTo>
                      <a:pt x="55" y="169"/>
                      <a:pt x="49" y="160"/>
                      <a:pt x="43" y="152"/>
                    </a:cubicBezTo>
                    <a:cubicBezTo>
                      <a:pt x="40" y="149"/>
                      <a:pt x="38" y="147"/>
                      <a:pt x="35" y="145"/>
                    </a:cubicBezTo>
                    <a:cubicBezTo>
                      <a:pt x="33" y="143"/>
                      <a:pt x="30" y="142"/>
                      <a:pt x="27" y="144"/>
                    </a:cubicBezTo>
                    <a:cubicBezTo>
                      <a:pt x="26" y="145"/>
                      <a:pt x="26" y="145"/>
                      <a:pt x="25" y="143"/>
                    </a:cubicBezTo>
                    <a:cubicBezTo>
                      <a:pt x="25" y="140"/>
                      <a:pt x="25" y="137"/>
                      <a:pt x="26" y="133"/>
                    </a:cubicBezTo>
                    <a:cubicBezTo>
                      <a:pt x="26" y="132"/>
                      <a:pt x="27" y="131"/>
                      <a:pt x="27" y="130"/>
                    </a:cubicBezTo>
                    <a:cubicBezTo>
                      <a:pt x="31" y="124"/>
                      <a:pt x="33" y="118"/>
                      <a:pt x="35" y="112"/>
                    </a:cubicBezTo>
                    <a:cubicBezTo>
                      <a:pt x="37" y="106"/>
                      <a:pt x="40" y="99"/>
                      <a:pt x="44" y="94"/>
                    </a:cubicBezTo>
                    <a:cubicBezTo>
                      <a:pt x="46" y="90"/>
                      <a:pt x="49" y="87"/>
                      <a:pt x="52" y="83"/>
                    </a:cubicBezTo>
                    <a:cubicBezTo>
                      <a:pt x="54" y="80"/>
                      <a:pt x="56" y="76"/>
                      <a:pt x="58" y="73"/>
                    </a:cubicBezTo>
                    <a:cubicBezTo>
                      <a:pt x="60" y="70"/>
                      <a:pt x="61" y="68"/>
                      <a:pt x="60" y="65"/>
                    </a:cubicBezTo>
                    <a:cubicBezTo>
                      <a:pt x="60" y="58"/>
                      <a:pt x="59" y="51"/>
                      <a:pt x="59" y="44"/>
                    </a:cubicBezTo>
                    <a:cubicBezTo>
                      <a:pt x="59" y="38"/>
                      <a:pt x="59" y="33"/>
                      <a:pt x="59" y="27"/>
                    </a:cubicBezTo>
                    <a:cubicBezTo>
                      <a:pt x="59" y="16"/>
                      <a:pt x="64" y="8"/>
                      <a:pt x="73" y="3"/>
                    </a:cubicBezTo>
                    <a:cubicBezTo>
                      <a:pt x="77" y="1"/>
                      <a:pt x="81" y="0"/>
                      <a:pt x="85" y="0"/>
                    </a:cubicBezTo>
                    <a:cubicBezTo>
                      <a:pt x="91" y="0"/>
                      <a:pt x="97" y="1"/>
                      <a:pt x="103" y="3"/>
                    </a:cubicBezTo>
                    <a:cubicBezTo>
                      <a:pt x="110" y="6"/>
                      <a:pt x="114" y="11"/>
                      <a:pt x="118" y="18"/>
                    </a:cubicBezTo>
                    <a:cubicBezTo>
                      <a:pt x="121" y="23"/>
                      <a:pt x="123" y="29"/>
                      <a:pt x="123" y="36"/>
                    </a:cubicBezTo>
                    <a:cubicBezTo>
                      <a:pt x="123" y="40"/>
                      <a:pt x="123" y="43"/>
                      <a:pt x="123" y="47"/>
                    </a:cubicBezTo>
                    <a:cubicBezTo>
                      <a:pt x="125" y="61"/>
                      <a:pt x="129" y="74"/>
                      <a:pt x="139" y="85"/>
                    </a:cubicBezTo>
                    <a:cubicBezTo>
                      <a:pt x="150" y="97"/>
                      <a:pt x="156" y="112"/>
                      <a:pt x="160" y="128"/>
                    </a:cubicBezTo>
                    <a:cubicBezTo>
                      <a:pt x="161" y="133"/>
                      <a:pt x="161" y="138"/>
                      <a:pt x="160" y="143"/>
                    </a:cubicBezTo>
                    <a:cubicBezTo>
                      <a:pt x="160" y="144"/>
                      <a:pt x="160" y="145"/>
                      <a:pt x="159" y="146"/>
                    </a:cubicBezTo>
                    <a:cubicBezTo>
                      <a:pt x="159" y="147"/>
                      <a:pt x="158" y="148"/>
                      <a:pt x="158" y="148"/>
                    </a:cubicBezTo>
                    <a:cubicBezTo>
                      <a:pt x="155" y="148"/>
                      <a:pt x="154" y="150"/>
                      <a:pt x="153" y="152"/>
                    </a:cubicBezTo>
                    <a:cubicBezTo>
                      <a:pt x="151" y="154"/>
                      <a:pt x="150" y="156"/>
                      <a:pt x="147" y="158"/>
                    </a:cubicBezTo>
                    <a:cubicBezTo>
                      <a:pt x="144" y="160"/>
                      <a:pt x="140" y="160"/>
                      <a:pt x="136" y="159"/>
                    </a:cubicBezTo>
                    <a:cubicBezTo>
                      <a:pt x="134" y="159"/>
                      <a:pt x="132" y="157"/>
                      <a:pt x="131" y="155"/>
                    </a:cubicBezTo>
                    <a:cubicBezTo>
                      <a:pt x="130" y="154"/>
                      <a:pt x="129" y="152"/>
                      <a:pt x="128" y="150"/>
                    </a:cubicBezTo>
                    <a:cubicBezTo>
                      <a:pt x="128" y="149"/>
                      <a:pt x="127" y="148"/>
                      <a:pt x="125" y="148"/>
                    </a:cubicBezTo>
                    <a:cubicBezTo>
                      <a:pt x="123" y="148"/>
                      <a:pt x="122" y="150"/>
                      <a:pt x="122" y="151"/>
                    </a:cubicBezTo>
                    <a:cubicBezTo>
                      <a:pt x="120" y="155"/>
                      <a:pt x="120" y="159"/>
                      <a:pt x="121" y="163"/>
                    </a:cubicBezTo>
                    <a:cubicBezTo>
                      <a:pt x="124" y="171"/>
                      <a:pt x="123" y="178"/>
                      <a:pt x="122" y="186"/>
                    </a:cubicBezTo>
                    <a:cubicBezTo>
                      <a:pt x="122" y="189"/>
                      <a:pt x="122" y="191"/>
                      <a:pt x="122" y="194"/>
                    </a:cubicBezTo>
                    <a:cubicBezTo>
                      <a:pt x="123" y="201"/>
                      <a:pt x="129" y="205"/>
                      <a:pt x="137" y="202"/>
                    </a:cubicBezTo>
                    <a:cubicBezTo>
                      <a:pt x="140" y="201"/>
                      <a:pt x="142" y="199"/>
                      <a:pt x="145" y="197"/>
                    </a:cubicBezTo>
                    <a:cubicBezTo>
                      <a:pt x="151" y="192"/>
                      <a:pt x="158" y="189"/>
                      <a:pt x="166" y="186"/>
                    </a:cubicBezTo>
                    <a:cubicBezTo>
                      <a:pt x="168" y="185"/>
                      <a:pt x="171" y="184"/>
                      <a:pt x="173" y="182"/>
                    </a:cubicBezTo>
                    <a:cubicBezTo>
                      <a:pt x="174" y="182"/>
                      <a:pt x="175" y="181"/>
                      <a:pt x="175" y="181"/>
                    </a:cubicBezTo>
                    <a:cubicBezTo>
                      <a:pt x="176" y="179"/>
                      <a:pt x="177" y="178"/>
                      <a:pt x="175" y="177"/>
                    </a:cubicBezTo>
                    <a:cubicBezTo>
                      <a:pt x="174" y="175"/>
                      <a:pt x="173" y="174"/>
                      <a:pt x="171" y="174"/>
                    </a:cubicBezTo>
                    <a:cubicBezTo>
                      <a:pt x="170" y="173"/>
                      <a:pt x="169" y="173"/>
                      <a:pt x="168" y="172"/>
                    </a:cubicBezTo>
                    <a:cubicBezTo>
                      <a:pt x="164" y="171"/>
                      <a:pt x="161" y="167"/>
                      <a:pt x="160" y="163"/>
                    </a:cubicBezTo>
                    <a:cubicBezTo>
                      <a:pt x="160" y="160"/>
                      <a:pt x="160" y="158"/>
                      <a:pt x="160" y="155"/>
                    </a:cubicBezTo>
                    <a:cubicBezTo>
                      <a:pt x="160" y="154"/>
                      <a:pt x="161" y="153"/>
                      <a:pt x="161" y="152"/>
                    </a:cubicBezTo>
                    <a:close/>
                    <a:moveTo>
                      <a:pt x="71" y="68"/>
                    </a:moveTo>
                    <a:cubicBezTo>
                      <a:pt x="71" y="69"/>
                      <a:pt x="71" y="69"/>
                      <a:pt x="71" y="69"/>
                    </a:cubicBezTo>
                    <a:cubicBezTo>
                      <a:pt x="73" y="71"/>
                      <a:pt x="75" y="73"/>
                      <a:pt x="78" y="73"/>
                    </a:cubicBezTo>
                    <a:cubicBezTo>
                      <a:pt x="82" y="74"/>
                      <a:pt x="85" y="73"/>
                      <a:pt x="89" y="71"/>
                    </a:cubicBezTo>
                    <a:cubicBezTo>
                      <a:pt x="92" y="70"/>
                      <a:pt x="95" y="68"/>
                      <a:pt x="98" y="66"/>
                    </a:cubicBezTo>
                    <a:cubicBezTo>
                      <a:pt x="99" y="66"/>
                      <a:pt x="100" y="66"/>
                      <a:pt x="101" y="65"/>
                    </a:cubicBezTo>
                    <a:cubicBezTo>
                      <a:pt x="102" y="65"/>
                      <a:pt x="102" y="66"/>
                      <a:pt x="102" y="66"/>
                    </a:cubicBezTo>
                    <a:cubicBezTo>
                      <a:pt x="103" y="67"/>
                      <a:pt x="102" y="67"/>
                      <a:pt x="102" y="68"/>
                    </a:cubicBezTo>
                    <a:cubicBezTo>
                      <a:pt x="101" y="68"/>
                      <a:pt x="100" y="69"/>
                      <a:pt x="99" y="69"/>
                    </a:cubicBezTo>
                    <a:cubicBezTo>
                      <a:pt x="95" y="71"/>
                      <a:pt x="91" y="74"/>
                      <a:pt x="87" y="77"/>
                    </a:cubicBezTo>
                    <a:cubicBezTo>
                      <a:pt x="85" y="78"/>
                      <a:pt x="83" y="80"/>
                      <a:pt x="81" y="80"/>
                    </a:cubicBezTo>
                    <a:cubicBezTo>
                      <a:pt x="78" y="82"/>
                      <a:pt x="76" y="82"/>
                      <a:pt x="74" y="79"/>
                    </a:cubicBezTo>
                    <a:cubicBezTo>
                      <a:pt x="71" y="77"/>
                      <a:pt x="70" y="74"/>
                      <a:pt x="68" y="71"/>
                    </a:cubicBezTo>
                    <a:cubicBezTo>
                      <a:pt x="67" y="71"/>
                      <a:pt x="66" y="70"/>
                      <a:pt x="66" y="69"/>
                    </a:cubicBezTo>
                    <a:cubicBezTo>
                      <a:pt x="65" y="70"/>
                      <a:pt x="65" y="70"/>
                      <a:pt x="65" y="71"/>
                    </a:cubicBezTo>
                    <a:cubicBezTo>
                      <a:pt x="65" y="73"/>
                      <a:pt x="65" y="75"/>
                      <a:pt x="64" y="77"/>
                    </a:cubicBezTo>
                    <a:cubicBezTo>
                      <a:pt x="63" y="79"/>
                      <a:pt x="62" y="81"/>
                      <a:pt x="61" y="83"/>
                    </a:cubicBezTo>
                    <a:cubicBezTo>
                      <a:pt x="59" y="86"/>
                      <a:pt x="58" y="89"/>
                      <a:pt x="58" y="92"/>
                    </a:cubicBezTo>
                    <a:cubicBezTo>
                      <a:pt x="58" y="94"/>
                      <a:pt x="58" y="96"/>
                      <a:pt x="59"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6"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8" y="121"/>
                      <a:pt x="37" y="122"/>
                      <a:pt x="37" y="123"/>
                    </a:cubicBezTo>
                    <a:cubicBezTo>
                      <a:pt x="36" y="127"/>
                      <a:pt x="36" y="131"/>
                      <a:pt x="37" y="135"/>
                    </a:cubicBezTo>
                    <a:cubicBezTo>
                      <a:pt x="38" y="138"/>
                      <a:pt x="38" y="140"/>
                      <a:pt x="40" y="142"/>
                    </a:cubicBezTo>
                    <a:cubicBezTo>
                      <a:pt x="44" y="146"/>
                      <a:pt x="48" y="149"/>
                      <a:pt x="52" y="153"/>
                    </a:cubicBezTo>
                    <a:cubicBezTo>
                      <a:pt x="57" y="157"/>
                      <a:pt x="62" y="161"/>
                      <a:pt x="67" y="165"/>
                    </a:cubicBezTo>
                    <a:cubicBezTo>
                      <a:pt x="69" y="167"/>
                      <a:pt x="70" y="169"/>
                      <a:pt x="69" y="172"/>
                    </a:cubicBezTo>
                    <a:cubicBezTo>
                      <a:pt x="69" y="175"/>
                      <a:pt x="67" y="176"/>
                      <a:pt x="65" y="177"/>
                    </a:cubicBezTo>
                    <a:cubicBezTo>
                      <a:pt x="64" y="177"/>
                      <a:pt x="63" y="177"/>
                      <a:pt x="63" y="178"/>
                    </a:cubicBezTo>
                    <a:cubicBezTo>
                      <a:pt x="64" y="180"/>
                      <a:pt x="65" y="181"/>
                      <a:pt x="66" y="183"/>
                    </a:cubicBezTo>
                    <a:cubicBezTo>
                      <a:pt x="68" y="186"/>
                      <a:pt x="69" y="188"/>
                      <a:pt x="70" y="192"/>
                    </a:cubicBezTo>
                    <a:cubicBezTo>
                      <a:pt x="70" y="194"/>
                      <a:pt x="70" y="195"/>
                      <a:pt x="70" y="197"/>
                    </a:cubicBezTo>
                    <a:cubicBezTo>
                      <a:pt x="71" y="197"/>
                      <a:pt x="71" y="197"/>
                      <a:pt x="71" y="197"/>
                    </a:cubicBezTo>
                    <a:cubicBezTo>
                      <a:pt x="73" y="195"/>
                      <a:pt x="73" y="193"/>
                      <a:pt x="73" y="191"/>
                    </a:cubicBezTo>
                    <a:cubicBezTo>
                      <a:pt x="72" y="188"/>
                      <a:pt x="71" y="186"/>
                      <a:pt x="69" y="184"/>
                    </a:cubicBezTo>
                    <a:cubicBezTo>
                      <a:pt x="69" y="183"/>
                      <a:pt x="68" y="183"/>
                      <a:pt x="69" y="182"/>
                    </a:cubicBezTo>
                    <a:cubicBezTo>
                      <a:pt x="69" y="181"/>
                      <a:pt x="71" y="181"/>
                      <a:pt x="72" y="182"/>
                    </a:cubicBezTo>
                    <a:cubicBezTo>
                      <a:pt x="74" y="184"/>
                      <a:pt x="77" y="185"/>
                      <a:pt x="79" y="186"/>
                    </a:cubicBezTo>
                    <a:cubicBezTo>
                      <a:pt x="85" y="187"/>
                      <a:pt x="91" y="186"/>
                      <a:pt x="97" y="185"/>
                    </a:cubicBezTo>
                    <a:cubicBezTo>
                      <a:pt x="102" y="184"/>
                      <a:pt x="106" y="182"/>
                      <a:pt x="109" y="179"/>
                    </a:cubicBezTo>
                    <a:cubicBezTo>
                      <a:pt x="111" y="177"/>
                      <a:pt x="112" y="175"/>
                      <a:pt x="114" y="173"/>
                    </a:cubicBezTo>
                    <a:cubicBezTo>
                      <a:pt x="114" y="173"/>
                      <a:pt x="115" y="172"/>
                      <a:pt x="116" y="172"/>
                    </a:cubicBezTo>
                    <a:cubicBezTo>
                      <a:pt x="116" y="173"/>
                      <a:pt x="117" y="174"/>
                      <a:pt x="117" y="174"/>
                    </a:cubicBezTo>
                    <a:cubicBezTo>
                      <a:pt x="118" y="178"/>
                      <a:pt x="117" y="182"/>
                      <a:pt x="116" y="186"/>
                    </a:cubicBezTo>
                    <a:cubicBezTo>
                      <a:pt x="115" y="188"/>
                      <a:pt x="114" y="190"/>
                      <a:pt x="114" y="193"/>
                    </a:cubicBezTo>
                    <a:cubicBezTo>
                      <a:pt x="114" y="194"/>
                      <a:pt x="114" y="195"/>
                      <a:pt x="117" y="195"/>
                    </a:cubicBezTo>
                    <a:cubicBezTo>
                      <a:pt x="117" y="191"/>
                      <a:pt x="118" y="186"/>
                      <a:pt x="119" y="182"/>
                    </a:cubicBezTo>
                    <a:cubicBezTo>
                      <a:pt x="120" y="178"/>
                      <a:pt x="120" y="175"/>
                      <a:pt x="120" y="171"/>
                    </a:cubicBezTo>
                    <a:cubicBezTo>
                      <a:pt x="119" y="167"/>
                      <a:pt x="119" y="163"/>
                      <a:pt x="118" y="159"/>
                    </a:cubicBezTo>
                    <a:cubicBezTo>
                      <a:pt x="118" y="156"/>
                      <a:pt x="118" y="153"/>
                      <a:pt x="120" y="150"/>
                    </a:cubicBezTo>
                    <a:cubicBezTo>
                      <a:pt x="121" y="147"/>
                      <a:pt x="123" y="146"/>
                      <a:pt x="126" y="146"/>
                    </a:cubicBezTo>
                    <a:cubicBezTo>
                      <a:pt x="126" y="146"/>
                      <a:pt x="127" y="146"/>
                      <a:pt x="127" y="146"/>
                    </a:cubicBezTo>
                    <a:cubicBezTo>
                      <a:pt x="127" y="142"/>
                      <a:pt x="129" y="140"/>
                      <a:pt x="133" y="139"/>
                    </a:cubicBezTo>
                    <a:cubicBezTo>
                      <a:pt x="137" y="138"/>
                      <a:pt x="142" y="138"/>
                      <a:pt x="146" y="141"/>
                    </a:cubicBezTo>
                    <a:cubicBezTo>
                      <a:pt x="145" y="138"/>
                      <a:pt x="142" y="137"/>
                      <a:pt x="140" y="136"/>
                    </a:cubicBezTo>
                    <a:cubicBezTo>
                      <a:pt x="146" y="119"/>
                      <a:pt x="136" y="97"/>
                      <a:pt x="127" y="92"/>
                    </a:cubicBezTo>
                    <a:cubicBezTo>
                      <a:pt x="131" y="97"/>
                      <a:pt x="134" y="103"/>
                      <a:pt x="137" y="110"/>
                    </a:cubicBezTo>
                    <a:cubicBezTo>
                      <a:pt x="139" y="117"/>
                      <a:pt x="140" y="123"/>
                      <a:pt x="139" y="131"/>
                    </a:cubicBezTo>
                    <a:cubicBezTo>
                      <a:pt x="138" y="135"/>
                      <a:pt x="136" y="138"/>
                      <a:pt x="132" y="138"/>
                    </a:cubicBezTo>
                    <a:cubicBezTo>
                      <a:pt x="130" y="138"/>
                      <a:pt x="129" y="137"/>
                      <a:pt x="128" y="134"/>
                    </a:cubicBezTo>
                    <a:cubicBezTo>
                      <a:pt x="128" y="133"/>
                      <a:pt x="128" y="131"/>
                      <a:pt x="128" y="129"/>
                    </a:cubicBezTo>
                    <a:cubicBezTo>
                      <a:pt x="128" y="121"/>
                      <a:pt x="127" y="114"/>
                      <a:pt x="124" y="107"/>
                    </a:cubicBezTo>
                    <a:cubicBezTo>
                      <a:pt x="123" y="103"/>
                      <a:pt x="121" y="98"/>
                      <a:pt x="118" y="95"/>
                    </a:cubicBezTo>
                    <a:cubicBezTo>
                      <a:pt x="117" y="95"/>
                      <a:pt x="117" y="94"/>
                      <a:pt x="117" y="94"/>
                    </a:cubicBezTo>
                    <a:cubicBezTo>
                      <a:pt x="115" y="86"/>
                      <a:pt x="113" y="79"/>
                      <a:pt x="108" y="72"/>
                    </a:cubicBezTo>
                    <a:cubicBezTo>
                      <a:pt x="106" y="70"/>
                      <a:pt x="105" y="67"/>
                      <a:pt x="106" y="64"/>
                    </a:cubicBezTo>
                    <a:cubicBezTo>
                      <a:pt x="106" y="62"/>
                      <a:pt x="107" y="60"/>
                      <a:pt x="107" y="58"/>
                    </a:cubicBezTo>
                    <a:cubicBezTo>
                      <a:pt x="108" y="56"/>
                      <a:pt x="107" y="54"/>
                      <a:pt x="104" y="53"/>
                    </a:cubicBezTo>
                    <a:cubicBezTo>
                      <a:pt x="101" y="52"/>
                      <a:pt x="98" y="51"/>
                      <a:pt x="94" y="49"/>
                    </a:cubicBezTo>
                    <a:cubicBezTo>
                      <a:pt x="92" y="48"/>
                      <a:pt x="91" y="47"/>
                      <a:pt x="91" y="44"/>
                    </a:cubicBezTo>
                    <a:cubicBezTo>
                      <a:pt x="91" y="43"/>
                      <a:pt x="92" y="41"/>
                      <a:pt x="92" y="40"/>
                    </a:cubicBezTo>
                    <a:cubicBezTo>
                      <a:pt x="93" y="37"/>
                      <a:pt x="95" y="36"/>
                      <a:pt x="98" y="37"/>
                    </a:cubicBezTo>
                    <a:cubicBezTo>
                      <a:pt x="100" y="37"/>
                      <a:pt x="101" y="38"/>
                      <a:pt x="102" y="40"/>
                    </a:cubicBezTo>
                    <a:cubicBezTo>
                      <a:pt x="103" y="42"/>
                      <a:pt x="104" y="45"/>
                      <a:pt x="102" y="48"/>
                    </a:cubicBezTo>
                    <a:cubicBezTo>
                      <a:pt x="102" y="48"/>
                      <a:pt x="102" y="49"/>
                      <a:pt x="103" y="50"/>
                    </a:cubicBezTo>
                    <a:cubicBezTo>
                      <a:pt x="104" y="51"/>
                      <a:pt x="107" y="50"/>
                      <a:pt x="107" y="48"/>
                    </a:cubicBezTo>
                    <a:cubicBezTo>
                      <a:pt x="108" y="44"/>
                      <a:pt x="108" y="39"/>
                      <a:pt x="106" y="35"/>
                    </a:cubicBezTo>
                    <a:cubicBezTo>
                      <a:pt x="104" y="31"/>
                      <a:pt x="100" y="29"/>
                      <a:pt x="96" y="30"/>
                    </a:cubicBezTo>
                    <a:cubicBezTo>
                      <a:pt x="92" y="30"/>
                      <a:pt x="88" y="33"/>
                      <a:pt x="87" y="38"/>
                    </a:cubicBezTo>
                    <a:cubicBezTo>
                      <a:pt x="87" y="39"/>
                      <a:pt x="87" y="40"/>
                      <a:pt x="87" y="42"/>
                    </a:cubicBezTo>
                    <a:cubicBezTo>
                      <a:pt x="87" y="43"/>
                      <a:pt x="87" y="45"/>
                      <a:pt x="87" y="47"/>
                    </a:cubicBezTo>
                    <a:cubicBezTo>
                      <a:pt x="85" y="45"/>
                      <a:pt x="83" y="46"/>
                      <a:pt x="81" y="46"/>
                    </a:cubicBezTo>
                    <a:cubicBezTo>
                      <a:pt x="81" y="46"/>
                      <a:pt x="80" y="46"/>
                      <a:pt x="80" y="46"/>
                    </a:cubicBezTo>
                    <a:cubicBezTo>
                      <a:pt x="79" y="46"/>
                      <a:pt x="78" y="45"/>
                      <a:pt x="78" y="44"/>
                    </a:cubicBezTo>
                    <a:cubicBezTo>
                      <a:pt x="78" y="41"/>
                      <a:pt x="77" y="38"/>
                      <a:pt x="77" y="36"/>
                    </a:cubicBezTo>
                    <a:cubicBezTo>
                      <a:pt x="77" y="35"/>
                      <a:pt x="76" y="35"/>
                      <a:pt x="76" y="34"/>
                    </a:cubicBezTo>
                    <a:cubicBezTo>
                      <a:pt x="75" y="32"/>
                      <a:pt x="73" y="31"/>
                      <a:pt x="71" y="31"/>
                    </a:cubicBezTo>
                    <a:cubicBezTo>
                      <a:pt x="68" y="31"/>
                      <a:pt x="67" y="32"/>
                      <a:pt x="66" y="34"/>
                    </a:cubicBezTo>
                    <a:cubicBezTo>
                      <a:pt x="63" y="39"/>
                      <a:pt x="64" y="45"/>
                      <a:pt x="66" y="50"/>
                    </a:cubicBezTo>
                    <a:cubicBezTo>
                      <a:pt x="67" y="50"/>
                      <a:pt x="68" y="51"/>
                      <a:pt x="68" y="51"/>
                    </a:cubicBezTo>
                    <a:cubicBezTo>
                      <a:pt x="69" y="51"/>
                      <a:pt x="70" y="50"/>
                      <a:pt x="70" y="49"/>
                    </a:cubicBezTo>
                    <a:cubicBezTo>
                      <a:pt x="69" y="48"/>
                      <a:pt x="68" y="48"/>
                      <a:pt x="67" y="47"/>
                    </a:cubicBezTo>
                    <a:cubicBezTo>
                      <a:pt x="66" y="45"/>
                      <a:pt x="66" y="42"/>
                      <a:pt x="67" y="40"/>
                    </a:cubicBezTo>
                    <a:cubicBezTo>
                      <a:pt x="68" y="37"/>
                      <a:pt x="71" y="36"/>
                      <a:pt x="73" y="38"/>
                    </a:cubicBezTo>
                    <a:cubicBezTo>
                      <a:pt x="75" y="39"/>
                      <a:pt x="75" y="42"/>
                      <a:pt x="75" y="44"/>
                    </a:cubicBezTo>
                    <a:cubicBezTo>
                      <a:pt x="76" y="46"/>
                      <a:pt x="75" y="47"/>
                      <a:pt x="73" y="48"/>
                    </a:cubicBezTo>
                    <a:cubicBezTo>
                      <a:pt x="73" y="48"/>
                      <a:pt x="73" y="49"/>
                      <a:pt x="73" y="49"/>
                    </a:cubicBezTo>
                    <a:cubicBezTo>
                      <a:pt x="71" y="51"/>
                      <a:pt x="69" y="52"/>
                      <a:pt x="67" y="54"/>
                    </a:cubicBezTo>
                    <a:cubicBezTo>
                      <a:pt x="66" y="54"/>
                      <a:pt x="65" y="55"/>
                      <a:pt x="64" y="56"/>
                    </a:cubicBezTo>
                    <a:cubicBezTo>
                      <a:pt x="64" y="58"/>
                      <a:pt x="64" y="59"/>
                      <a:pt x="65" y="60"/>
                    </a:cubicBezTo>
                    <a:cubicBezTo>
                      <a:pt x="66" y="60"/>
                      <a:pt x="68" y="61"/>
                      <a:pt x="68" y="62"/>
                    </a:cubicBezTo>
                    <a:cubicBezTo>
                      <a:pt x="71" y="66"/>
                      <a:pt x="74" y="66"/>
                      <a:pt x="78" y="66"/>
                    </a:cubicBezTo>
                    <a:cubicBezTo>
                      <a:pt x="83" y="66"/>
                      <a:pt x="87" y="65"/>
                      <a:pt x="91" y="63"/>
                    </a:cubicBezTo>
                    <a:cubicBezTo>
                      <a:pt x="95" y="62"/>
                      <a:pt x="99" y="62"/>
                      <a:pt x="101" y="58"/>
                    </a:cubicBezTo>
                    <a:cubicBezTo>
                      <a:pt x="101" y="58"/>
                      <a:pt x="103" y="58"/>
                      <a:pt x="103" y="58"/>
                    </a:cubicBezTo>
                    <a:cubicBezTo>
                      <a:pt x="104" y="58"/>
                      <a:pt x="104" y="59"/>
                      <a:pt x="103" y="60"/>
                    </a:cubicBezTo>
                    <a:cubicBezTo>
                      <a:pt x="103" y="60"/>
                      <a:pt x="103" y="61"/>
                      <a:pt x="102" y="61"/>
                    </a:cubicBezTo>
                    <a:cubicBezTo>
                      <a:pt x="97" y="63"/>
                      <a:pt x="92" y="65"/>
                      <a:pt x="87" y="67"/>
                    </a:cubicBezTo>
                    <a:cubicBezTo>
                      <a:pt x="83" y="69"/>
                      <a:pt x="79" y="69"/>
                      <a:pt x="75" y="69"/>
                    </a:cubicBezTo>
                    <a:cubicBezTo>
                      <a:pt x="74" y="69"/>
                      <a:pt x="72" y="69"/>
                      <a:pt x="71" y="68"/>
                    </a:cubicBezTo>
                    <a:close/>
                    <a:moveTo>
                      <a:pt x="73" y="45"/>
                    </a:moveTo>
                    <a:cubicBezTo>
                      <a:pt x="73" y="43"/>
                      <a:pt x="73" y="41"/>
                      <a:pt x="72" y="40"/>
                    </a:cubicBezTo>
                    <a:cubicBezTo>
                      <a:pt x="72" y="40"/>
                      <a:pt x="71" y="40"/>
                      <a:pt x="71" y="40"/>
                    </a:cubicBezTo>
                    <a:cubicBezTo>
                      <a:pt x="71" y="40"/>
                      <a:pt x="71" y="41"/>
                      <a:pt x="71" y="41"/>
                    </a:cubicBezTo>
                    <a:cubicBezTo>
                      <a:pt x="72" y="41"/>
                      <a:pt x="72" y="42"/>
                      <a:pt x="72" y="44"/>
                    </a:cubicBezTo>
                    <a:cubicBezTo>
                      <a:pt x="72" y="44"/>
                      <a:pt x="72" y="45"/>
                      <a:pt x="73" y="45"/>
                    </a:cubicBezTo>
                    <a:close/>
                    <a:moveTo>
                      <a:pt x="97" y="39"/>
                    </a:moveTo>
                    <a:cubicBezTo>
                      <a:pt x="99" y="40"/>
                      <a:pt x="100" y="42"/>
                      <a:pt x="100" y="44"/>
                    </a:cubicBezTo>
                    <a:cubicBezTo>
                      <a:pt x="101" y="43"/>
                      <a:pt x="101" y="43"/>
                      <a:pt x="101" y="42"/>
                    </a:cubicBezTo>
                    <a:cubicBezTo>
                      <a:pt x="101" y="41"/>
                      <a:pt x="101" y="40"/>
                      <a:pt x="100" y="39"/>
                    </a:cubicBezTo>
                    <a:cubicBezTo>
                      <a:pt x="99"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301"/>
              <p:cNvSpPr>
                <a:spLocks/>
              </p:cNvSpPr>
              <p:nvPr userDrawn="1"/>
            </p:nvSpPr>
            <p:spPr bwMode="auto">
              <a:xfrm>
                <a:off x="6802" y="789"/>
                <a:ext cx="3" cy="2"/>
              </a:xfrm>
              <a:custGeom>
                <a:avLst/>
                <a:gdLst>
                  <a:gd name="T0" fmla="*/ 3 w 3"/>
                  <a:gd name="T1" fmla="*/ 0 h 2"/>
                  <a:gd name="T2" fmla="*/ 2 w 3"/>
                  <a:gd name="T3" fmla="*/ 1 h 2"/>
                  <a:gd name="T4" fmla="*/ 0 w 3"/>
                  <a:gd name="T5" fmla="*/ 2 h 2"/>
                  <a:gd name="T6" fmla="*/ 1 w 3"/>
                  <a:gd name="T7" fmla="*/ 1 h 2"/>
                  <a:gd name="T8" fmla="*/ 2 w 3"/>
                  <a:gd name="T9" fmla="*/ 0 h 2"/>
                  <a:gd name="T10" fmla="*/ 3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3" y="0"/>
                    </a:moveTo>
                    <a:cubicBezTo>
                      <a:pt x="2" y="0"/>
                      <a:pt x="2" y="1"/>
                      <a:pt x="2" y="1"/>
                    </a:cubicBezTo>
                    <a:cubicBezTo>
                      <a:pt x="1" y="2"/>
                      <a:pt x="1" y="2"/>
                      <a:pt x="0" y="2"/>
                    </a:cubicBezTo>
                    <a:cubicBezTo>
                      <a:pt x="0" y="2"/>
                      <a:pt x="0" y="1"/>
                      <a:pt x="1" y="1"/>
                    </a:cubicBezTo>
                    <a:cubicBezTo>
                      <a:pt x="1" y="0"/>
                      <a:pt x="2" y="0"/>
                      <a:pt x="2" y="0"/>
                    </a:cubicBezTo>
                    <a:cubicBezTo>
                      <a:pt x="3" y="0"/>
                      <a:pt x="3"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Freeform 302"/>
              <p:cNvSpPr>
                <a:spLocks/>
              </p:cNvSpPr>
              <p:nvPr userDrawn="1"/>
            </p:nvSpPr>
            <p:spPr bwMode="auto">
              <a:xfrm>
                <a:off x="6815" y="789"/>
                <a:ext cx="4" cy="1"/>
              </a:xfrm>
              <a:custGeom>
                <a:avLst/>
                <a:gdLst>
                  <a:gd name="T0" fmla="*/ 0 w 3"/>
                  <a:gd name="T1" fmla="*/ 0 h 1"/>
                  <a:gd name="T2" fmla="*/ 2 w 3"/>
                  <a:gd name="T3" fmla="*/ 0 h 1"/>
                  <a:gd name="T4" fmla="*/ 3 w 3"/>
                  <a:gd name="T5" fmla="*/ 1 h 1"/>
                  <a:gd name="T6" fmla="*/ 2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1" y="0"/>
                      <a:pt x="2" y="0"/>
                      <a:pt x="2" y="0"/>
                    </a:cubicBezTo>
                    <a:cubicBezTo>
                      <a:pt x="3" y="0"/>
                      <a:pt x="3" y="1"/>
                      <a:pt x="3" y="1"/>
                    </a:cubicBezTo>
                    <a:cubicBezTo>
                      <a:pt x="3" y="1"/>
                      <a:pt x="2" y="1"/>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303"/>
              <p:cNvSpPr>
                <a:spLocks noEditPoints="1"/>
              </p:cNvSpPr>
              <p:nvPr userDrawn="1"/>
            </p:nvSpPr>
            <p:spPr bwMode="auto">
              <a:xfrm>
                <a:off x="203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7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7"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Freeform 304"/>
              <p:cNvSpPr>
                <a:spLocks noEditPoints="1"/>
              </p:cNvSpPr>
              <p:nvPr userDrawn="1"/>
            </p:nvSpPr>
            <p:spPr bwMode="auto">
              <a:xfrm>
                <a:off x="222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305"/>
              <p:cNvSpPr>
                <a:spLocks/>
              </p:cNvSpPr>
              <p:nvPr userDrawn="1"/>
            </p:nvSpPr>
            <p:spPr bwMode="auto">
              <a:xfrm>
                <a:off x="2425" y="1468"/>
                <a:ext cx="82"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306"/>
              <p:cNvSpPr>
                <a:spLocks noEditPoints="1"/>
              </p:cNvSpPr>
              <p:nvPr userDrawn="1"/>
            </p:nvSpPr>
            <p:spPr bwMode="auto">
              <a:xfrm>
                <a:off x="2573"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307"/>
              <p:cNvSpPr>
                <a:spLocks noEditPoints="1"/>
              </p:cNvSpPr>
              <p:nvPr userDrawn="1"/>
            </p:nvSpPr>
            <p:spPr bwMode="auto">
              <a:xfrm>
                <a:off x="2768"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Freeform 308"/>
              <p:cNvSpPr>
                <a:spLocks/>
              </p:cNvSpPr>
              <p:nvPr userDrawn="1"/>
            </p:nvSpPr>
            <p:spPr bwMode="auto">
              <a:xfrm>
                <a:off x="2965"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309"/>
              <p:cNvSpPr>
                <a:spLocks noEditPoints="1"/>
              </p:cNvSpPr>
              <p:nvPr userDrawn="1"/>
            </p:nvSpPr>
            <p:spPr bwMode="auto">
              <a:xfrm>
                <a:off x="3114"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5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1" y="200"/>
                      <a:pt x="72" y="202"/>
                      <a:pt x="62" y="202"/>
                    </a:cubicBezTo>
                    <a:cubicBezTo>
                      <a:pt x="52" y="202"/>
                      <a:pt x="43" y="200"/>
                      <a:pt x="35" y="196"/>
                    </a:cubicBezTo>
                    <a:cubicBezTo>
                      <a:pt x="28" y="192"/>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310"/>
              <p:cNvSpPr>
                <a:spLocks/>
              </p:cNvSpPr>
              <p:nvPr userDrawn="1"/>
            </p:nvSpPr>
            <p:spPr bwMode="auto">
              <a:xfrm>
                <a:off x="3311" y="1468"/>
                <a:ext cx="83" cy="244"/>
              </a:xfrm>
              <a:custGeom>
                <a:avLst/>
                <a:gdLst>
                  <a:gd name="T0" fmla="*/ 68 w 68"/>
                  <a:gd name="T1" fmla="*/ 200 h 200"/>
                  <a:gd name="T2" fmla="*/ 45 w 68"/>
                  <a:gd name="T3" fmla="*/ 200 h 200"/>
                  <a:gd name="T4" fmla="*/ 45 w 68"/>
                  <a:gd name="T5" fmla="*/ 31 h 200"/>
                  <a:gd name="T6" fmla="*/ 38 w 68"/>
                  <a:gd name="T7" fmla="*/ 36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6"/>
                    </a:cubicBezTo>
                    <a:cubicBezTo>
                      <a:pt x="34" y="39"/>
                      <a:pt x="31" y="41"/>
                      <a:pt x="27" y="43"/>
                    </a:cubicBezTo>
                    <a:cubicBezTo>
                      <a:pt x="22" y="45"/>
                      <a:pt x="18" y="47"/>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311"/>
              <p:cNvSpPr>
                <a:spLocks/>
              </p:cNvSpPr>
              <p:nvPr userDrawn="1"/>
            </p:nvSpPr>
            <p:spPr bwMode="auto">
              <a:xfrm>
                <a:off x="3460"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6"/>
                    </a:cubicBezTo>
                    <a:cubicBezTo>
                      <a:pt x="35" y="39"/>
                      <a:pt x="31" y="41"/>
                      <a:pt x="27" y="43"/>
                    </a:cubicBezTo>
                    <a:cubicBezTo>
                      <a:pt x="23" y="45"/>
                      <a:pt x="19" y="47"/>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Freeform 312"/>
              <p:cNvSpPr>
                <a:spLocks noEditPoints="1"/>
              </p:cNvSpPr>
              <p:nvPr userDrawn="1"/>
            </p:nvSpPr>
            <p:spPr bwMode="auto">
              <a:xfrm>
                <a:off x="3609"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1" y="134"/>
                      <a:pt x="0" y="120"/>
                      <a:pt x="0" y="105"/>
                    </a:cubicBezTo>
                    <a:cubicBezTo>
                      <a:pt x="0" y="88"/>
                      <a:pt x="2" y="73"/>
                      <a:pt x="4" y="59"/>
                    </a:cubicBezTo>
                    <a:cubicBezTo>
                      <a:pt x="7" y="46"/>
                      <a:pt x="11" y="35"/>
                      <a:pt x="17" y="26"/>
                    </a:cubicBezTo>
                    <a:cubicBezTo>
                      <a:pt x="23" y="18"/>
                      <a:pt x="30" y="11"/>
                      <a:pt x="38" y="6"/>
                    </a:cubicBezTo>
                    <a:cubicBezTo>
                      <a:pt x="46" y="2"/>
                      <a:pt x="55"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313"/>
              <p:cNvSpPr>
                <a:spLocks noEditPoints="1"/>
              </p:cNvSpPr>
              <p:nvPr userDrawn="1"/>
            </p:nvSpPr>
            <p:spPr bwMode="auto">
              <a:xfrm>
                <a:off x="3794" y="1473"/>
                <a:ext cx="189" cy="219"/>
              </a:xfrm>
              <a:custGeom>
                <a:avLst/>
                <a:gdLst>
                  <a:gd name="T0" fmla="*/ 189 w 189"/>
                  <a:gd name="T1" fmla="*/ 67 h 219"/>
                  <a:gd name="T2" fmla="*/ 184 w 189"/>
                  <a:gd name="T3" fmla="*/ 84 h 219"/>
                  <a:gd name="T4" fmla="*/ 141 w 189"/>
                  <a:gd name="T5" fmla="*/ 84 h 219"/>
                  <a:gd name="T6" fmla="*/ 130 w 189"/>
                  <a:gd name="T7" fmla="*/ 134 h 219"/>
                  <a:gd name="T8" fmla="*/ 177 w 189"/>
                  <a:gd name="T9" fmla="*/ 134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2 w 189"/>
                  <a:gd name="T31" fmla="*/ 134 h 219"/>
                  <a:gd name="T32" fmla="*/ 47 w 189"/>
                  <a:gd name="T33" fmla="*/ 134 h 219"/>
                  <a:gd name="T34" fmla="*/ 57 w 189"/>
                  <a:gd name="T35" fmla="*/ 84 h 219"/>
                  <a:gd name="T36" fmla="*/ 11 w 189"/>
                  <a:gd name="T37" fmla="*/ 84 h 219"/>
                  <a:gd name="T38" fmla="*/ 15 w 189"/>
                  <a:gd name="T39" fmla="*/ 67 h 219"/>
                  <a:gd name="T40" fmla="*/ 61 w 189"/>
                  <a:gd name="T41" fmla="*/ 67 h 219"/>
                  <a:gd name="T42" fmla="*/ 74 w 189"/>
                  <a:gd name="T43" fmla="*/ 0 h 219"/>
                  <a:gd name="T44" fmla="*/ 96 w 189"/>
                  <a:gd name="T45" fmla="*/ 0 h 219"/>
                  <a:gd name="T46" fmla="*/ 82 w 189"/>
                  <a:gd name="T47" fmla="*/ 67 h 219"/>
                  <a:gd name="T48" fmla="*/ 123 w 189"/>
                  <a:gd name="T49" fmla="*/ 67 h 219"/>
                  <a:gd name="T50" fmla="*/ 138 w 189"/>
                  <a:gd name="T51" fmla="*/ 0 h 219"/>
                  <a:gd name="T52" fmla="*/ 158 w 189"/>
                  <a:gd name="T53" fmla="*/ 0 h 219"/>
                  <a:gd name="T54" fmla="*/ 145 w 189"/>
                  <a:gd name="T55" fmla="*/ 67 h 219"/>
                  <a:gd name="T56" fmla="*/ 189 w 189"/>
                  <a:gd name="T57" fmla="*/ 67 h 219"/>
                  <a:gd name="T58" fmla="*/ 121 w 189"/>
                  <a:gd name="T59" fmla="*/ 84 h 219"/>
                  <a:gd name="T60" fmla="*/ 78 w 189"/>
                  <a:gd name="T61" fmla="*/ 84 h 219"/>
                  <a:gd name="T62" fmla="*/ 67 w 189"/>
                  <a:gd name="T63" fmla="*/ 134 h 219"/>
                  <a:gd name="T64" fmla="*/ 110 w 189"/>
                  <a:gd name="T65" fmla="*/ 134 h 219"/>
                  <a:gd name="T66" fmla="*/ 121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4" y="84"/>
                    </a:lnTo>
                    <a:lnTo>
                      <a:pt x="141" y="84"/>
                    </a:lnTo>
                    <a:lnTo>
                      <a:pt x="130" y="134"/>
                    </a:lnTo>
                    <a:lnTo>
                      <a:pt x="177" y="134"/>
                    </a:lnTo>
                    <a:lnTo>
                      <a:pt x="173" y="153"/>
                    </a:lnTo>
                    <a:lnTo>
                      <a:pt x="127" y="153"/>
                    </a:lnTo>
                    <a:lnTo>
                      <a:pt x="112" y="219"/>
                    </a:lnTo>
                    <a:lnTo>
                      <a:pt x="91" y="219"/>
                    </a:lnTo>
                    <a:lnTo>
                      <a:pt x="106" y="153"/>
                    </a:lnTo>
                    <a:lnTo>
                      <a:pt x="65" y="153"/>
                    </a:lnTo>
                    <a:lnTo>
                      <a:pt x="50" y="219"/>
                    </a:lnTo>
                    <a:lnTo>
                      <a:pt x="29" y="219"/>
                    </a:lnTo>
                    <a:lnTo>
                      <a:pt x="43" y="153"/>
                    </a:lnTo>
                    <a:lnTo>
                      <a:pt x="0" y="153"/>
                    </a:lnTo>
                    <a:lnTo>
                      <a:pt x="2" y="134"/>
                    </a:lnTo>
                    <a:lnTo>
                      <a:pt x="47" y="134"/>
                    </a:lnTo>
                    <a:lnTo>
                      <a:pt x="57" y="84"/>
                    </a:lnTo>
                    <a:lnTo>
                      <a:pt x="11" y="84"/>
                    </a:lnTo>
                    <a:lnTo>
                      <a:pt x="15" y="67"/>
                    </a:lnTo>
                    <a:lnTo>
                      <a:pt x="61" y="67"/>
                    </a:lnTo>
                    <a:lnTo>
                      <a:pt x="74" y="0"/>
                    </a:lnTo>
                    <a:lnTo>
                      <a:pt x="96" y="0"/>
                    </a:lnTo>
                    <a:lnTo>
                      <a:pt x="82" y="67"/>
                    </a:lnTo>
                    <a:lnTo>
                      <a:pt x="123" y="67"/>
                    </a:lnTo>
                    <a:lnTo>
                      <a:pt x="138" y="0"/>
                    </a:lnTo>
                    <a:lnTo>
                      <a:pt x="158" y="0"/>
                    </a:lnTo>
                    <a:lnTo>
                      <a:pt x="145" y="67"/>
                    </a:lnTo>
                    <a:lnTo>
                      <a:pt x="189"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Freeform 314"/>
              <p:cNvSpPr>
                <a:spLocks/>
              </p:cNvSpPr>
              <p:nvPr userDrawn="1"/>
            </p:nvSpPr>
            <p:spPr bwMode="auto">
              <a:xfrm>
                <a:off x="4223" y="1473"/>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7 h 241"/>
                  <a:gd name="T18" fmla="*/ 41 w 63"/>
                  <a:gd name="T19" fmla="*/ 44 h 241"/>
                  <a:gd name="T20" fmla="*/ 41 w 63"/>
                  <a:gd name="T21" fmla="*/ 85 h 241"/>
                  <a:gd name="T22" fmla="*/ 21 w 63"/>
                  <a:gd name="T23" fmla="*/ 120 h 241"/>
                  <a:gd name="T24" fmla="*/ 21 w 63"/>
                  <a:gd name="T25" fmla="*/ 120 h 241"/>
                  <a:gd name="T26" fmla="*/ 41 w 63"/>
                  <a:gd name="T27" fmla="*/ 155 h 241"/>
                  <a:gd name="T28" fmla="*/ 41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2"/>
                      <a:pt x="21" y="83"/>
                    </a:cubicBezTo>
                    <a:cubicBezTo>
                      <a:pt x="21" y="43"/>
                      <a:pt x="21" y="43"/>
                      <a:pt x="21" y="43"/>
                    </a:cubicBezTo>
                    <a:cubicBezTo>
                      <a:pt x="21" y="15"/>
                      <a:pt x="35" y="0"/>
                      <a:pt x="63" y="0"/>
                    </a:cubicBezTo>
                    <a:cubicBezTo>
                      <a:pt x="63" y="17"/>
                      <a:pt x="63" y="17"/>
                      <a:pt x="63" y="17"/>
                    </a:cubicBezTo>
                    <a:cubicBezTo>
                      <a:pt x="49" y="18"/>
                      <a:pt x="41" y="27"/>
                      <a:pt x="41" y="44"/>
                    </a:cubicBezTo>
                    <a:cubicBezTo>
                      <a:pt x="41" y="85"/>
                      <a:pt x="41" y="85"/>
                      <a:pt x="41" y="85"/>
                    </a:cubicBezTo>
                    <a:cubicBezTo>
                      <a:pt x="41" y="104"/>
                      <a:pt x="34" y="115"/>
                      <a:pt x="21" y="120"/>
                    </a:cubicBezTo>
                    <a:cubicBezTo>
                      <a:pt x="21" y="120"/>
                      <a:pt x="21" y="120"/>
                      <a:pt x="21" y="120"/>
                    </a:cubicBezTo>
                    <a:cubicBezTo>
                      <a:pt x="34" y="124"/>
                      <a:pt x="41" y="136"/>
                      <a:pt x="41" y="155"/>
                    </a:cubicBezTo>
                    <a:cubicBezTo>
                      <a:pt x="41" y="195"/>
                      <a:pt x="41" y="195"/>
                      <a:pt x="41" y="195"/>
                    </a:cubicBezTo>
                    <a:cubicBezTo>
                      <a:pt x="41" y="205"/>
                      <a:pt x="43" y="212"/>
                      <a:pt x="46" y="217"/>
                    </a:cubicBezTo>
                    <a:cubicBezTo>
                      <a:pt x="49"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315"/>
              <p:cNvSpPr>
                <a:spLocks/>
              </p:cNvSpPr>
              <p:nvPr userDrawn="1"/>
            </p:nvSpPr>
            <p:spPr bwMode="auto">
              <a:xfrm>
                <a:off x="4330" y="1473"/>
                <a:ext cx="77" cy="294"/>
              </a:xfrm>
              <a:custGeom>
                <a:avLst/>
                <a:gdLst>
                  <a:gd name="T0" fmla="*/ 63 w 63"/>
                  <a:gd name="T1" fmla="*/ 128 h 241"/>
                  <a:gd name="T2" fmla="*/ 42 w 63"/>
                  <a:gd name="T3" fmla="*/ 157 h 241"/>
                  <a:gd name="T4" fmla="*/ 42 w 63"/>
                  <a:gd name="T5" fmla="*/ 198 h 241"/>
                  <a:gd name="T6" fmla="*/ 0 w 63"/>
                  <a:gd name="T7" fmla="*/ 241 h 241"/>
                  <a:gd name="T8" fmla="*/ 0 w 63"/>
                  <a:gd name="T9" fmla="*/ 223 h 241"/>
                  <a:gd name="T10" fmla="*/ 17 w 63"/>
                  <a:gd name="T11" fmla="*/ 216 h 241"/>
                  <a:gd name="T12" fmla="*/ 22 w 63"/>
                  <a:gd name="T13" fmla="*/ 195 h 241"/>
                  <a:gd name="T14" fmla="*/ 22 w 63"/>
                  <a:gd name="T15" fmla="*/ 155 h 241"/>
                  <a:gd name="T16" fmla="*/ 42 w 63"/>
                  <a:gd name="T17" fmla="*/ 120 h 241"/>
                  <a:gd name="T18" fmla="*/ 42 w 63"/>
                  <a:gd name="T19" fmla="*/ 120 h 241"/>
                  <a:gd name="T20" fmla="*/ 22 w 63"/>
                  <a:gd name="T21" fmla="*/ 85 h 241"/>
                  <a:gd name="T22" fmla="*/ 22 w 63"/>
                  <a:gd name="T23" fmla="*/ 44 h 241"/>
                  <a:gd name="T24" fmla="*/ 0 w 63"/>
                  <a:gd name="T25" fmla="*/ 17 h 241"/>
                  <a:gd name="T26" fmla="*/ 0 w 63"/>
                  <a:gd name="T27" fmla="*/ 0 h 241"/>
                  <a:gd name="T28" fmla="*/ 42 w 63"/>
                  <a:gd name="T29" fmla="*/ 43 h 241"/>
                  <a:gd name="T30" fmla="*/ 42 w 63"/>
                  <a:gd name="T31" fmla="*/ 83 h 241"/>
                  <a:gd name="T32" fmla="*/ 63 w 63"/>
                  <a:gd name="T33" fmla="*/ 112 h 241"/>
                  <a:gd name="T34" fmla="*/ 63 w 63"/>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6"/>
                    </a:cubicBezTo>
                    <a:cubicBezTo>
                      <a:pt x="20" y="212"/>
                      <a:pt x="22" y="205"/>
                      <a:pt x="22" y="195"/>
                    </a:cubicBezTo>
                    <a:cubicBezTo>
                      <a:pt x="22" y="155"/>
                      <a:pt x="22" y="155"/>
                      <a:pt x="22" y="155"/>
                    </a:cubicBezTo>
                    <a:cubicBezTo>
                      <a:pt x="22" y="136"/>
                      <a:pt x="29" y="124"/>
                      <a:pt x="42" y="120"/>
                    </a:cubicBezTo>
                    <a:cubicBezTo>
                      <a:pt x="42" y="120"/>
                      <a:pt x="42" y="120"/>
                      <a:pt x="42" y="120"/>
                    </a:cubicBezTo>
                    <a:cubicBezTo>
                      <a:pt x="29" y="115"/>
                      <a:pt x="22" y="104"/>
                      <a:pt x="22" y="85"/>
                    </a:cubicBezTo>
                    <a:cubicBezTo>
                      <a:pt x="22" y="44"/>
                      <a:pt x="22" y="44"/>
                      <a:pt x="22" y="44"/>
                    </a:cubicBezTo>
                    <a:cubicBezTo>
                      <a:pt x="22" y="27"/>
                      <a:pt x="15" y="18"/>
                      <a:pt x="0" y="17"/>
                    </a:cubicBezTo>
                    <a:cubicBezTo>
                      <a:pt x="0" y="0"/>
                      <a:pt x="0" y="0"/>
                      <a:pt x="0" y="0"/>
                    </a:cubicBezTo>
                    <a:cubicBezTo>
                      <a:pt x="28" y="0"/>
                      <a:pt x="42" y="15"/>
                      <a:pt x="42" y="43"/>
                    </a:cubicBezTo>
                    <a:cubicBezTo>
                      <a:pt x="42" y="83"/>
                      <a:pt x="42" y="83"/>
                      <a:pt x="42" y="83"/>
                    </a:cubicBezTo>
                    <a:cubicBezTo>
                      <a:pt x="42" y="102"/>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316"/>
              <p:cNvSpPr>
                <a:spLocks noEditPoints="1"/>
              </p:cNvSpPr>
              <p:nvPr userDrawn="1"/>
            </p:nvSpPr>
            <p:spPr bwMode="auto">
              <a:xfrm>
                <a:off x="4441"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317"/>
              <p:cNvSpPr>
                <a:spLocks noEditPoints="1"/>
              </p:cNvSpPr>
              <p:nvPr userDrawn="1"/>
            </p:nvSpPr>
            <p:spPr bwMode="auto">
              <a:xfrm>
                <a:off x="4636"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318"/>
              <p:cNvSpPr>
                <a:spLocks/>
              </p:cNvSpPr>
              <p:nvPr userDrawn="1"/>
            </p:nvSpPr>
            <p:spPr bwMode="auto">
              <a:xfrm>
                <a:off x="4833"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319"/>
              <p:cNvSpPr>
                <a:spLocks noEditPoints="1"/>
              </p:cNvSpPr>
              <p:nvPr userDrawn="1"/>
            </p:nvSpPr>
            <p:spPr bwMode="auto">
              <a:xfrm>
                <a:off x="4982"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2"/>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Freeform 320"/>
              <p:cNvSpPr>
                <a:spLocks/>
              </p:cNvSpPr>
              <p:nvPr userDrawn="1"/>
            </p:nvSpPr>
            <p:spPr bwMode="auto">
              <a:xfrm>
                <a:off x="5180" y="1468"/>
                <a:ext cx="82" cy="244"/>
              </a:xfrm>
              <a:custGeom>
                <a:avLst/>
                <a:gdLst>
                  <a:gd name="T0" fmla="*/ 68 w 68"/>
                  <a:gd name="T1" fmla="*/ 200 h 200"/>
                  <a:gd name="T2" fmla="*/ 45 w 68"/>
                  <a:gd name="T3" fmla="*/ 200 h 200"/>
                  <a:gd name="T4" fmla="*/ 45 w 68"/>
                  <a:gd name="T5" fmla="*/ 31 h 200"/>
                  <a:gd name="T6" fmla="*/ 38 w 68"/>
                  <a:gd name="T7" fmla="*/ 36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6"/>
                    </a:cubicBezTo>
                    <a:cubicBezTo>
                      <a:pt x="34" y="39"/>
                      <a:pt x="31" y="41"/>
                      <a:pt x="27" y="43"/>
                    </a:cubicBezTo>
                    <a:cubicBezTo>
                      <a:pt x="22" y="45"/>
                      <a:pt x="18" y="47"/>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321"/>
              <p:cNvSpPr>
                <a:spLocks/>
              </p:cNvSpPr>
              <p:nvPr userDrawn="1"/>
            </p:nvSpPr>
            <p:spPr bwMode="auto">
              <a:xfrm>
                <a:off x="5330" y="1468"/>
                <a:ext cx="81"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322"/>
              <p:cNvSpPr>
                <a:spLocks noEditPoints="1"/>
              </p:cNvSpPr>
              <p:nvPr userDrawn="1"/>
            </p:nvSpPr>
            <p:spPr bwMode="auto">
              <a:xfrm>
                <a:off x="5477"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3"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323"/>
              <p:cNvSpPr>
                <a:spLocks/>
              </p:cNvSpPr>
              <p:nvPr userDrawn="1"/>
            </p:nvSpPr>
            <p:spPr bwMode="auto">
              <a:xfrm>
                <a:off x="5674"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324"/>
              <p:cNvSpPr>
                <a:spLocks/>
              </p:cNvSpPr>
              <p:nvPr userDrawn="1"/>
            </p:nvSpPr>
            <p:spPr bwMode="auto">
              <a:xfrm>
                <a:off x="5824" y="1468"/>
                <a:ext cx="83" cy="244"/>
              </a:xfrm>
              <a:custGeom>
                <a:avLst/>
                <a:gdLst>
                  <a:gd name="T0" fmla="*/ 68 w 68"/>
                  <a:gd name="T1" fmla="*/ 200 h 200"/>
                  <a:gd name="T2" fmla="*/ 45 w 68"/>
                  <a:gd name="T3" fmla="*/ 200 h 200"/>
                  <a:gd name="T4" fmla="*/ 45 w 68"/>
                  <a:gd name="T5" fmla="*/ 31 h 200"/>
                  <a:gd name="T6" fmla="*/ 38 w 68"/>
                  <a:gd name="T7" fmla="*/ 36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6"/>
                    </a:cubicBezTo>
                    <a:cubicBezTo>
                      <a:pt x="34" y="39"/>
                      <a:pt x="31" y="41"/>
                      <a:pt x="26" y="43"/>
                    </a:cubicBezTo>
                    <a:cubicBezTo>
                      <a:pt x="22" y="45"/>
                      <a:pt x="18" y="47"/>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Freeform 325"/>
              <p:cNvSpPr>
                <a:spLocks noEditPoints="1"/>
              </p:cNvSpPr>
              <p:nvPr userDrawn="1"/>
            </p:nvSpPr>
            <p:spPr bwMode="auto">
              <a:xfrm>
                <a:off x="597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Freeform 326"/>
              <p:cNvSpPr>
                <a:spLocks noEditPoints="1"/>
              </p:cNvSpPr>
              <p:nvPr userDrawn="1"/>
            </p:nvSpPr>
            <p:spPr bwMode="auto">
              <a:xfrm>
                <a:off x="616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Freeform 327"/>
              <p:cNvSpPr>
                <a:spLocks noEditPoints="1"/>
              </p:cNvSpPr>
              <p:nvPr userDrawn="1"/>
            </p:nvSpPr>
            <p:spPr bwMode="auto">
              <a:xfrm>
                <a:off x="636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4"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328"/>
              <p:cNvSpPr>
                <a:spLocks noEditPoints="1"/>
              </p:cNvSpPr>
              <p:nvPr userDrawn="1"/>
            </p:nvSpPr>
            <p:spPr bwMode="auto">
              <a:xfrm>
                <a:off x="655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4"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329"/>
              <p:cNvSpPr>
                <a:spLocks/>
              </p:cNvSpPr>
              <p:nvPr userDrawn="1"/>
            </p:nvSpPr>
            <p:spPr bwMode="auto">
              <a:xfrm>
                <a:off x="6754"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6"/>
                    </a:cubicBezTo>
                    <a:cubicBezTo>
                      <a:pt x="35" y="39"/>
                      <a:pt x="31" y="41"/>
                      <a:pt x="27" y="43"/>
                    </a:cubicBezTo>
                    <a:cubicBezTo>
                      <a:pt x="23" y="45"/>
                      <a:pt x="19" y="47"/>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330"/>
              <p:cNvSpPr>
                <a:spLocks/>
              </p:cNvSpPr>
              <p:nvPr userDrawn="1"/>
            </p:nvSpPr>
            <p:spPr bwMode="auto">
              <a:xfrm>
                <a:off x="6897" y="1473"/>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7 h 241"/>
                  <a:gd name="T18" fmla="*/ 42 w 63"/>
                  <a:gd name="T19" fmla="*/ 44 h 241"/>
                  <a:gd name="T20" fmla="*/ 42 w 63"/>
                  <a:gd name="T21" fmla="*/ 85 h 241"/>
                  <a:gd name="T22" fmla="*/ 21 w 63"/>
                  <a:gd name="T23" fmla="*/ 120 h 241"/>
                  <a:gd name="T24" fmla="*/ 21 w 63"/>
                  <a:gd name="T25" fmla="*/ 120 h 241"/>
                  <a:gd name="T26" fmla="*/ 42 w 63"/>
                  <a:gd name="T27" fmla="*/ 155 h 241"/>
                  <a:gd name="T28" fmla="*/ 42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2"/>
                      <a:pt x="21" y="83"/>
                    </a:cubicBezTo>
                    <a:cubicBezTo>
                      <a:pt x="21" y="43"/>
                      <a:pt x="21" y="43"/>
                      <a:pt x="21" y="43"/>
                    </a:cubicBezTo>
                    <a:cubicBezTo>
                      <a:pt x="21" y="15"/>
                      <a:pt x="35" y="0"/>
                      <a:pt x="63" y="0"/>
                    </a:cubicBezTo>
                    <a:cubicBezTo>
                      <a:pt x="63" y="17"/>
                      <a:pt x="63" y="17"/>
                      <a:pt x="63" y="17"/>
                    </a:cubicBezTo>
                    <a:cubicBezTo>
                      <a:pt x="49" y="18"/>
                      <a:pt x="42" y="27"/>
                      <a:pt x="42" y="44"/>
                    </a:cubicBezTo>
                    <a:cubicBezTo>
                      <a:pt x="42" y="85"/>
                      <a:pt x="42" y="85"/>
                      <a:pt x="42" y="85"/>
                    </a:cubicBezTo>
                    <a:cubicBezTo>
                      <a:pt x="42" y="104"/>
                      <a:pt x="35" y="115"/>
                      <a:pt x="21" y="120"/>
                    </a:cubicBezTo>
                    <a:cubicBezTo>
                      <a:pt x="21" y="120"/>
                      <a:pt x="21" y="120"/>
                      <a:pt x="21" y="120"/>
                    </a:cubicBezTo>
                    <a:cubicBezTo>
                      <a:pt x="35" y="124"/>
                      <a:pt x="42" y="136"/>
                      <a:pt x="42" y="155"/>
                    </a:cubicBezTo>
                    <a:cubicBezTo>
                      <a:pt x="42" y="195"/>
                      <a:pt x="42" y="195"/>
                      <a:pt x="42" y="195"/>
                    </a:cubicBezTo>
                    <a:cubicBezTo>
                      <a:pt x="42" y="205"/>
                      <a:pt x="43" y="212"/>
                      <a:pt x="46" y="217"/>
                    </a:cubicBezTo>
                    <a:cubicBezTo>
                      <a:pt x="50"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Freeform 331"/>
              <p:cNvSpPr>
                <a:spLocks/>
              </p:cNvSpPr>
              <p:nvPr userDrawn="1"/>
            </p:nvSpPr>
            <p:spPr bwMode="auto">
              <a:xfrm>
                <a:off x="7004" y="1473"/>
                <a:ext cx="78" cy="294"/>
              </a:xfrm>
              <a:custGeom>
                <a:avLst/>
                <a:gdLst>
                  <a:gd name="T0" fmla="*/ 64 w 64"/>
                  <a:gd name="T1" fmla="*/ 128 h 241"/>
                  <a:gd name="T2" fmla="*/ 42 w 64"/>
                  <a:gd name="T3" fmla="*/ 157 h 241"/>
                  <a:gd name="T4" fmla="*/ 42 w 64"/>
                  <a:gd name="T5" fmla="*/ 198 h 241"/>
                  <a:gd name="T6" fmla="*/ 0 w 64"/>
                  <a:gd name="T7" fmla="*/ 241 h 241"/>
                  <a:gd name="T8" fmla="*/ 0 w 64"/>
                  <a:gd name="T9" fmla="*/ 223 h 241"/>
                  <a:gd name="T10" fmla="*/ 17 w 64"/>
                  <a:gd name="T11" fmla="*/ 216 h 241"/>
                  <a:gd name="T12" fmla="*/ 22 w 64"/>
                  <a:gd name="T13" fmla="*/ 195 h 241"/>
                  <a:gd name="T14" fmla="*/ 22 w 64"/>
                  <a:gd name="T15" fmla="*/ 155 h 241"/>
                  <a:gd name="T16" fmla="*/ 43 w 64"/>
                  <a:gd name="T17" fmla="*/ 120 h 241"/>
                  <a:gd name="T18" fmla="*/ 43 w 64"/>
                  <a:gd name="T19" fmla="*/ 120 h 241"/>
                  <a:gd name="T20" fmla="*/ 22 w 64"/>
                  <a:gd name="T21" fmla="*/ 85 h 241"/>
                  <a:gd name="T22" fmla="*/ 22 w 64"/>
                  <a:gd name="T23" fmla="*/ 44 h 241"/>
                  <a:gd name="T24" fmla="*/ 0 w 64"/>
                  <a:gd name="T25" fmla="*/ 17 h 241"/>
                  <a:gd name="T26" fmla="*/ 0 w 64"/>
                  <a:gd name="T27" fmla="*/ 0 h 241"/>
                  <a:gd name="T28" fmla="*/ 42 w 64"/>
                  <a:gd name="T29" fmla="*/ 43 h 241"/>
                  <a:gd name="T30" fmla="*/ 42 w 64"/>
                  <a:gd name="T31" fmla="*/ 83 h 241"/>
                  <a:gd name="T32" fmla="*/ 64 w 64"/>
                  <a:gd name="T33" fmla="*/ 112 h 241"/>
                  <a:gd name="T34" fmla="*/ 64 w 64"/>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4"/>
                      <a:pt x="22" y="85"/>
                    </a:cubicBezTo>
                    <a:cubicBezTo>
                      <a:pt x="22" y="44"/>
                      <a:pt x="22" y="44"/>
                      <a:pt x="22" y="44"/>
                    </a:cubicBezTo>
                    <a:cubicBezTo>
                      <a:pt x="22" y="27"/>
                      <a:pt x="15" y="18"/>
                      <a:pt x="0" y="17"/>
                    </a:cubicBezTo>
                    <a:cubicBezTo>
                      <a:pt x="0" y="0"/>
                      <a:pt x="0" y="0"/>
                      <a:pt x="0" y="0"/>
                    </a:cubicBezTo>
                    <a:cubicBezTo>
                      <a:pt x="28" y="0"/>
                      <a:pt x="42" y="15"/>
                      <a:pt x="42" y="43"/>
                    </a:cubicBezTo>
                    <a:cubicBezTo>
                      <a:pt x="42" y="83"/>
                      <a:pt x="42" y="83"/>
                      <a:pt x="42" y="83"/>
                    </a:cubicBezTo>
                    <a:cubicBezTo>
                      <a:pt x="42" y="102"/>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Freeform 332"/>
              <p:cNvSpPr>
                <a:spLocks noEditPoints="1"/>
              </p:cNvSpPr>
              <p:nvPr userDrawn="1"/>
            </p:nvSpPr>
            <p:spPr bwMode="auto">
              <a:xfrm>
                <a:off x="7116" y="1469"/>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2"/>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5" name="Freeform 333"/>
              <p:cNvSpPr>
                <a:spLocks noEditPoints="1"/>
              </p:cNvSpPr>
              <p:nvPr userDrawn="1"/>
            </p:nvSpPr>
            <p:spPr bwMode="auto">
              <a:xfrm>
                <a:off x="7311" y="1469"/>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7" y="191"/>
                      <a:pt x="89" y="196"/>
                    </a:cubicBezTo>
                    <a:cubicBezTo>
                      <a:pt x="81" y="200"/>
                      <a:pt x="72" y="202"/>
                      <a:pt x="62" y="202"/>
                    </a:cubicBezTo>
                    <a:cubicBezTo>
                      <a:pt x="52" y="202"/>
                      <a:pt x="43" y="200"/>
                      <a:pt x="35" y="196"/>
                    </a:cubicBezTo>
                    <a:cubicBezTo>
                      <a:pt x="27" y="192"/>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5"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6" name="Freeform 334"/>
              <p:cNvSpPr>
                <a:spLocks/>
              </p:cNvSpPr>
              <p:nvPr userDrawn="1"/>
            </p:nvSpPr>
            <p:spPr bwMode="auto">
              <a:xfrm>
                <a:off x="7509" y="1468"/>
                <a:ext cx="81"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7" name="Freeform 335"/>
              <p:cNvSpPr>
                <a:spLocks/>
              </p:cNvSpPr>
              <p:nvPr userDrawn="1"/>
            </p:nvSpPr>
            <p:spPr bwMode="auto">
              <a:xfrm>
                <a:off x="7657"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8" name="Freeform 336"/>
              <p:cNvSpPr>
                <a:spLocks noEditPoints="1"/>
              </p:cNvSpPr>
              <p:nvPr userDrawn="1"/>
            </p:nvSpPr>
            <p:spPr bwMode="auto">
              <a:xfrm>
                <a:off x="3990" y="1460"/>
                <a:ext cx="218" cy="255"/>
              </a:xfrm>
              <a:custGeom>
                <a:avLst/>
                <a:gdLst>
                  <a:gd name="T0" fmla="*/ 175 w 179"/>
                  <a:gd name="T1" fmla="*/ 174 h 209"/>
                  <a:gd name="T2" fmla="*/ 134 w 179"/>
                  <a:gd name="T3" fmla="*/ 209 h 209"/>
                  <a:gd name="T4" fmla="*/ 80 w 179"/>
                  <a:gd name="T5" fmla="*/ 199 h 209"/>
                  <a:gd name="T6" fmla="*/ 32 w 179"/>
                  <a:gd name="T7" fmla="*/ 202 h 209"/>
                  <a:gd name="T8" fmla="*/ 2 w 179"/>
                  <a:gd name="T9" fmla="*/ 184 h 209"/>
                  <a:gd name="T10" fmla="*/ 14 w 179"/>
                  <a:gd name="T11" fmla="*/ 160 h 209"/>
                  <a:gd name="T12" fmla="*/ 9 w 179"/>
                  <a:gd name="T13" fmla="*/ 163 h 209"/>
                  <a:gd name="T14" fmla="*/ 6 w 179"/>
                  <a:gd name="T15" fmla="*/ 184 h 209"/>
                  <a:gd name="T16" fmla="*/ 45 w 179"/>
                  <a:gd name="T17" fmla="*/ 203 h 209"/>
                  <a:gd name="T18" fmla="*/ 42 w 179"/>
                  <a:gd name="T19" fmla="*/ 153 h 209"/>
                  <a:gd name="T20" fmla="*/ 25 w 179"/>
                  <a:gd name="T21" fmla="*/ 134 h 209"/>
                  <a:gd name="T22" fmla="*/ 51 w 179"/>
                  <a:gd name="T23" fmla="*/ 84 h 209"/>
                  <a:gd name="T24" fmla="*/ 58 w 179"/>
                  <a:gd name="T25" fmla="*/ 28 h 209"/>
                  <a:gd name="T26" fmla="*/ 117 w 179"/>
                  <a:gd name="T27" fmla="*/ 18 h 209"/>
                  <a:gd name="T28" fmla="*/ 159 w 179"/>
                  <a:gd name="T29" fmla="*/ 129 h 209"/>
                  <a:gd name="T30" fmla="*/ 152 w 179"/>
                  <a:gd name="T31" fmla="*/ 152 h 209"/>
                  <a:gd name="T32" fmla="*/ 128 w 179"/>
                  <a:gd name="T33" fmla="*/ 151 h 209"/>
                  <a:gd name="T34" fmla="*/ 122 w 179"/>
                  <a:gd name="T35" fmla="*/ 186 h 209"/>
                  <a:gd name="T36" fmla="*/ 165 w 179"/>
                  <a:gd name="T37" fmla="*/ 187 h 209"/>
                  <a:gd name="T38" fmla="*/ 171 w 179"/>
                  <a:gd name="T39" fmla="*/ 174 h 209"/>
                  <a:gd name="T40" fmla="*/ 160 w 179"/>
                  <a:gd name="T41" fmla="*/ 153 h 209"/>
                  <a:gd name="T42" fmla="*/ 88 w 179"/>
                  <a:gd name="T43" fmla="*/ 72 h 209"/>
                  <a:gd name="T44" fmla="*/ 101 w 179"/>
                  <a:gd name="T45" fmla="*/ 68 h 209"/>
                  <a:gd name="T46" fmla="*/ 73 w 179"/>
                  <a:gd name="T47" fmla="*/ 80 h 209"/>
                  <a:gd name="T48" fmla="*/ 63 w 179"/>
                  <a:gd name="T49" fmla="*/ 77 h 209"/>
                  <a:gd name="T50" fmla="*/ 56 w 179"/>
                  <a:gd name="T51" fmla="*/ 101 h 209"/>
                  <a:gd name="T52" fmla="*/ 45 w 179"/>
                  <a:gd name="T53" fmla="*/ 141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7 w 179"/>
                  <a:gd name="T75" fmla="*/ 135 h 209"/>
                  <a:gd name="T76" fmla="*/ 116 w 179"/>
                  <a:gd name="T77" fmla="*/ 94 h 209"/>
                  <a:gd name="T78" fmla="*/ 103 w 179"/>
                  <a:gd name="T79" fmla="*/ 54 h 209"/>
                  <a:gd name="T80" fmla="*/ 97 w 179"/>
                  <a:gd name="T81" fmla="*/ 37 h 209"/>
                  <a:gd name="T82" fmla="*/ 107 w 179"/>
                  <a:gd name="T83" fmla="*/ 49 h 209"/>
                  <a:gd name="T84" fmla="*/ 86 w 179"/>
                  <a:gd name="T85" fmla="*/ 42 h 209"/>
                  <a:gd name="T86" fmla="*/ 77 w 179"/>
                  <a:gd name="T87" fmla="*/ 45 h 209"/>
                  <a:gd name="T88" fmla="*/ 65 w 179"/>
                  <a:gd name="T89" fmla="*/ 35 h 209"/>
                  <a:gd name="T90" fmla="*/ 67 w 179"/>
                  <a:gd name="T91" fmla="*/ 48 h 209"/>
                  <a:gd name="T92" fmla="*/ 73 w 179"/>
                  <a:gd name="T93" fmla="*/ 49 h 209"/>
                  <a:gd name="T94" fmla="*/ 65 w 179"/>
                  <a:gd name="T95" fmla="*/ 60 h 209"/>
                  <a:gd name="T96" fmla="*/ 101 w 179"/>
                  <a:gd name="T97" fmla="*/ 59 h 209"/>
                  <a:gd name="T98" fmla="*/ 86 w 179"/>
                  <a:gd name="T99" fmla="*/ 68 h 209"/>
                  <a:gd name="T100" fmla="*/ 71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0" y="153"/>
                    </a:moveTo>
                    <a:cubicBezTo>
                      <a:pt x="161" y="156"/>
                      <a:pt x="162" y="159"/>
                      <a:pt x="162" y="161"/>
                    </a:cubicBezTo>
                    <a:cubicBezTo>
                      <a:pt x="164" y="166"/>
                      <a:pt x="166" y="169"/>
                      <a:pt x="170" y="171"/>
                    </a:cubicBezTo>
                    <a:cubicBezTo>
                      <a:pt x="172" y="172"/>
                      <a:pt x="174" y="173"/>
                      <a:pt x="175" y="174"/>
                    </a:cubicBezTo>
                    <a:cubicBezTo>
                      <a:pt x="179" y="177"/>
                      <a:pt x="179" y="180"/>
                      <a:pt x="175" y="183"/>
                    </a:cubicBezTo>
                    <a:cubicBezTo>
                      <a:pt x="173" y="186"/>
                      <a:pt x="169" y="188"/>
                      <a:pt x="166" y="189"/>
                    </a:cubicBezTo>
                    <a:cubicBezTo>
                      <a:pt x="156" y="194"/>
                      <a:pt x="148" y="199"/>
                      <a:pt x="141" y="206"/>
                    </a:cubicBezTo>
                    <a:cubicBezTo>
                      <a:pt x="139" y="208"/>
                      <a:pt x="136" y="209"/>
                      <a:pt x="134" y="209"/>
                    </a:cubicBezTo>
                    <a:cubicBezTo>
                      <a:pt x="131" y="209"/>
                      <a:pt x="127" y="209"/>
                      <a:pt x="124" y="208"/>
                    </a:cubicBezTo>
                    <a:cubicBezTo>
                      <a:pt x="121" y="208"/>
                      <a:pt x="119" y="206"/>
                      <a:pt x="118" y="203"/>
                    </a:cubicBezTo>
                    <a:cubicBezTo>
                      <a:pt x="116" y="200"/>
                      <a:pt x="113" y="198"/>
                      <a:pt x="109" y="198"/>
                    </a:cubicBezTo>
                    <a:cubicBezTo>
                      <a:pt x="100" y="199"/>
                      <a:pt x="90" y="199"/>
                      <a:pt x="80" y="199"/>
                    </a:cubicBezTo>
                    <a:cubicBezTo>
                      <a:pt x="76" y="199"/>
                      <a:pt x="71" y="200"/>
                      <a:pt x="67" y="202"/>
                    </a:cubicBezTo>
                    <a:cubicBezTo>
                      <a:pt x="66" y="203"/>
                      <a:pt x="64" y="204"/>
                      <a:pt x="62" y="205"/>
                    </a:cubicBezTo>
                    <a:cubicBezTo>
                      <a:pt x="58" y="209"/>
                      <a:pt x="53" y="209"/>
                      <a:pt x="48" y="208"/>
                    </a:cubicBezTo>
                    <a:cubicBezTo>
                      <a:pt x="43" y="206"/>
                      <a:pt x="37" y="204"/>
                      <a:pt x="32" y="202"/>
                    </a:cubicBezTo>
                    <a:cubicBezTo>
                      <a:pt x="25" y="200"/>
                      <a:pt x="18" y="199"/>
                      <a:pt x="11" y="198"/>
                    </a:cubicBezTo>
                    <a:cubicBezTo>
                      <a:pt x="9" y="197"/>
                      <a:pt x="6" y="197"/>
                      <a:pt x="4" y="196"/>
                    </a:cubicBezTo>
                    <a:cubicBezTo>
                      <a:pt x="1" y="194"/>
                      <a:pt x="0" y="192"/>
                      <a:pt x="1" y="188"/>
                    </a:cubicBezTo>
                    <a:cubicBezTo>
                      <a:pt x="1" y="187"/>
                      <a:pt x="1" y="186"/>
                      <a:pt x="2" y="184"/>
                    </a:cubicBezTo>
                    <a:cubicBezTo>
                      <a:pt x="4" y="180"/>
                      <a:pt x="4" y="176"/>
                      <a:pt x="3" y="172"/>
                    </a:cubicBezTo>
                    <a:cubicBezTo>
                      <a:pt x="2" y="170"/>
                      <a:pt x="2" y="169"/>
                      <a:pt x="2" y="167"/>
                    </a:cubicBezTo>
                    <a:cubicBezTo>
                      <a:pt x="1" y="163"/>
                      <a:pt x="3" y="160"/>
                      <a:pt x="7" y="160"/>
                    </a:cubicBezTo>
                    <a:cubicBezTo>
                      <a:pt x="9" y="160"/>
                      <a:pt x="12" y="160"/>
                      <a:pt x="14" y="160"/>
                    </a:cubicBezTo>
                    <a:cubicBezTo>
                      <a:pt x="19" y="159"/>
                      <a:pt x="22" y="155"/>
                      <a:pt x="23" y="150"/>
                    </a:cubicBezTo>
                    <a:cubicBezTo>
                      <a:pt x="23" y="150"/>
                      <a:pt x="23" y="150"/>
                      <a:pt x="23" y="150"/>
                    </a:cubicBezTo>
                    <a:cubicBezTo>
                      <a:pt x="24" y="153"/>
                      <a:pt x="23" y="160"/>
                      <a:pt x="17" y="162"/>
                    </a:cubicBezTo>
                    <a:cubicBezTo>
                      <a:pt x="14" y="163"/>
                      <a:pt x="12" y="163"/>
                      <a:pt x="9" y="163"/>
                    </a:cubicBezTo>
                    <a:cubicBezTo>
                      <a:pt x="9" y="163"/>
                      <a:pt x="9" y="163"/>
                      <a:pt x="8" y="163"/>
                    </a:cubicBezTo>
                    <a:cubicBezTo>
                      <a:pt x="5" y="162"/>
                      <a:pt x="3" y="164"/>
                      <a:pt x="4" y="168"/>
                    </a:cubicBezTo>
                    <a:cubicBezTo>
                      <a:pt x="5" y="170"/>
                      <a:pt x="5" y="171"/>
                      <a:pt x="6" y="173"/>
                    </a:cubicBezTo>
                    <a:cubicBezTo>
                      <a:pt x="8" y="176"/>
                      <a:pt x="8" y="180"/>
                      <a:pt x="6" y="184"/>
                    </a:cubicBezTo>
                    <a:cubicBezTo>
                      <a:pt x="5" y="185"/>
                      <a:pt x="5" y="187"/>
                      <a:pt x="4" y="188"/>
                    </a:cubicBezTo>
                    <a:cubicBezTo>
                      <a:pt x="3" y="190"/>
                      <a:pt x="4" y="192"/>
                      <a:pt x="6" y="193"/>
                    </a:cubicBezTo>
                    <a:cubicBezTo>
                      <a:pt x="8" y="194"/>
                      <a:pt x="11" y="194"/>
                      <a:pt x="13" y="195"/>
                    </a:cubicBezTo>
                    <a:cubicBezTo>
                      <a:pt x="24" y="197"/>
                      <a:pt x="35" y="199"/>
                      <a:pt x="45" y="203"/>
                    </a:cubicBezTo>
                    <a:cubicBezTo>
                      <a:pt x="48" y="204"/>
                      <a:pt x="52" y="204"/>
                      <a:pt x="55" y="204"/>
                    </a:cubicBezTo>
                    <a:cubicBezTo>
                      <a:pt x="63" y="202"/>
                      <a:pt x="66" y="198"/>
                      <a:pt x="64" y="190"/>
                    </a:cubicBezTo>
                    <a:cubicBezTo>
                      <a:pt x="63" y="186"/>
                      <a:pt x="62" y="183"/>
                      <a:pt x="60" y="179"/>
                    </a:cubicBezTo>
                    <a:cubicBezTo>
                      <a:pt x="54" y="170"/>
                      <a:pt x="49" y="161"/>
                      <a:pt x="42" y="153"/>
                    </a:cubicBezTo>
                    <a:cubicBezTo>
                      <a:pt x="40" y="150"/>
                      <a:pt x="37" y="147"/>
                      <a:pt x="34" y="145"/>
                    </a:cubicBezTo>
                    <a:cubicBezTo>
                      <a:pt x="32" y="143"/>
                      <a:pt x="29" y="143"/>
                      <a:pt x="26" y="145"/>
                    </a:cubicBezTo>
                    <a:cubicBezTo>
                      <a:pt x="26" y="146"/>
                      <a:pt x="25" y="145"/>
                      <a:pt x="25" y="144"/>
                    </a:cubicBezTo>
                    <a:cubicBezTo>
                      <a:pt x="24" y="141"/>
                      <a:pt x="24" y="137"/>
                      <a:pt x="25" y="134"/>
                    </a:cubicBezTo>
                    <a:cubicBezTo>
                      <a:pt x="25" y="133"/>
                      <a:pt x="26" y="132"/>
                      <a:pt x="27" y="131"/>
                    </a:cubicBezTo>
                    <a:cubicBezTo>
                      <a:pt x="30" y="125"/>
                      <a:pt x="32" y="119"/>
                      <a:pt x="34" y="113"/>
                    </a:cubicBezTo>
                    <a:cubicBezTo>
                      <a:pt x="37" y="106"/>
                      <a:pt x="39" y="100"/>
                      <a:pt x="43" y="94"/>
                    </a:cubicBezTo>
                    <a:cubicBezTo>
                      <a:pt x="46" y="91"/>
                      <a:pt x="49" y="87"/>
                      <a:pt x="51" y="84"/>
                    </a:cubicBezTo>
                    <a:cubicBezTo>
                      <a:pt x="54" y="80"/>
                      <a:pt x="56" y="77"/>
                      <a:pt x="58" y="74"/>
                    </a:cubicBezTo>
                    <a:cubicBezTo>
                      <a:pt x="59" y="71"/>
                      <a:pt x="60" y="68"/>
                      <a:pt x="60" y="65"/>
                    </a:cubicBezTo>
                    <a:cubicBezTo>
                      <a:pt x="59" y="58"/>
                      <a:pt x="59" y="51"/>
                      <a:pt x="58" y="44"/>
                    </a:cubicBezTo>
                    <a:cubicBezTo>
                      <a:pt x="58" y="39"/>
                      <a:pt x="58" y="33"/>
                      <a:pt x="58" y="28"/>
                    </a:cubicBezTo>
                    <a:cubicBezTo>
                      <a:pt x="58" y="17"/>
                      <a:pt x="63" y="8"/>
                      <a:pt x="73" y="3"/>
                    </a:cubicBezTo>
                    <a:cubicBezTo>
                      <a:pt x="76" y="1"/>
                      <a:pt x="81" y="1"/>
                      <a:pt x="85" y="1"/>
                    </a:cubicBezTo>
                    <a:cubicBezTo>
                      <a:pt x="91" y="0"/>
                      <a:pt x="96" y="1"/>
                      <a:pt x="102" y="4"/>
                    </a:cubicBezTo>
                    <a:cubicBezTo>
                      <a:pt x="109" y="6"/>
                      <a:pt x="114" y="12"/>
                      <a:pt x="117" y="18"/>
                    </a:cubicBezTo>
                    <a:cubicBezTo>
                      <a:pt x="120" y="24"/>
                      <a:pt x="122" y="30"/>
                      <a:pt x="122" y="37"/>
                    </a:cubicBezTo>
                    <a:cubicBezTo>
                      <a:pt x="122" y="40"/>
                      <a:pt x="122" y="44"/>
                      <a:pt x="122" y="47"/>
                    </a:cubicBezTo>
                    <a:cubicBezTo>
                      <a:pt x="124" y="62"/>
                      <a:pt x="128" y="75"/>
                      <a:pt x="138" y="85"/>
                    </a:cubicBezTo>
                    <a:cubicBezTo>
                      <a:pt x="150" y="98"/>
                      <a:pt x="156" y="112"/>
                      <a:pt x="159" y="129"/>
                    </a:cubicBezTo>
                    <a:cubicBezTo>
                      <a:pt x="160" y="134"/>
                      <a:pt x="161" y="139"/>
                      <a:pt x="159" y="144"/>
                    </a:cubicBezTo>
                    <a:cubicBezTo>
                      <a:pt x="159" y="145"/>
                      <a:pt x="159" y="146"/>
                      <a:pt x="158" y="147"/>
                    </a:cubicBezTo>
                    <a:cubicBezTo>
                      <a:pt x="158" y="147"/>
                      <a:pt x="158" y="148"/>
                      <a:pt x="157" y="148"/>
                    </a:cubicBezTo>
                    <a:cubicBezTo>
                      <a:pt x="155" y="149"/>
                      <a:pt x="154" y="151"/>
                      <a:pt x="152" y="152"/>
                    </a:cubicBezTo>
                    <a:cubicBezTo>
                      <a:pt x="151" y="154"/>
                      <a:pt x="149" y="157"/>
                      <a:pt x="147" y="158"/>
                    </a:cubicBezTo>
                    <a:cubicBezTo>
                      <a:pt x="143" y="161"/>
                      <a:pt x="139" y="161"/>
                      <a:pt x="135" y="160"/>
                    </a:cubicBezTo>
                    <a:cubicBezTo>
                      <a:pt x="133" y="159"/>
                      <a:pt x="131" y="158"/>
                      <a:pt x="130" y="156"/>
                    </a:cubicBezTo>
                    <a:cubicBezTo>
                      <a:pt x="130" y="154"/>
                      <a:pt x="129" y="153"/>
                      <a:pt x="128" y="151"/>
                    </a:cubicBezTo>
                    <a:cubicBezTo>
                      <a:pt x="127" y="150"/>
                      <a:pt x="126" y="148"/>
                      <a:pt x="124" y="148"/>
                    </a:cubicBezTo>
                    <a:cubicBezTo>
                      <a:pt x="122" y="148"/>
                      <a:pt x="122" y="150"/>
                      <a:pt x="121" y="152"/>
                    </a:cubicBezTo>
                    <a:cubicBezTo>
                      <a:pt x="120" y="156"/>
                      <a:pt x="120" y="160"/>
                      <a:pt x="121" y="164"/>
                    </a:cubicBezTo>
                    <a:cubicBezTo>
                      <a:pt x="123" y="171"/>
                      <a:pt x="123" y="179"/>
                      <a:pt x="122" y="186"/>
                    </a:cubicBezTo>
                    <a:cubicBezTo>
                      <a:pt x="121" y="189"/>
                      <a:pt x="121" y="192"/>
                      <a:pt x="121" y="195"/>
                    </a:cubicBezTo>
                    <a:cubicBezTo>
                      <a:pt x="123" y="202"/>
                      <a:pt x="129" y="205"/>
                      <a:pt x="136" y="203"/>
                    </a:cubicBezTo>
                    <a:cubicBezTo>
                      <a:pt x="139" y="202"/>
                      <a:pt x="142" y="200"/>
                      <a:pt x="144" y="198"/>
                    </a:cubicBezTo>
                    <a:cubicBezTo>
                      <a:pt x="150" y="192"/>
                      <a:pt x="157" y="189"/>
                      <a:pt x="165" y="187"/>
                    </a:cubicBezTo>
                    <a:cubicBezTo>
                      <a:pt x="168" y="186"/>
                      <a:pt x="170" y="184"/>
                      <a:pt x="173" y="183"/>
                    </a:cubicBezTo>
                    <a:cubicBezTo>
                      <a:pt x="173" y="183"/>
                      <a:pt x="174" y="182"/>
                      <a:pt x="175" y="181"/>
                    </a:cubicBezTo>
                    <a:cubicBezTo>
                      <a:pt x="176" y="180"/>
                      <a:pt x="176" y="178"/>
                      <a:pt x="175" y="177"/>
                    </a:cubicBezTo>
                    <a:cubicBezTo>
                      <a:pt x="173" y="176"/>
                      <a:pt x="172" y="175"/>
                      <a:pt x="171" y="174"/>
                    </a:cubicBezTo>
                    <a:cubicBezTo>
                      <a:pt x="170" y="174"/>
                      <a:pt x="169" y="173"/>
                      <a:pt x="168" y="173"/>
                    </a:cubicBezTo>
                    <a:cubicBezTo>
                      <a:pt x="163" y="172"/>
                      <a:pt x="160" y="168"/>
                      <a:pt x="160" y="163"/>
                    </a:cubicBezTo>
                    <a:cubicBezTo>
                      <a:pt x="159" y="161"/>
                      <a:pt x="159" y="158"/>
                      <a:pt x="160" y="156"/>
                    </a:cubicBezTo>
                    <a:cubicBezTo>
                      <a:pt x="160" y="155"/>
                      <a:pt x="160" y="154"/>
                      <a:pt x="160" y="153"/>
                    </a:cubicBezTo>
                    <a:close/>
                    <a:moveTo>
                      <a:pt x="71" y="69"/>
                    </a:moveTo>
                    <a:cubicBezTo>
                      <a:pt x="71" y="69"/>
                      <a:pt x="71" y="69"/>
                      <a:pt x="71" y="69"/>
                    </a:cubicBezTo>
                    <a:cubicBezTo>
                      <a:pt x="72" y="72"/>
                      <a:pt x="74" y="73"/>
                      <a:pt x="77" y="74"/>
                    </a:cubicBezTo>
                    <a:cubicBezTo>
                      <a:pt x="81" y="75"/>
                      <a:pt x="84" y="74"/>
                      <a:pt x="88" y="72"/>
                    </a:cubicBezTo>
                    <a:cubicBezTo>
                      <a:pt x="91" y="70"/>
                      <a:pt x="94" y="69"/>
                      <a:pt x="97" y="67"/>
                    </a:cubicBezTo>
                    <a:cubicBezTo>
                      <a:pt x="98" y="66"/>
                      <a:pt x="99" y="66"/>
                      <a:pt x="100" y="66"/>
                    </a:cubicBezTo>
                    <a:cubicBezTo>
                      <a:pt x="101" y="66"/>
                      <a:pt x="102" y="66"/>
                      <a:pt x="102" y="67"/>
                    </a:cubicBezTo>
                    <a:cubicBezTo>
                      <a:pt x="102" y="67"/>
                      <a:pt x="102" y="68"/>
                      <a:pt x="101" y="68"/>
                    </a:cubicBezTo>
                    <a:cubicBezTo>
                      <a:pt x="100" y="69"/>
                      <a:pt x="100" y="69"/>
                      <a:pt x="99" y="70"/>
                    </a:cubicBezTo>
                    <a:cubicBezTo>
                      <a:pt x="94" y="72"/>
                      <a:pt x="90" y="75"/>
                      <a:pt x="86" y="78"/>
                    </a:cubicBezTo>
                    <a:cubicBezTo>
                      <a:pt x="85" y="79"/>
                      <a:pt x="83" y="80"/>
                      <a:pt x="81" y="81"/>
                    </a:cubicBezTo>
                    <a:cubicBezTo>
                      <a:pt x="78" y="83"/>
                      <a:pt x="75" y="82"/>
                      <a:pt x="73" y="80"/>
                    </a:cubicBezTo>
                    <a:cubicBezTo>
                      <a:pt x="71" y="77"/>
                      <a:pt x="69" y="74"/>
                      <a:pt x="67" y="72"/>
                    </a:cubicBezTo>
                    <a:cubicBezTo>
                      <a:pt x="66" y="71"/>
                      <a:pt x="66" y="71"/>
                      <a:pt x="65" y="70"/>
                    </a:cubicBezTo>
                    <a:cubicBezTo>
                      <a:pt x="65" y="70"/>
                      <a:pt x="65" y="71"/>
                      <a:pt x="65" y="71"/>
                    </a:cubicBezTo>
                    <a:cubicBezTo>
                      <a:pt x="64" y="73"/>
                      <a:pt x="64" y="75"/>
                      <a:pt x="63" y="77"/>
                    </a:cubicBezTo>
                    <a:cubicBezTo>
                      <a:pt x="62" y="79"/>
                      <a:pt x="61" y="81"/>
                      <a:pt x="60" y="84"/>
                    </a:cubicBezTo>
                    <a:cubicBezTo>
                      <a:pt x="58" y="86"/>
                      <a:pt x="57" y="89"/>
                      <a:pt x="57" y="92"/>
                    </a:cubicBezTo>
                    <a:cubicBezTo>
                      <a:pt x="57" y="94"/>
                      <a:pt x="58" y="96"/>
                      <a:pt x="58" y="99"/>
                    </a:cubicBezTo>
                    <a:cubicBezTo>
                      <a:pt x="57" y="99"/>
                      <a:pt x="56" y="100"/>
                      <a:pt x="56" y="101"/>
                    </a:cubicBezTo>
                    <a:cubicBezTo>
                      <a:pt x="54" y="105"/>
                      <a:pt x="51" y="109"/>
                      <a:pt x="49" y="113"/>
                    </a:cubicBezTo>
                    <a:cubicBezTo>
                      <a:pt x="47" y="118"/>
                      <a:pt x="45" y="122"/>
                      <a:pt x="45" y="128"/>
                    </a:cubicBezTo>
                    <a:cubicBezTo>
                      <a:pt x="45" y="131"/>
                      <a:pt x="45" y="133"/>
                      <a:pt x="45" y="136"/>
                    </a:cubicBezTo>
                    <a:cubicBezTo>
                      <a:pt x="45" y="138"/>
                      <a:pt x="45" y="139"/>
                      <a:pt x="45" y="141"/>
                    </a:cubicBezTo>
                    <a:cubicBezTo>
                      <a:pt x="44" y="142"/>
                      <a:pt x="43" y="142"/>
                      <a:pt x="42" y="141"/>
                    </a:cubicBezTo>
                    <a:cubicBezTo>
                      <a:pt x="41" y="141"/>
                      <a:pt x="40" y="140"/>
                      <a:pt x="40" y="139"/>
                    </a:cubicBezTo>
                    <a:cubicBezTo>
                      <a:pt x="37" y="134"/>
                      <a:pt x="37" y="130"/>
                      <a:pt x="37" y="125"/>
                    </a:cubicBezTo>
                    <a:cubicBezTo>
                      <a:pt x="37" y="124"/>
                      <a:pt x="38" y="123"/>
                      <a:pt x="38" y="121"/>
                    </a:cubicBezTo>
                    <a:cubicBezTo>
                      <a:pt x="38" y="121"/>
                      <a:pt x="37" y="121"/>
                      <a:pt x="37" y="121"/>
                    </a:cubicBezTo>
                    <a:cubicBezTo>
                      <a:pt x="37" y="122"/>
                      <a:pt x="37" y="123"/>
                      <a:pt x="36" y="124"/>
                    </a:cubicBezTo>
                    <a:cubicBezTo>
                      <a:pt x="35" y="127"/>
                      <a:pt x="35" y="131"/>
                      <a:pt x="36" y="135"/>
                    </a:cubicBezTo>
                    <a:cubicBezTo>
                      <a:pt x="37" y="138"/>
                      <a:pt x="37" y="141"/>
                      <a:pt x="40" y="143"/>
                    </a:cubicBezTo>
                    <a:cubicBezTo>
                      <a:pt x="44" y="147"/>
                      <a:pt x="47" y="150"/>
                      <a:pt x="51" y="153"/>
                    </a:cubicBezTo>
                    <a:cubicBezTo>
                      <a:pt x="56" y="158"/>
                      <a:pt x="61" y="161"/>
                      <a:pt x="66" y="165"/>
                    </a:cubicBezTo>
                    <a:cubicBezTo>
                      <a:pt x="69" y="167"/>
                      <a:pt x="69" y="170"/>
                      <a:pt x="69" y="173"/>
                    </a:cubicBezTo>
                    <a:cubicBezTo>
                      <a:pt x="68" y="175"/>
                      <a:pt x="66" y="177"/>
                      <a:pt x="64" y="178"/>
                    </a:cubicBezTo>
                    <a:cubicBezTo>
                      <a:pt x="63" y="178"/>
                      <a:pt x="63" y="178"/>
                      <a:pt x="62" y="178"/>
                    </a:cubicBezTo>
                    <a:cubicBezTo>
                      <a:pt x="63" y="180"/>
                      <a:pt x="64" y="182"/>
                      <a:pt x="65" y="184"/>
                    </a:cubicBezTo>
                    <a:cubicBezTo>
                      <a:pt x="67" y="186"/>
                      <a:pt x="69" y="189"/>
                      <a:pt x="69" y="192"/>
                    </a:cubicBezTo>
                    <a:cubicBezTo>
                      <a:pt x="69" y="194"/>
                      <a:pt x="69" y="196"/>
                      <a:pt x="70" y="198"/>
                    </a:cubicBezTo>
                    <a:cubicBezTo>
                      <a:pt x="70" y="198"/>
                      <a:pt x="70" y="197"/>
                      <a:pt x="70" y="197"/>
                    </a:cubicBezTo>
                    <a:cubicBezTo>
                      <a:pt x="72" y="196"/>
                      <a:pt x="72" y="194"/>
                      <a:pt x="72" y="191"/>
                    </a:cubicBezTo>
                    <a:cubicBezTo>
                      <a:pt x="71" y="189"/>
                      <a:pt x="70" y="186"/>
                      <a:pt x="68" y="184"/>
                    </a:cubicBezTo>
                    <a:cubicBezTo>
                      <a:pt x="68" y="184"/>
                      <a:pt x="68" y="183"/>
                      <a:pt x="68" y="183"/>
                    </a:cubicBezTo>
                    <a:cubicBezTo>
                      <a:pt x="69" y="182"/>
                      <a:pt x="71" y="182"/>
                      <a:pt x="72" y="183"/>
                    </a:cubicBezTo>
                    <a:cubicBezTo>
                      <a:pt x="74" y="185"/>
                      <a:pt x="76" y="186"/>
                      <a:pt x="79" y="186"/>
                    </a:cubicBezTo>
                    <a:cubicBezTo>
                      <a:pt x="85" y="188"/>
                      <a:pt x="91" y="187"/>
                      <a:pt x="96" y="186"/>
                    </a:cubicBezTo>
                    <a:cubicBezTo>
                      <a:pt x="101" y="184"/>
                      <a:pt x="105" y="183"/>
                      <a:pt x="109" y="179"/>
                    </a:cubicBezTo>
                    <a:cubicBezTo>
                      <a:pt x="110" y="178"/>
                      <a:pt x="112" y="176"/>
                      <a:pt x="113" y="174"/>
                    </a:cubicBezTo>
                    <a:cubicBezTo>
                      <a:pt x="114" y="173"/>
                      <a:pt x="115" y="173"/>
                      <a:pt x="115" y="173"/>
                    </a:cubicBezTo>
                    <a:cubicBezTo>
                      <a:pt x="116" y="173"/>
                      <a:pt x="116" y="174"/>
                      <a:pt x="116" y="175"/>
                    </a:cubicBezTo>
                    <a:cubicBezTo>
                      <a:pt x="117" y="179"/>
                      <a:pt x="116" y="182"/>
                      <a:pt x="115" y="186"/>
                    </a:cubicBezTo>
                    <a:cubicBezTo>
                      <a:pt x="114" y="188"/>
                      <a:pt x="114" y="191"/>
                      <a:pt x="113" y="193"/>
                    </a:cubicBezTo>
                    <a:cubicBezTo>
                      <a:pt x="113" y="195"/>
                      <a:pt x="114" y="196"/>
                      <a:pt x="116" y="196"/>
                    </a:cubicBezTo>
                    <a:cubicBezTo>
                      <a:pt x="117" y="191"/>
                      <a:pt x="118" y="187"/>
                      <a:pt x="118" y="183"/>
                    </a:cubicBezTo>
                    <a:cubicBezTo>
                      <a:pt x="119" y="179"/>
                      <a:pt x="120" y="175"/>
                      <a:pt x="119" y="171"/>
                    </a:cubicBezTo>
                    <a:cubicBezTo>
                      <a:pt x="119" y="168"/>
                      <a:pt x="118" y="164"/>
                      <a:pt x="118" y="160"/>
                    </a:cubicBezTo>
                    <a:cubicBezTo>
                      <a:pt x="117" y="157"/>
                      <a:pt x="118" y="154"/>
                      <a:pt x="119" y="151"/>
                    </a:cubicBezTo>
                    <a:cubicBezTo>
                      <a:pt x="120" y="148"/>
                      <a:pt x="122" y="146"/>
                      <a:pt x="125" y="146"/>
                    </a:cubicBezTo>
                    <a:cubicBezTo>
                      <a:pt x="126" y="146"/>
                      <a:pt x="126" y="146"/>
                      <a:pt x="126" y="146"/>
                    </a:cubicBezTo>
                    <a:cubicBezTo>
                      <a:pt x="127" y="143"/>
                      <a:pt x="128" y="140"/>
                      <a:pt x="132" y="139"/>
                    </a:cubicBezTo>
                    <a:cubicBezTo>
                      <a:pt x="137" y="138"/>
                      <a:pt x="141" y="139"/>
                      <a:pt x="146" y="141"/>
                    </a:cubicBezTo>
                    <a:cubicBezTo>
                      <a:pt x="144" y="139"/>
                      <a:pt x="142" y="138"/>
                      <a:pt x="139" y="137"/>
                    </a:cubicBezTo>
                    <a:cubicBezTo>
                      <a:pt x="145" y="120"/>
                      <a:pt x="135" y="98"/>
                      <a:pt x="126" y="92"/>
                    </a:cubicBezTo>
                    <a:cubicBezTo>
                      <a:pt x="130" y="98"/>
                      <a:pt x="134" y="104"/>
                      <a:pt x="136" y="111"/>
                    </a:cubicBezTo>
                    <a:cubicBezTo>
                      <a:pt x="138" y="117"/>
                      <a:pt x="140" y="124"/>
                      <a:pt x="138" y="131"/>
                    </a:cubicBezTo>
                    <a:cubicBezTo>
                      <a:pt x="138" y="136"/>
                      <a:pt x="136" y="138"/>
                      <a:pt x="132" y="138"/>
                    </a:cubicBezTo>
                    <a:cubicBezTo>
                      <a:pt x="129" y="138"/>
                      <a:pt x="128" y="137"/>
                      <a:pt x="127" y="135"/>
                    </a:cubicBezTo>
                    <a:cubicBezTo>
                      <a:pt x="127" y="133"/>
                      <a:pt x="127" y="131"/>
                      <a:pt x="127" y="129"/>
                    </a:cubicBezTo>
                    <a:cubicBezTo>
                      <a:pt x="127" y="122"/>
                      <a:pt x="126" y="115"/>
                      <a:pt x="124" y="108"/>
                    </a:cubicBezTo>
                    <a:cubicBezTo>
                      <a:pt x="122" y="103"/>
                      <a:pt x="121" y="99"/>
                      <a:pt x="117" y="95"/>
                    </a:cubicBezTo>
                    <a:cubicBezTo>
                      <a:pt x="117" y="95"/>
                      <a:pt x="117" y="95"/>
                      <a:pt x="116" y="94"/>
                    </a:cubicBezTo>
                    <a:cubicBezTo>
                      <a:pt x="115" y="87"/>
                      <a:pt x="112" y="79"/>
                      <a:pt x="107" y="73"/>
                    </a:cubicBezTo>
                    <a:cubicBezTo>
                      <a:pt x="105" y="71"/>
                      <a:pt x="105" y="67"/>
                      <a:pt x="105" y="64"/>
                    </a:cubicBezTo>
                    <a:cubicBezTo>
                      <a:pt x="106" y="63"/>
                      <a:pt x="106" y="61"/>
                      <a:pt x="106" y="59"/>
                    </a:cubicBezTo>
                    <a:cubicBezTo>
                      <a:pt x="107" y="56"/>
                      <a:pt x="106" y="55"/>
                      <a:pt x="103" y="54"/>
                    </a:cubicBezTo>
                    <a:cubicBezTo>
                      <a:pt x="100" y="53"/>
                      <a:pt x="97" y="51"/>
                      <a:pt x="94" y="50"/>
                    </a:cubicBezTo>
                    <a:cubicBezTo>
                      <a:pt x="91" y="49"/>
                      <a:pt x="90" y="47"/>
                      <a:pt x="91" y="45"/>
                    </a:cubicBezTo>
                    <a:cubicBezTo>
                      <a:pt x="91" y="44"/>
                      <a:pt x="91" y="42"/>
                      <a:pt x="91" y="41"/>
                    </a:cubicBezTo>
                    <a:cubicBezTo>
                      <a:pt x="92" y="38"/>
                      <a:pt x="94" y="37"/>
                      <a:pt x="97" y="37"/>
                    </a:cubicBezTo>
                    <a:cubicBezTo>
                      <a:pt x="99" y="38"/>
                      <a:pt x="100" y="39"/>
                      <a:pt x="101" y="40"/>
                    </a:cubicBezTo>
                    <a:cubicBezTo>
                      <a:pt x="103" y="43"/>
                      <a:pt x="103" y="45"/>
                      <a:pt x="102" y="48"/>
                    </a:cubicBezTo>
                    <a:cubicBezTo>
                      <a:pt x="101" y="49"/>
                      <a:pt x="101" y="50"/>
                      <a:pt x="102" y="51"/>
                    </a:cubicBezTo>
                    <a:cubicBezTo>
                      <a:pt x="104" y="52"/>
                      <a:pt x="106" y="51"/>
                      <a:pt x="107" y="49"/>
                    </a:cubicBezTo>
                    <a:cubicBezTo>
                      <a:pt x="107" y="44"/>
                      <a:pt x="107" y="40"/>
                      <a:pt x="105" y="36"/>
                    </a:cubicBezTo>
                    <a:cubicBezTo>
                      <a:pt x="103" y="32"/>
                      <a:pt x="99" y="30"/>
                      <a:pt x="96" y="30"/>
                    </a:cubicBezTo>
                    <a:cubicBezTo>
                      <a:pt x="91" y="31"/>
                      <a:pt x="87" y="34"/>
                      <a:pt x="87" y="38"/>
                    </a:cubicBezTo>
                    <a:cubicBezTo>
                      <a:pt x="86" y="39"/>
                      <a:pt x="86" y="41"/>
                      <a:pt x="86" y="42"/>
                    </a:cubicBezTo>
                    <a:cubicBezTo>
                      <a:pt x="86" y="44"/>
                      <a:pt x="87" y="46"/>
                      <a:pt x="87" y="47"/>
                    </a:cubicBezTo>
                    <a:cubicBezTo>
                      <a:pt x="85" y="46"/>
                      <a:pt x="82" y="46"/>
                      <a:pt x="80" y="46"/>
                    </a:cubicBezTo>
                    <a:cubicBezTo>
                      <a:pt x="80" y="46"/>
                      <a:pt x="80" y="46"/>
                      <a:pt x="79" y="46"/>
                    </a:cubicBezTo>
                    <a:cubicBezTo>
                      <a:pt x="78" y="46"/>
                      <a:pt x="77" y="46"/>
                      <a:pt x="77" y="45"/>
                    </a:cubicBezTo>
                    <a:cubicBezTo>
                      <a:pt x="77" y="42"/>
                      <a:pt x="77" y="39"/>
                      <a:pt x="76" y="36"/>
                    </a:cubicBezTo>
                    <a:cubicBezTo>
                      <a:pt x="76" y="36"/>
                      <a:pt x="76" y="35"/>
                      <a:pt x="75" y="35"/>
                    </a:cubicBezTo>
                    <a:cubicBezTo>
                      <a:pt x="74" y="33"/>
                      <a:pt x="73" y="31"/>
                      <a:pt x="70" y="31"/>
                    </a:cubicBezTo>
                    <a:cubicBezTo>
                      <a:pt x="68" y="31"/>
                      <a:pt x="66" y="33"/>
                      <a:pt x="65" y="35"/>
                    </a:cubicBezTo>
                    <a:cubicBezTo>
                      <a:pt x="63" y="40"/>
                      <a:pt x="63" y="45"/>
                      <a:pt x="66" y="50"/>
                    </a:cubicBezTo>
                    <a:cubicBezTo>
                      <a:pt x="66" y="51"/>
                      <a:pt x="67" y="52"/>
                      <a:pt x="67" y="52"/>
                    </a:cubicBezTo>
                    <a:cubicBezTo>
                      <a:pt x="68" y="51"/>
                      <a:pt x="69" y="51"/>
                      <a:pt x="69" y="50"/>
                    </a:cubicBezTo>
                    <a:cubicBezTo>
                      <a:pt x="68" y="49"/>
                      <a:pt x="67" y="48"/>
                      <a:pt x="67" y="48"/>
                    </a:cubicBezTo>
                    <a:cubicBezTo>
                      <a:pt x="65" y="45"/>
                      <a:pt x="65" y="43"/>
                      <a:pt x="66" y="40"/>
                    </a:cubicBezTo>
                    <a:cubicBezTo>
                      <a:pt x="67" y="38"/>
                      <a:pt x="70" y="37"/>
                      <a:pt x="72" y="38"/>
                    </a:cubicBezTo>
                    <a:cubicBezTo>
                      <a:pt x="74" y="40"/>
                      <a:pt x="74" y="42"/>
                      <a:pt x="75" y="45"/>
                    </a:cubicBezTo>
                    <a:cubicBezTo>
                      <a:pt x="75" y="46"/>
                      <a:pt x="74" y="48"/>
                      <a:pt x="73" y="49"/>
                    </a:cubicBezTo>
                    <a:cubicBezTo>
                      <a:pt x="72" y="49"/>
                      <a:pt x="72" y="49"/>
                      <a:pt x="72" y="49"/>
                    </a:cubicBezTo>
                    <a:cubicBezTo>
                      <a:pt x="70" y="51"/>
                      <a:pt x="68" y="53"/>
                      <a:pt x="66" y="54"/>
                    </a:cubicBezTo>
                    <a:cubicBezTo>
                      <a:pt x="65" y="55"/>
                      <a:pt x="64" y="56"/>
                      <a:pt x="64" y="57"/>
                    </a:cubicBezTo>
                    <a:cubicBezTo>
                      <a:pt x="63" y="58"/>
                      <a:pt x="64" y="59"/>
                      <a:pt x="65" y="60"/>
                    </a:cubicBezTo>
                    <a:cubicBezTo>
                      <a:pt x="66" y="61"/>
                      <a:pt x="67" y="62"/>
                      <a:pt x="68" y="63"/>
                    </a:cubicBezTo>
                    <a:cubicBezTo>
                      <a:pt x="70" y="66"/>
                      <a:pt x="74" y="67"/>
                      <a:pt x="77" y="67"/>
                    </a:cubicBezTo>
                    <a:cubicBezTo>
                      <a:pt x="82" y="67"/>
                      <a:pt x="86" y="65"/>
                      <a:pt x="90" y="64"/>
                    </a:cubicBezTo>
                    <a:cubicBezTo>
                      <a:pt x="94" y="63"/>
                      <a:pt x="98" y="62"/>
                      <a:pt x="101" y="59"/>
                    </a:cubicBezTo>
                    <a:cubicBezTo>
                      <a:pt x="101" y="58"/>
                      <a:pt x="102" y="58"/>
                      <a:pt x="102" y="59"/>
                    </a:cubicBezTo>
                    <a:cubicBezTo>
                      <a:pt x="103" y="59"/>
                      <a:pt x="103" y="60"/>
                      <a:pt x="103" y="61"/>
                    </a:cubicBezTo>
                    <a:cubicBezTo>
                      <a:pt x="103" y="61"/>
                      <a:pt x="102" y="61"/>
                      <a:pt x="101" y="62"/>
                    </a:cubicBezTo>
                    <a:cubicBezTo>
                      <a:pt x="96" y="64"/>
                      <a:pt x="91" y="66"/>
                      <a:pt x="86" y="68"/>
                    </a:cubicBezTo>
                    <a:cubicBezTo>
                      <a:pt x="82" y="69"/>
                      <a:pt x="78" y="70"/>
                      <a:pt x="74" y="69"/>
                    </a:cubicBezTo>
                    <a:cubicBezTo>
                      <a:pt x="73" y="69"/>
                      <a:pt x="72" y="69"/>
                      <a:pt x="71" y="69"/>
                    </a:cubicBezTo>
                    <a:close/>
                    <a:moveTo>
                      <a:pt x="73" y="45"/>
                    </a:moveTo>
                    <a:cubicBezTo>
                      <a:pt x="73" y="44"/>
                      <a:pt x="73" y="42"/>
                      <a:pt x="71" y="40"/>
                    </a:cubicBezTo>
                    <a:cubicBezTo>
                      <a:pt x="71" y="40"/>
                      <a:pt x="71" y="40"/>
                      <a:pt x="70" y="40"/>
                    </a:cubicBezTo>
                    <a:cubicBezTo>
                      <a:pt x="70" y="41"/>
                      <a:pt x="70" y="41"/>
                      <a:pt x="70" y="41"/>
                    </a:cubicBezTo>
                    <a:cubicBezTo>
                      <a:pt x="72" y="42"/>
                      <a:pt x="71" y="43"/>
                      <a:pt x="71" y="44"/>
                    </a:cubicBezTo>
                    <a:cubicBezTo>
                      <a:pt x="71" y="45"/>
                      <a:pt x="71" y="46"/>
                      <a:pt x="73" y="45"/>
                    </a:cubicBezTo>
                    <a:close/>
                    <a:moveTo>
                      <a:pt x="97" y="40"/>
                    </a:moveTo>
                    <a:cubicBezTo>
                      <a:pt x="99" y="41"/>
                      <a:pt x="99" y="42"/>
                      <a:pt x="100" y="44"/>
                    </a:cubicBezTo>
                    <a:cubicBezTo>
                      <a:pt x="100" y="44"/>
                      <a:pt x="101" y="43"/>
                      <a:pt x="101" y="43"/>
                    </a:cubicBezTo>
                    <a:cubicBezTo>
                      <a:pt x="101" y="42"/>
                      <a:pt x="100" y="41"/>
                      <a:pt x="99" y="40"/>
                    </a:cubicBezTo>
                    <a:cubicBezTo>
                      <a:pt x="98" y="39"/>
                      <a:pt x="97"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9" name="Freeform 337"/>
              <p:cNvSpPr>
                <a:spLocks/>
              </p:cNvSpPr>
              <p:nvPr userDrawn="1"/>
            </p:nvSpPr>
            <p:spPr bwMode="auto">
              <a:xfrm>
                <a:off x="4080" y="1518"/>
                <a:ext cx="3" cy="4"/>
              </a:xfrm>
              <a:custGeom>
                <a:avLst/>
                <a:gdLst>
                  <a:gd name="T0" fmla="*/ 2 w 2"/>
                  <a:gd name="T1" fmla="*/ 0 h 3"/>
                  <a:gd name="T2" fmla="*/ 1 w 2"/>
                  <a:gd name="T3" fmla="*/ 2 h 3"/>
                  <a:gd name="T4" fmla="*/ 0 w 2"/>
                  <a:gd name="T5" fmla="*/ 3 h 3"/>
                  <a:gd name="T6" fmla="*/ 0 w 2"/>
                  <a:gd name="T7" fmla="*/ 1 h 3"/>
                  <a:gd name="T8" fmla="*/ 2 w 2"/>
                  <a:gd name="T9" fmla="*/ 0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cubicBezTo>
                      <a:pt x="2" y="1"/>
                      <a:pt x="1" y="2"/>
                      <a:pt x="1" y="2"/>
                    </a:cubicBezTo>
                    <a:cubicBezTo>
                      <a:pt x="1" y="2"/>
                      <a:pt x="0" y="2"/>
                      <a:pt x="0" y="3"/>
                    </a:cubicBezTo>
                    <a:cubicBezTo>
                      <a:pt x="0" y="2"/>
                      <a:pt x="0" y="1"/>
                      <a:pt x="0" y="1"/>
                    </a:cubicBezTo>
                    <a:cubicBezTo>
                      <a:pt x="0"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0" name="Freeform 338"/>
              <p:cNvSpPr>
                <a:spLocks/>
              </p:cNvSpPr>
              <p:nvPr userDrawn="1"/>
            </p:nvSpPr>
            <p:spPr bwMode="auto">
              <a:xfrm>
                <a:off x="4093" y="1518"/>
                <a:ext cx="3" cy="3"/>
              </a:xfrm>
              <a:custGeom>
                <a:avLst/>
                <a:gdLst>
                  <a:gd name="T0" fmla="*/ 0 w 3"/>
                  <a:gd name="T1" fmla="*/ 0 h 2"/>
                  <a:gd name="T2" fmla="*/ 3 w 3"/>
                  <a:gd name="T3" fmla="*/ 1 h 2"/>
                  <a:gd name="T4" fmla="*/ 3 w 3"/>
                  <a:gd name="T5" fmla="*/ 2 h 2"/>
                  <a:gd name="T6" fmla="*/ 2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1"/>
                    </a:cubicBezTo>
                    <a:cubicBezTo>
                      <a:pt x="3" y="1"/>
                      <a:pt x="3" y="1"/>
                      <a:pt x="3" y="2"/>
                    </a:cubicBezTo>
                    <a:cubicBezTo>
                      <a:pt x="3" y="2"/>
                      <a:pt x="2" y="2"/>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1" name="Freeform 339"/>
              <p:cNvSpPr>
                <a:spLocks/>
              </p:cNvSpPr>
              <p:nvPr userDrawn="1"/>
            </p:nvSpPr>
            <p:spPr bwMode="auto">
              <a:xfrm>
                <a:off x="2044"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3"/>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2" name="Freeform 340"/>
              <p:cNvSpPr>
                <a:spLocks noEditPoints="1"/>
              </p:cNvSpPr>
              <p:nvPr userDrawn="1"/>
            </p:nvSpPr>
            <p:spPr bwMode="auto">
              <a:xfrm>
                <a:off x="2193"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3" name="Freeform 341"/>
              <p:cNvSpPr>
                <a:spLocks noEditPoints="1"/>
              </p:cNvSpPr>
              <p:nvPr userDrawn="1"/>
            </p:nvSpPr>
            <p:spPr bwMode="auto">
              <a:xfrm>
                <a:off x="2388"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4" name="Freeform 342"/>
              <p:cNvSpPr>
                <a:spLocks/>
              </p:cNvSpPr>
              <p:nvPr userDrawn="1"/>
            </p:nvSpPr>
            <p:spPr bwMode="auto">
              <a:xfrm>
                <a:off x="2813"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5" name="Freeform 343"/>
              <p:cNvSpPr>
                <a:spLocks noEditPoints="1"/>
              </p:cNvSpPr>
              <p:nvPr userDrawn="1"/>
            </p:nvSpPr>
            <p:spPr bwMode="auto">
              <a:xfrm>
                <a:off x="2960"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6" name="Freeform 344"/>
              <p:cNvSpPr>
                <a:spLocks/>
              </p:cNvSpPr>
              <p:nvPr userDrawn="1"/>
            </p:nvSpPr>
            <p:spPr bwMode="auto">
              <a:xfrm>
                <a:off x="3159"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3"/>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7" name="Freeform 345"/>
              <p:cNvSpPr>
                <a:spLocks/>
              </p:cNvSpPr>
              <p:nvPr userDrawn="1"/>
            </p:nvSpPr>
            <p:spPr bwMode="auto">
              <a:xfrm>
                <a:off x="3308" y="183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3"/>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8" name="Freeform 346"/>
              <p:cNvSpPr>
                <a:spLocks noEditPoints="1"/>
              </p:cNvSpPr>
              <p:nvPr userDrawn="1"/>
            </p:nvSpPr>
            <p:spPr bwMode="auto">
              <a:xfrm>
                <a:off x="3456" y="1833"/>
                <a:ext cx="155" cy="248"/>
              </a:xfrm>
              <a:custGeom>
                <a:avLst/>
                <a:gdLst>
                  <a:gd name="T0" fmla="*/ 127 w 127"/>
                  <a:gd name="T1" fmla="*/ 101 h 203"/>
                  <a:gd name="T2" fmla="*/ 123 w 127"/>
                  <a:gd name="T3" fmla="*/ 144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9" name="Freeform 347"/>
              <p:cNvSpPr>
                <a:spLocks/>
              </p:cNvSpPr>
              <p:nvPr userDrawn="1"/>
            </p:nvSpPr>
            <p:spPr bwMode="auto">
              <a:xfrm>
                <a:off x="3654"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0" name="Freeform 348"/>
              <p:cNvSpPr>
                <a:spLocks noEditPoints="1"/>
              </p:cNvSpPr>
              <p:nvPr userDrawn="1"/>
            </p:nvSpPr>
            <p:spPr bwMode="auto">
              <a:xfrm>
                <a:off x="380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1" name="Freeform 349"/>
              <p:cNvSpPr>
                <a:spLocks noEditPoints="1"/>
              </p:cNvSpPr>
              <p:nvPr userDrawn="1"/>
            </p:nvSpPr>
            <p:spPr bwMode="auto">
              <a:xfrm>
                <a:off x="3996"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2" name="Freeform 350"/>
              <p:cNvSpPr>
                <a:spLocks noEditPoints="1"/>
              </p:cNvSpPr>
              <p:nvPr userDrawn="1"/>
            </p:nvSpPr>
            <p:spPr bwMode="auto">
              <a:xfrm>
                <a:off x="419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3" name="Freeform 351"/>
              <p:cNvSpPr>
                <a:spLocks/>
              </p:cNvSpPr>
              <p:nvPr userDrawn="1"/>
            </p:nvSpPr>
            <p:spPr bwMode="auto">
              <a:xfrm>
                <a:off x="4389"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9" y="48"/>
                      <a:pt x="14" y="50"/>
                    </a:cubicBezTo>
                    <a:cubicBezTo>
                      <a:pt x="9" y="52"/>
                      <a:pt x="5" y="53"/>
                      <a:pt x="0" y="55"/>
                    </a:cubicBezTo>
                    <a:cubicBezTo>
                      <a:pt x="0" y="32"/>
                      <a:pt x="0" y="32"/>
                      <a:pt x="0" y="32"/>
                    </a:cubicBezTo>
                    <a:cubicBezTo>
                      <a:pt x="5" y="31"/>
                      <a:pt x="11" y="29"/>
                      <a:pt x="16" y="26"/>
                    </a:cubicBezTo>
                    <a:cubicBezTo>
                      <a:pt x="22"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4" name="Freeform 352"/>
              <p:cNvSpPr>
                <a:spLocks noEditPoints="1"/>
              </p:cNvSpPr>
              <p:nvPr userDrawn="1"/>
            </p:nvSpPr>
            <p:spPr bwMode="auto">
              <a:xfrm>
                <a:off x="4537"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2" y="73"/>
                      <a:pt x="4" y="60"/>
                    </a:cubicBezTo>
                    <a:cubicBezTo>
                      <a:pt x="7" y="47"/>
                      <a:pt x="11" y="36"/>
                      <a:pt x="17" y="27"/>
                    </a:cubicBezTo>
                    <a:cubicBezTo>
                      <a:pt x="23" y="18"/>
                      <a:pt x="29"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5" name="Freeform 353"/>
              <p:cNvSpPr>
                <a:spLocks noEditPoints="1"/>
              </p:cNvSpPr>
              <p:nvPr userDrawn="1"/>
            </p:nvSpPr>
            <p:spPr bwMode="auto">
              <a:xfrm>
                <a:off x="4723" y="1838"/>
                <a:ext cx="187" cy="219"/>
              </a:xfrm>
              <a:custGeom>
                <a:avLst/>
                <a:gdLst>
                  <a:gd name="T0" fmla="*/ 187 w 187"/>
                  <a:gd name="T1" fmla="*/ 67 h 219"/>
                  <a:gd name="T2" fmla="*/ 184 w 187"/>
                  <a:gd name="T3" fmla="*/ 84 h 219"/>
                  <a:gd name="T4" fmla="*/ 141 w 187"/>
                  <a:gd name="T5" fmla="*/ 84 h 219"/>
                  <a:gd name="T6" fmla="*/ 130 w 187"/>
                  <a:gd name="T7" fmla="*/ 135 h 219"/>
                  <a:gd name="T8" fmla="*/ 176 w 187"/>
                  <a:gd name="T9" fmla="*/ 135 h 219"/>
                  <a:gd name="T10" fmla="*/ 173 w 187"/>
                  <a:gd name="T11" fmla="*/ 153 h 219"/>
                  <a:gd name="T12" fmla="*/ 126 w 187"/>
                  <a:gd name="T13" fmla="*/ 153 h 219"/>
                  <a:gd name="T14" fmla="*/ 112 w 187"/>
                  <a:gd name="T15" fmla="*/ 219 h 219"/>
                  <a:gd name="T16" fmla="*/ 91 w 187"/>
                  <a:gd name="T17" fmla="*/ 219 h 219"/>
                  <a:gd name="T18" fmla="*/ 106 w 187"/>
                  <a:gd name="T19" fmla="*/ 153 h 219"/>
                  <a:gd name="T20" fmla="*/ 64 w 187"/>
                  <a:gd name="T21" fmla="*/ 153 h 219"/>
                  <a:gd name="T22" fmla="*/ 50 w 187"/>
                  <a:gd name="T23" fmla="*/ 219 h 219"/>
                  <a:gd name="T24" fmla="*/ 29 w 187"/>
                  <a:gd name="T25" fmla="*/ 219 h 219"/>
                  <a:gd name="T26" fmla="*/ 42 w 187"/>
                  <a:gd name="T27" fmla="*/ 153 h 219"/>
                  <a:gd name="T28" fmla="*/ 0 w 187"/>
                  <a:gd name="T29" fmla="*/ 153 h 219"/>
                  <a:gd name="T30" fmla="*/ 2 w 187"/>
                  <a:gd name="T31" fmla="*/ 135 h 219"/>
                  <a:gd name="T32" fmla="*/ 47 w 187"/>
                  <a:gd name="T33" fmla="*/ 135 h 219"/>
                  <a:gd name="T34" fmla="*/ 57 w 187"/>
                  <a:gd name="T35" fmla="*/ 84 h 219"/>
                  <a:gd name="T36" fmla="*/ 11 w 187"/>
                  <a:gd name="T37" fmla="*/ 84 h 219"/>
                  <a:gd name="T38" fmla="*/ 14 w 187"/>
                  <a:gd name="T39" fmla="*/ 67 h 219"/>
                  <a:gd name="T40" fmla="*/ 61 w 187"/>
                  <a:gd name="T41" fmla="*/ 67 h 219"/>
                  <a:gd name="T42" fmla="*/ 74 w 187"/>
                  <a:gd name="T43" fmla="*/ 0 h 219"/>
                  <a:gd name="T44" fmla="*/ 95 w 187"/>
                  <a:gd name="T45" fmla="*/ 0 h 219"/>
                  <a:gd name="T46" fmla="*/ 81 w 187"/>
                  <a:gd name="T47" fmla="*/ 67 h 219"/>
                  <a:gd name="T48" fmla="*/ 123 w 187"/>
                  <a:gd name="T49" fmla="*/ 67 h 219"/>
                  <a:gd name="T50" fmla="*/ 137 w 187"/>
                  <a:gd name="T51" fmla="*/ 0 h 219"/>
                  <a:gd name="T52" fmla="*/ 158 w 187"/>
                  <a:gd name="T53" fmla="*/ 0 h 219"/>
                  <a:gd name="T54" fmla="*/ 145 w 187"/>
                  <a:gd name="T55" fmla="*/ 67 h 219"/>
                  <a:gd name="T56" fmla="*/ 187 w 187"/>
                  <a:gd name="T57" fmla="*/ 67 h 219"/>
                  <a:gd name="T58" fmla="*/ 120 w 187"/>
                  <a:gd name="T59" fmla="*/ 84 h 219"/>
                  <a:gd name="T60" fmla="*/ 78 w 187"/>
                  <a:gd name="T61" fmla="*/ 84 h 219"/>
                  <a:gd name="T62" fmla="*/ 67 w 187"/>
                  <a:gd name="T63" fmla="*/ 135 h 219"/>
                  <a:gd name="T64" fmla="*/ 109 w 187"/>
                  <a:gd name="T65" fmla="*/ 135 h 219"/>
                  <a:gd name="T66" fmla="*/ 120 w 187"/>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219">
                    <a:moveTo>
                      <a:pt x="187" y="67"/>
                    </a:moveTo>
                    <a:lnTo>
                      <a:pt x="184" y="84"/>
                    </a:lnTo>
                    <a:lnTo>
                      <a:pt x="141" y="84"/>
                    </a:lnTo>
                    <a:lnTo>
                      <a:pt x="130" y="135"/>
                    </a:lnTo>
                    <a:lnTo>
                      <a:pt x="176" y="135"/>
                    </a:lnTo>
                    <a:lnTo>
                      <a:pt x="173" y="153"/>
                    </a:lnTo>
                    <a:lnTo>
                      <a:pt x="126" y="153"/>
                    </a:lnTo>
                    <a:lnTo>
                      <a:pt x="112" y="219"/>
                    </a:lnTo>
                    <a:lnTo>
                      <a:pt x="91" y="219"/>
                    </a:lnTo>
                    <a:lnTo>
                      <a:pt x="106" y="153"/>
                    </a:lnTo>
                    <a:lnTo>
                      <a:pt x="64" y="153"/>
                    </a:lnTo>
                    <a:lnTo>
                      <a:pt x="50" y="219"/>
                    </a:lnTo>
                    <a:lnTo>
                      <a:pt x="29" y="219"/>
                    </a:lnTo>
                    <a:lnTo>
                      <a:pt x="42" y="153"/>
                    </a:lnTo>
                    <a:lnTo>
                      <a:pt x="0" y="153"/>
                    </a:lnTo>
                    <a:lnTo>
                      <a:pt x="2" y="135"/>
                    </a:lnTo>
                    <a:lnTo>
                      <a:pt x="47" y="135"/>
                    </a:lnTo>
                    <a:lnTo>
                      <a:pt x="57" y="84"/>
                    </a:lnTo>
                    <a:lnTo>
                      <a:pt x="11" y="84"/>
                    </a:lnTo>
                    <a:lnTo>
                      <a:pt x="14" y="67"/>
                    </a:lnTo>
                    <a:lnTo>
                      <a:pt x="61" y="67"/>
                    </a:lnTo>
                    <a:lnTo>
                      <a:pt x="74" y="0"/>
                    </a:lnTo>
                    <a:lnTo>
                      <a:pt x="95" y="0"/>
                    </a:lnTo>
                    <a:lnTo>
                      <a:pt x="81" y="67"/>
                    </a:lnTo>
                    <a:lnTo>
                      <a:pt x="123" y="67"/>
                    </a:lnTo>
                    <a:lnTo>
                      <a:pt x="137" y="0"/>
                    </a:lnTo>
                    <a:lnTo>
                      <a:pt x="158" y="0"/>
                    </a:lnTo>
                    <a:lnTo>
                      <a:pt x="145" y="67"/>
                    </a:lnTo>
                    <a:lnTo>
                      <a:pt x="187" y="67"/>
                    </a:lnTo>
                    <a:close/>
                    <a:moveTo>
                      <a:pt x="120" y="84"/>
                    </a:moveTo>
                    <a:lnTo>
                      <a:pt x="78" y="84"/>
                    </a:lnTo>
                    <a:lnTo>
                      <a:pt x="67" y="135"/>
                    </a:lnTo>
                    <a:lnTo>
                      <a:pt x="109" y="135"/>
                    </a:lnTo>
                    <a:lnTo>
                      <a:pt x="12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6" name="Freeform 354"/>
              <p:cNvSpPr>
                <a:spLocks noEditPoints="1"/>
              </p:cNvSpPr>
              <p:nvPr userDrawn="1"/>
            </p:nvSpPr>
            <p:spPr bwMode="auto">
              <a:xfrm>
                <a:off x="4940"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7" name="Freeform 355"/>
              <p:cNvSpPr>
                <a:spLocks/>
              </p:cNvSpPr>
              <p:nvPr userDrawn="1"/>
            </p:nvSpPr>
            <p:spPr bwMode="auto">
              <a:xfrm>
                <a:off x="5137" y="183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3"/>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8" name="Freeform 356"/>
              <p:cNvSpPr>
                <a:spLocks noEditPoints="1"/>
              </p:cNvSpPr>
              <p:nvPr userDrawn="1"/>
            </p:nvSpPr>
            <p:spPr bwMode="auto">
              <a:xfrm>
                <a:off x="5286" y="1833"/>
                <a:ext cx="154" cy="248"/>
              </a:xfrm>
              <a:custGeom>
                <a:avLst/>
                <a:gdLst>
                  <a:gd name="T0" fmla="*/ 127 w 127"/>
                  <a:gd name="T1" fmla="*/ 101 h 203"/>
                  <a:gd name="T2" fmla="*/ 123 w 127"/>
                  <a:gd name="T3" fmla="*/ 144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4" y="185"/>
                      <a:pt x="97" y="192"/>
                      <a:pt x="89" y="196"/>
                    </a:cubicBezTo>
                    <a:cubicBezTo>
                      <a:pt x="81" y="201"/>
                      <a:pt x="72" y="203"/>
                      <a:pt x="62" y="203"/>
                    </a:cubicBezTo>
                    <a:cubicBezTo>
                      <a:pt x="52" y="203"/>
                      <a:pt x="43" y="201"/>
                      <a:pt x="35" y="197"/>
                    </a:cubicBezTo>
                    <a:cubicBezTo>
                      <a:pt x="27"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5"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9" name="Freeform 357"/>
              <p:cNvSpPr>
                <a:spLocks/>
              </p:cNvSpPr>
              <p:nvPr userDrawn="1"/>
            </p:nvSpPr>
            <p:spPr bwMode="auto">
              <a:xfrm>
                <a:off x="5483"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0" name="Freeform 358"/>
              <p:cNvSpPr>
                <a:spLocks noEditPoints="1"/>
              </p:cNvSpPr>
              <p:nvPr userDrawn="1"/>
            </p:nvSpPr>
            <p:spPr bwMode="auto">
              <a:xfrm>
                <a:off x="563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9"/>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1" name="Freeform 359"/>
              <p:cNvSpPr>
                <a:spLocks/>
              </p:cNvSpPr>
              <p:nvPr userDrawn="1"/>
            </p:nvSpPr>
            <p:spPr bwMode="auto">
              <a:xfrm>
                <a:off x="5828"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3"/>
                      <a:pt x="0" y="55"/>
                    </a:cubicBezTo>
                    <a:cubicBezTo>
                      <a:pt x="0" y="32"/>
                      <a:pt x="0" y="32"/>
                      <a:pt x="0" y="32"/>
                    </a:cubicBezTo>
                    <a:cubicBezTo>
                      <a:pt x="5" y="31"/>
                      <a:pt x="11" y="29"/>
                      <a:pt x="16" y="26"/>
                    </a:cubicBezTo>
                    <a:cubicBezTo>
                      <a:pt x="22"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2" name="Freeform 360"/>
              <p:cNvSpPr>
                <a:spLocks noEditPoints="1"/>
              </p:cNvSpPr>
              <p:nvPr userDrawn="1"/>
            </p:nvSpPr>
            <p:spPr bwMode="auto">
              <a:xfrm>
                <a:off x="5977"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3" name="Freeform 361"/>
              <p:cNvSpPr>
                <a:spLocks noEditPoints="1"/>
              </p:cNvSpPr>
              <p:nvPr userDrawn="1"/>
            </p:nvSpPr>
            <p:spPr bwMode="auto">
              <a:xfrm>
                <a:off x="6172"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4" name="Freeform 362"/>
              <p:cNvSpPr>
                <a:spLocks noEditPoints="1"/>
              </p:cNvSpPr>
              <p:nvPr userDrawn="1"/>
            </p:nvSpPr>
            <p:spPr bwMode="auto">
              <a:xfrm>
                <a:off x="6356" y="1838"/>
                <a:ext cx="189" cy="219"/>
              </a:xfrm>
              <a:custGeom>
                <a:avLst/>
                <a:gdLst>
                  <a:gd name="T0" fmla="*/ 189 w 189"/>
                  <a:gd name="T1" fmla="*/ 67 h 219"/>
                  <a:gd name="T2" fmla="*/ 185 w 189"/>
                  <a:gd name="T3" fmla="*/ 84 h 219"/>
                  <a:gd name="T4" fmla="*/ 142 w 189"/>
                  <a:gd name="T5" fmla="*/ 84 h 219"/>
                  <a:gd name="T6" fmla="*/ 131 w 189"/>
                  <a:gd name="T7" fmla="*/ 135 h 219"/>
                  <a:gd name="T8" fmla="*/ 178 w 189"/>
                  <a:gd name="T9" fmla="*/ 135 h 219"/>
                  <a:gd name="T10" fmla="*/ 174 w 189"/>
                  <a:gd name="T11" fmla="*/ 153 h 219"/>
                  <a:gd name="T12" fmla="*/ 128 w 189"/>
                  <a:gd name="T13" fmla="*/ 153 h 219"/>
                  <a:gd name="T14" fmla="*/ 113 w 189"/>
                  <a:gd name="T15" fmla="*/ 219 h 219"/>
                  <a:gd name="T16" fmla="*/ 92 w 189"/>
                  <a:gd name="T17" fmla="*/ 219 h 219"/>
                  <a:gd name="T18" fmla="*/ 107 w 189"/>
                  <a:gd name="T19" fmla="*/ 153 h 219"/>
                  <a:gd name="T20" fmla="*/ 64 w 189"/>
                  <a:gd name="T21" fmla="*/ 153 h 219"/>
                  <a:gd name="T22" fmla="*/ 51 w 189"/>
                  <a:gd name="T23" fmla="*/ 219 h 219"/>
                  <a:gd name="T24" fmla="*/ 30 w 189"/>
                  <a:gd name="T25" fmla="*/ 219 h 219"/>
                  <a:gd name="T26" fmla="*/ 44 w 189"/>
                  <a:gd name="T27" fmla="*/ 153 h 219"/>
                  <a:gd name="T28" fmla="*/ 0 w 189"/>
                  <a:gd name="T29" fmla="*/ 153 h 219"/>
                  <a:gd name="T30" fmla="*/ 3 w 189"/>
                  <a:gd name="T31" fmla="*/ 135 h 219"/>
                  <a:gd name="T32" fmla="*/ 47 w 189"/>
                  <a:gd name="T33" fmla="*/ 135 h 219"/>
                  <a:gd name="T34" fmla="*/ 58 w 189"/>
                  <a:gd name="T35" fmla="*/ 84 h 219"/>
                  <a:gd name="T36" fmla="*/ 12 w 189"/>
                  <a:gd name="T37" fmla="*/ 84 h 219"/>
                  <a:gd name="T38" fmla="*/ 15 w 189"/>
                  <a:gd name="T39" fmla="*/ 67 h 219"/>
                  <a:gd name="T40" fmla="*/ 62 w 189"/>
                  <a:gd name="T41" fmla="*/ 67 h 219"/>
                  <a:gd name="T42" fmla="*/ 75 w 189"/>
                  <a:gd name="T43" fmla="*/ 0 h 219"/>
                  <a:gd name="T44" fmla="*/ 96 w 189"/>
                  <a:gd name="T45" fmla="*/ 0 h 219"/>
                  <a:gd name="T46" fmla="*/ 83 w 189"/>
                  <a:gd name="T47" fmla="*/ 67 h 219"/>
                  <a:gd name="T48" fmla="*/ 124 w 189"/>
                  <a:gd name="T49" fmla="*/ 67 h 219"/>
                  <a:gd name="T50" fmla="*/ 139 w 189"/>
                  <a:gd name="T51" fmla="*/ 0 h 219"/>
                  <a:gd name="T52" fmla="*/ 159 w 189"/>
                  <a:gd name="T53" fmla="*/ 0 h 219"/>
                  <a:gd name="T54" fmla="*/ 145 w 189"/>
                  <a:gd name="T55" fmla="*/ 67 h 219"/>
                  <a:gd name="T56" fmla="*/ 189 w 189"/>
                  <a:gd name="T57" fmla="*/ 67 h 219"/>
                  <a:gd name="T58" fmla="*/ 122 w 189"/>
                  <a:gd name="T59" fmla="*/ 84 h 219"/>
                  <a:gd name="T60" fmla="*/ 79 w 189"/>
                  <a:gd name="T61" fmla="*/ 84 h 219"/>
                  <a:gd name="T62" fmla="*/ 68 w 189"/>
                  <a:gd name="T63" fmla="*/ 135 h 219"/>
                  <a:gd name="T64" fmla="*/ 111 w 189"/>
                  <a:gd name="T65" fmla="*/ 135 h 219"/>
                  <a:gd name="T66" fmla="*/ 122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5" y="84"/>
                    </a:lnTo>
                    <a:lnTo>
                      <a:pt x="142" y="84"/>
                    </a:lnTo>
                    <a:lnTo>
                      <a:pt x="131" y="135"/>
                    </a:lnTo>
                    <a:lnTo>
                      <a:pt x="178" y="135"/>
                    </a:lnTo>
                    <a:lnTo>
                      <a:pt x="174" y="153"/>
                    </a:lnTo>
                    <a:lnTo>
                      <a:pt x="128" y="153"/>
                    </a:lnTo>
                    <a:lnTo>
                      <a:pt x="113" y="219"/>
                    </a:lnTo>
                    <a:lnTo>
                      <a:pt x="92" y="219"/>
                    </a:lnTo>
                    <a:lnTo>
                      <a:pt x="107" y="153"/>
                    </a:lnTo>
                    <a:lnTo>
                      <a:pt x="64" y="153"/>
                    </a:lnTo>
                    <a:lnTo>
                      <a:pt x="51" y="219"/>
                    </a:lnTo>
                    <a:lnTo>
                      <a:pt x="30" y="219"/>
                    </a:lnTo>
                    <a:lnTo>
                      <a:pt x="44" y="153"/>
                    </a:lnTo>
                    <a:lnTo>
                      <a:pt x="0" y="153"/>
                    </a:lnTo>
                    <a:lnTo>
                      <a:pt x="3" y="135"/>
                    </a:lnTo>
                    <a:lnTo>
                      <a:pt x="47" y="135"/>
                    </a:lnTo>
                    <a:lnTo>
                      <a:pt x="58" y="84"/>
                    </a:lnTo>
                    <a:lnTo>
                      <a:pt x="12" y="84"/>
                    </a:lnTo>
                    <a:lnTo>
                      <a:pt x="15" y="67"/>
                    </a:lnTo>
                    <a:lnTo>
                      <a:pt x="62" y="67"/>
                    </a:lnTo>
                    <a:lnTo>
                      <a:pt x="75" y="0"/>
                    </a:lnTo>
                    <a:lnTo>
                      <a:pt x="96" y="0"/>
                    </a:lnTo>
                    <a:lnTo>
                      <a:pt x="83" y="67"/>
                    </a:lnTo>
                    <a:lnTo>
                      <a:pt x="124" y="67"/>
                    </a:lnTo>
                    <a:lnTo>
                      <a:pt x="139" y="0"/>
                    </a:lnTo>
                    <a:lnTo>
                      <a:pt x="159" y="0"/>
                    </a:lnTo>
                    <a:lnTo>
                      <a:pt x="145" y="67"/>
                    </a:lnTo>
                    <a:lnTo>
                      <a:pt x="189" y="67"/>
                    </a:lnTo>
                    <a:close/>
                    <a:moveTo>
                      <a:pt x="122" y="84"/>
                    </a:moveTo>
                    <a:lnTo>
                      <a:pt x="79" y="84"/>
                    </a:lnTo>
                    <a:lnTo>
                      <a:pt x="68" y="135"/>
                    </a:lnTo>
                    <a:lnTo>
                      <a:pt x="111" y="135"/>
                    </a:lnTo>
                    <a:lnTo>
                      <a:pt x="12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5" name="Freeform 363"/>
              <p:cNvSpPr>
                <a:spLocks noEditPoints="1"/>
              </p:cNvSpPr>
              <p:nvPr userDrawn="1"/>
            </p:nvSpPr>
            <p:spPr bwMode="auto">
              <a:xfrm>
                <a:off x="6574" y="1833"/>
                <a:ext cx="155" cy="248"/>
              </a:xfrm>
              <a:custGeom>
                <a:avLst/>
                <a:gdLst>
                  <a:gd name="T0" fmla="*/ 127 w 127"/>
                  <a:gd name="T1" fmla="*/ 101 h 203"/>
                  <a:gd name="T2" fmla="*/ 123 w 127"/>
                  <a:gd name="T3" fmla="*/ 144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6" name="Freeform 364"/>
              <p:cNvSpPr>
                <a:spLocks noEditPoints="1"/>
              </p:cNvSpPr>
              <p:nvPr userDrawn="1"/>
            </p:nvSpPr>
            <p:spPr bwMode="auto">
              <a:xfrm>
                <a:off x="6769" y="1833"/>
                <a:ext cx="155" cy="248"/>
              </a:xfrm>
              <a:custGeom>
                <a:avLst/>
                <a:gdLst>
                  <a:gd name="T0" fmla="*/ 127 w 127"/>
                  <a:gd name="T1" fmla="*/ 101 h 203"/>
                  <a:gd name="T2" fmla="*/ 123 w 127"/>
                  <a:gd name="T3" fmla="*/ 144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7" name="Freeform 365"/>
              <p:cNvSpPr>
                <a:spLocks/>
              </p:cNvSpPr>
              <p:nvPr userDrawn="1"/>
            </p:nvSpPr>
            <p:spPr bwMode="auto">
              <a:xfrm>
                <a:off x="6966"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8" name="Freeform 366"/>
              <p:cNvSpPr>
                <a:spLocks noEditPoints="1"/>
              </p:cNvSpPr>
              <p:nvPr userDrawn="1"/>
            </p:nvSpPr>
            <p:spPr bwMode="auto">
              <a:xfrm>
                <a:off x="7114"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9" name="Freeform 367"/>
              <p:cNvSpPr>
                <a:spLocks/>
              </p:cNvSpPr>
              <p:nvPr userDrawn="1"/>
            </p:nvSpPr>
            <p:spPr bwMode="auto">
              <a:xfrm>
                <a:off x="7312"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3"/>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0" name="Freeform 368"/>
              <p:cNvSpPr>
                <a:spLocks/>
              </p:cNvSpPr>
              <p:nvPr userDrawn="1"/>
            </p:nvSpPr>
            <p:spPr bwMode="auto">
              <a:xfrm>
                <a:off x="7454" y="1838"/>
                <a:ext cx="76"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3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7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3"/>
                    </a:cubicBezTo>
                    <a:cubicBezTo>
                      <a:pt x="21" y="43"/>
                      <a:pt x="21" y="43"/>
                      <a:pt x="21" y="43"/>
                    </a:cubicBezTo>
                    <a:cubicBezTo>
                      <a:pt x="21" y="14"/>
                      <a:pt x="35" y="0"/>
                      <a:pt x="63" y="0"/>
                    </a:cubicBezTo>
                    <a:cubicBezTo>
                      <a:pt x="63" y="17"/>
                      <a:pt x="63" y="17"/>
                      <a:pt x="63" y="17"/>
                    </a:cubicBezTo>
                    <a:cubicBezTo>
                      <a:pt x="49" y="18"/>
                      <a:pt x="42" y="27"/>
                      <a:pt x="42" y="44"/>
                    </a:cubicBezTo>
                    <a:cubicBezTo>
                      <a:pt x="42" y="84"/>
                      <a:pt x="42" y="84"/>
                      <a:pt x="42" y="84"/>
                    </a:cubicBezTo>
                    <a:cubicBezTo>
                      <a:pt x="42" y="103"/>
                      <a:pt x="35" y="115"/>
                      <a:pt x="21" y="120"/>
                    </a:cubicBezTo>
                    <a:cubicBezTo>
                      <a:pt x="21" y="120"/>
                      <a:pt x="21" y="120"/>
                      <a:pt x="21" y="120"/>
                    </a:cubicBezTo>
                    <a:cubicBezTo>
                      <a:pt x="35" y="124"/>
                      <a:pt x="42" y="136"/>
                      <a:pt x="42" y="155"/>
                    </a:cubicBezTo>
                    <a:cubicBezTo>
                      <a:pt x="42" y="195"/>
                      <a:pt x="42" y="195"/>
                      <a:pt x="42" y="195"/>
                    </a:cubicBezTo>
                    <a:cubicBezTo>
                      <a:pt x="42" y="205"/>
                      <a:pt x="43" y="212"/>
                      <a:pt x="47"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1" name="Freeform 369"/>
              <p:cNvSpPr>
                <a:spLocks/>
              </p:cNvSpPr>
              <p:nvPr userDrawn="1"/>
            </p:nvSpPr>
            <p:spPr bwMode="auto">
              <a:xfrm>
                <a:off x="7562" y="1838"/>
                <a:ext cx="77" cy="293"/>
              </a:xfrm>
              <a:custGeom>
                <a:avLst/>
                <a:gdLst>
                  <a:gd name="T0" fmla="*/ 63 w 63"/>
                  <a:gd name="T1" fmla="*/ 128 h 240"/>
                  <a:gd name="T2" fmla="*/ 41 w 63"/>
                  <a:gd name="T3" fmla="*/ 157 h 240"/>
                  <a:gd name="T4" fmla="*/ 41 w 63"/>
                  <a:gd name="T5" fmla="*/ 198 h 240"/>
                  <a:gd name="T6" fmla="*/ 0 w 63"/>
                  <a:gd name="T7" fmla="*/ 240 h 240"/>
                  <a:gd name="T8" fmla="*/ 0 w 63"/>
                  <a:gd name="T9" fmla="*/ 223 h 240"/>
                  <a:gd name="T10" fmla="*/ 16 w 63"/>
                  <a:gd name="T11" fmla="*/ 216 h 240"/>
                  <a:gd name="T12" fmla="*/ 21 w 63"/>
                  <a:gd name="T13" fmla="*/ 195 h 240"/>
                  <a:gd name="T14" fmla="*/ 21 w 63"/>
                  <a:gd name="T15" fmla="*/ 155 h 240"/>
                  <a:gd name="T16" fmla="*/ 42 w 63"/>
                  <a:gd name="T17" fmla="*/ 120 h 240"/>
                  <a:gd name="T18" fmla="*/ 42 w 63"/>
                  <a:gd name="T19" fmla="*/ 120 h 240"/>
                  <a:gd name="T20" fmla="*/ 21 w 63"/>
                  <a:gd name="T21" fmla="*/ 84 h 240"/>
                  <a:gd name="T22" fmla="*/ 21 w 63"/>
                  <a:gd name="T23" fmla="*/ 44 h 240"/>
                  <a:gd name="T24" fmla="*/ 0 w 63"/>
                  <a:gd name="T25" fmla="*/ 17 h 240"/>
                  <a:gd name="T26" fmla="*/ 0 w 63"/>
                  <a:gd name="T27" fmla="*/ 0 h 240"/>
                  <a:gd name="T28" fmla="*/ 41 w 63"/>
                  <a:gd name="T29" fmla="*/ 43 h 240"/>
                  <a:gd name="T30" fmla="*/ 41 w 63"/>
                  <a:gd name="T31" fmla="*/ 83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8" y="129"/>
                      <a:pt x="41" y="138"/>
                      <a:pt x="41" y="157"/>
                    </a:cubicBezTo>
                    <a:cubicBezTo>
                      <a:pt x="41" y="198"/>
                      <a:pt x="41" y="198"/>
                      <a:pt x="41" y="198"/>
                    </a:cubicBezTo>
                    <a:cubicBezTo>
                      <a:pt x="41" y="226"/>
                      <a:pt x="27" y="240"/>
                      <a:pt x="0" y="240"/>
                    </a:cubicBezTo>
                    <a:cubicBezTo>
                      <a:pt x="0" y="223"/>
                      <a:pt x="0" y="223"/>
                      <a:pt x="0" y="223"/>
                    </a:cubicBezTo>
                    <a:cubicBezTo>
                      <a:pt x="7" y="223"/>
                      <a:pt x="13" y="221"/>
                      <a:pt x="16" y="216"/>
                    </a:cubicBezTo>
                    <a:cubicBezTo>
                      <a:pt x="20" y="212"/>
                      <a:pt x="21" y="205"/>
                      <a:pt x="21" y="195"/>
                    </a:cubicBezTo>
                    <a:cubicBezTo>
                      <a:pt x="21" y="155"/>
                      <a:pt x="21" y="155"/>
                      <a:pt x="21" y="155"/>
                    </a:cubicBezTo>
                    <a:cubicBezTo>
                      <a:pt x="21" y="136"/>
                      <a:pt x="28" y="124"/>
                      <a:pt x="42" y="120"/>
                    </a:cubicBezTo>
                    <a:cubicBezTo>
                      <a:pt x="42" y="120"/>
                      <a:pt x="42" y="120"/>
                      <a:pt x="42" y="120"/>
                    </a:cubicBezTo>
                    <a:cubicBezTo>
                      <a:pt x="28" y="115"/>
                      <a:pt x="21" y="103"/>
                      <a:pt x="21" y="84"/>
                    </a:cubicBezTo>
                    <a:cubicBezTo>
                      <a:pt x="21" y="44"/>
                      <a:pt x="21" y="44"/>
                      <a:pt x="21" y="44"/>
                    </a:cubicBezTo>
                    <a:cubicBezTo>
                      <a:pt x="21" y="27"/>
                      <a:pt x="14" y="18"/>
                      <a:pt x="0" y="17"/>
                    </a:cubicBezTo>
                    <a:cubicBezTo>
                      <a:pt x="0" y="0"/>
                      <a:pt x="0" y="0"/>
                      <a:pt x="0" y="0"/>
                    </a:cubicBezTo>
                    <a:cubicBezTo>
                      <a:pt x="27" y="0"/>
                      <a:pt x="41" y="14"/>
                      <a:pt x="41" y="43"/>
                    </a:cubicBezTo>
                    <a:cubicBezTo>
                      <a:pt x="41" y="83"/>
                      <a:pt x="41" y="83"/>
                      <a:pt x="41" y="83"/>
                    </a:cubicBezTo>
                    <a:cubicBezTo>
                      <a:pt x="41" y="101"/>
                      <a:pt x="48"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2" name="Freeform 370"/>
              <p:cNvSpPr>
                <a:spLocks/>
              </p:cNvSpPr>
              <p:nvPr userDrawn="1"/>
            </p:nvSpPr>
            <p:spPr bwMode="auto">
              <a:xfrm>
                <a:off x="7669"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3" name="Freeform 371"/>
              <p:cNvSpPr>
                <a:spLocks noEditPoints="1"/>
              </p:cNvSpPr>
              <p:nvPr userDrawn="1"/>
            </p:nvSpPr>
            <p:spPr bwMode="auto">
              <a:xfrm>
                <a:off x="2581" y="1825"/>
                <a:ext cx="218" cy="255"/>
              </a:xfrm>
              <a:custGeom>
                <a:avLst/>
                <a:gdLst>
                  <a:gd name="T0" fmla="*/ 175 w 179"/>
                  <a:gd name="T1" fmla="*/ 174 h 209"/>
                  <a:gd name="T2" fmla="*/ 134 w 179"/>
                  <a:gd name="T3" fmla="*/ 209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4 h 209"/>
                  <a:gd name="T16" fmla="*/ 46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79 h 209"/>
                  <a:gd name="T48" fmla="*/ 64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8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7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8 h 209"/>
                  <a:gd name="T84" fmla="*/ 87 w 179"/>
                  <a:gd name="T85" fmla="*/ 42 h 209"/>
                  <a:gd name="T86" fmla="*/ 78 w 179"/>
                  <a:gd name="T87" fmla="*/ 44 h 209"/>
                  <a:gd name="T88" fmla="*/ 66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5"/>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10" y="198"/>
                    </a:cubicBezTo>
                    <a:cubicBezTo>
                      <a:pt x="100" y="198"/>
                      <a:pt x="90" y="198"/>
                      <a:pt x="81" y="198"/>
                    </a:cubicBezTo>
                    <a:cubicBezTo>
                      <a:pt x="76" y="199"/>
                      <a:pt x="72" y="199"/>
                      <a:pt x="68" y="202"/>
                    </a:cubicBezTo>
                    <a:cubicBezTo>
                      <a:pt x="66" y="203"/>
                      <a:pt x="64" y="204"/>
                      <a:pt x="63" y="205"/>
                    </a:cubicBezTo>
                    <a:cubicBezTo>
                      <a:pt x="58" y="208"/>
                      <a:pt x="54" y="209"/>
                      <a:pt x="48" y="207"/>
                    </a:cubicBezTo>
                    <a:cubicBezTo>
                      <a:pt x="43" y="206"/>
                      <a:pt x="38" y="204"/>
                      <a:pt x="32" y="202"/>
                    </a:cubicBezTo>
                    <a:cubicBezTo>
                      <a:pt x="25" y="200"/>
                      <a:pt x="18" y="199"/>
                      <a:pt x="11" y="197"/>
                    </a:cubicBezTo>
                    <a:cubicBezTo>
                      <a:pt x="9" y="197"/>
                      <a:pt x="7" y="196"/>
                      <a:pt x="5" y="195"/>
                    </a:cubicBezTo>
                    <a:cubicBezTo>
                      <a:pt x="1" y="194"/>
                      <a:pt x="0" y="191"/>
                      <a:pt x="1" y="188"/>
                    </a:cubicBezTo>
                    <a:cubicBezTo>
                      <a:pt x="1" y="187"/>
                      <a:pt x="2" y="185"/>
                      <a:pt x="2" y="184"/>
                    </a:cubicBezTo>
                    <a:cubicBezTo>
                      <a:pt x="4" y="180"/>
                      <a:pt x="5" y="176"/>
                      <a:pt x="3" y="172"/>
                    </a:cubicBezTo>
                    <a:cubicBezTo>
                      <a:pt x="3" y="170"/>
                      <a:pt x="2" y="168"/>
                      <a:pt x="2" y="167"/>
                    </a:cubicBezTo>
                    <a:cubicBezTo>
                      <a:pt x="1" y="163"/>
                      <a:pt x="3" y="160"/>
                      <a:pt x="7" y="160"/>
                    </a:cubicBezTo>
                    <a:cubicBezTo>
                      <a:pt x="10" y="160"/>
                      <a:pt x="12" y="160"/>
                      <a:pt x="14" y="159"/>
                    </a:cubicBezTo>
                    <a:cubicBezTo>
                      <a:pt x="19" y="158"/>
                      <a:pt x="22" y="155"/>
                      <a:pt x="23" y="150"/>
                    </a:cubicBezTo>
                    <a:cubicBezTo>
                      <a:pt x="23" y="150"/>
                      <a:pt x="23" y="150"/>
                      <a:pt x="23" y="150"/>
                    </a:cubicBezTo>
                    <a:cubicBezTo>
                      <a:pt x="25" y="153"/>
                      <a:pt x="23" y="160"/>
                      <a:pt x="17" y="162"/>
                    </a:cubicBezTo>
                    <a:cubicBezTo>
                      <a:pt x="15" y="162"/>
                      <a:pt x="12" y="163"/>
                      <a:pt x="9" y="162"/>
                    </a:cubicBezTo>
                    <a:cubicBezTo>
                      <a:pt x="9" y="162"/>
                      <a:pt x="9" y="162"/>
                      <a:pt x="9" y="162"/>
                    </a:cubicBezTo>
                    <a:cubicBezTo>
                      <a:pt x="5" y="162"/>
                      <a:pt x="3" y="164"/>
                      <a:pt x="4" y="168"/>
                    </a:cubicBezTo>
                    <a:cubicBezTo>
                      <a:pt x="5" y="169"/>
                      <a:pt x="6" y="171"/>
                      <a:pt x="6" y="173"/>
                    </a:cubicBezTo>
                    <a:cubicBezTo>
                      <a:pt x="8" y="176"/>
                      <a:pt x="8" y="180"/>
                      <a:pt x="6" y="184"/>
                    </a:cubicBezTo>
                    <a:cubicBezTo>
                      <a:pt x="6" y="185"/>
                      <a:pt x="5" y="186"/>
                      <a:pt x="5" y="188"/>
                    </a:cubicBezTo>
                    <a:cubicBezTo>
                      <a:pt x="4" y="190"/>
                      <a:pt x="4" y="192"/>
                      <a:pt x="7" y="193"/>
                    </a:cubicBezTo>
                    <a:cubicBezTo>
                      <a:pt x="9" y="193"/>
                      <a:pt x="11" y="194"/>
                      <a:pt x="13" y="194"/>
                    </a:cubicBezTo>
                    <a:cubicBezTo>
                      <a:pt x="24" y="196"/>
                      <a:pt x="35" y="199"/>
                      <a:pt x="46" y="202"/>
                    </a:cubicBezTo>
                    <a:cubicBezTo>
                      <a:pt x="49" y="203"/>
                      <a:pt x="52" y="204"/>
                      <a:pt x="55" y="203"/>
                    </a:cubicBezTo>
                    <a:cubicBezTo>
                      <a:pt x="63" y="202"/>
                      <a:pt x="66" y="197"/>
                      <a:pt x="65" y="190"/>
                    </a:cubicBezTo>
                    <a:cubicBezTo>
                      <a:pt x="64" y="186"/>
                      <a:pt x="62" y="182"/>
                      <a:pt x="60" y="179"/>
                    </a:cubicBezTo>
                    <a:cubicBezTo>
                      <a:pt x="55" y="170"/>
                      <a:pt x="49" y="161"/>
                      <a:pt x="42" y="152"/>
                    </a:cubicBezTo>
                    <a:cubicBezTo>
                      <a:pt x="40" y="150"/>
                      <a:pt x="37" y="147"/>
                      <a:pt x="35" y="145"/>
                    </a:cubicBezTo>
                    <a:cubicBezTo>
                      <a:pt x="32" y="143"/>
                      <a:pt x="30" y="143"/>
                      <a:pt x="27" y="145"/>
                    </a:cubicBezTo>
                    <a:cubicBezTo>
                      <a:pt x="26" y="145"/>
                      <a:pt x="25" y="145"/>
                      <a:pt x="25" y="144"/>
                    </a:cubicBezTo>
                    <a:cubicBezTo>
                      <a:pt x="24" y="140"/>
                      <a:pt x="24" y="137"/>
                      <a:pt x="25" y="134"/>
                    </a:cubicBezTo>
                    <a:cubicBezTo>
                      <a:pt x="26" y="133"/>
                      <a:pt x="26" y="131"/>
                      <a:pt x="27" y="130"/>
                    </a:cubicBezTo>
                    <a:cubicBezTo>
                      <a:pt x="30" y="125"/>
                      <a:pt x="33" y="119"/>
                      <a:pt x="35" y="113"/>
                    </a:cubicBezTo>
                    <a:cubicBezTo>
                      <a:pt x="37" y="106"/>
                      <a:pt x="39" y="100"/>
                      <a:pt x="43" y="94"/>
                    </a:cubicBezTo>
                    <a:cubicBezTo>
                      <a:pt x="46" y="91"/>
                      <a:pt x="49" y="87"/>
                      <a:pt x="52" y="83"/>
                    </a:cubicBezTo>
                    <a:cubicBezTo>
                      <a:pt x="54" y="80"/>
                      <a:pt x="56" y="77"/>
                      <a:pt x="58" y="73"/>
                    </a:cubicBezTo>
                    <a:cubicBezTo>
                      <a:pt x="60" y="71"/>
                      <a:pt x="60" y="68"/>
                      <a:pt x="60" y="65"/>
                    </a:cubicBezTo>
                    <a:cubicBezTo>
                      <a:pt x="59" y="58"/>
                      <a:pt x="59" y="51"/>
                      <a:pt x="59" y="44"/>
                    </a:cubicBezTo>
                    <a:cubicBezTo>
                      <a:pt x="58" y="39"/>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4"/>
                      <a:pt x="122" y="30"/>
                      <a:pt x="122" y="36"/>
                    </a:cubicBezTo>
                    <a:cubicBezTo>
                      <a:pt x="123" y="40"/>
                      <a:pt x="122" y="44"/>
                      <a:pt x="123" y="47"/>
                    </a:cubicBezTo>
                    <a:cubicBezTo>
                      <a:pt x="124" y="61"/>
                      <a:pt x="128" y="74"/>
                      <a:pt x="139" y="85"/>
                    </a:cubicBezTo>
                    <a:cubicBezTo>
                      <a:pt x="150" y="97"/>
                      <a:pt x="156" y="112"/>
                      <a:pt x="160" y="128"/>
                    </a:cubicBezTo>
                    <a:cubicBezTo>
                      <a:pt x="161" y="133"/>
                      <a:pt x="161" y="138"/>
                      <a:pt x="160" y="143"/>
                    </a:cubicBezTo>
                    <a:cubicBezTo>
                      <a:pt x="160" y="144"/>
                      <a:pt x="159" y="146"/>
                      <a:pt x="159" y="146"/>
                    </a:cubicBezTo>
                    <a:cubicBezTo>
                      <a:pt x="158" y="147"/>
                      <a:pt x="158" y="148"/>
                      <a:pt x="157" y="148"/>
                    </a:cubicBezTo>
                    <a:cubicBezTo>
                      <a:pt x="155" y="149"/>
                      <a:pt x="154" y="151"/>
                      <a:pt x="153" y="152"/>
                    </a:cubicBezTo>
                    <a:cubicBezTo>
                      <a:pt x="151" y="154"/>
                      <a:pt x="149" y="156"/>
                      <a:pt x="147" y="158"/>
                    </a:cubicBezTo>
                    <a:cubicBezTo>
                      <a:pt x="144" y="161"/>
                      <a:pt x="139" y="161"/>
                      <a:pt x="135" y="160"/>
                    </a:cubicBezTo>
                    <a:cubicBezTo>
                      <a:pt x="133" y="159"/>
                      <a:pt x="132" y="157"/>
                      <a:pt x="131" y="156"/>
                    </a:cubicBezTo>
                    <a:cubicBezTo>
                      <a:pt x="130" y="154"/>
                      <a:pt x="129" y="152"/>
                      <a:pt x="128" y="151"/>
                    </a:cubicBezTo>
                    <a:cubicBezTo>
                      <a:pt x="127" y="149"/>
                      <a:pt x="126" y="148"/>
                      <a:pt x="125" y="148"/>
                    </a:cubicBezTo>
                    <a:cubicBezTo>
                      <a:pt x="123" y="148"/>
                      <a:pt x="122" y="150"/>
                      <a:pt x="121" y="151"/>
                    </a:cubicBezTo>
                    <a:cubicBezTo>
                      <a:pt x="120" y="155"/>
                      <a:pt x="120" y="159"/>
                      <a:pt x="121" y="163"/>
                    </a:cubicBezTo>
                    <a:cubicBezTo>
                      <a:pt x="123" y="171"/>
                      <a:pt x="123" y="179"/>
                      <a:pt x="122" y="186"/>
                    </a:cubicBezTo>
                    <a:cubicBezTo>
                      <a:pt x="122" y="189"/>
                      <a:pt x="121" y="192"/>
                      <a:pt x="122" y="194"/>
                    </a:cubicBezTo>
                    <a:cubicBezTo>
                      <a:pt x="123" y="202"/>
                      <a:pt x="129" y="205"/>
                      <a:pt x="136" y="203"/>
                    </a:cubicBezTo>
                    <a:cubicBezTo>
                      <a:pt x="139" y="202"/>
                      <a:pt x="142" y="200"/>
                      <a:pt x="145" y="197"/>
                    </a:cubicBezTo>
                    <a:cubicBezTo>
                      <a:pt x="151" y="192"/>
                      <a:pt x="158" y="189"/>
                      <a:pt x="165" y="186"/>
                    </a:cubicBezTo>
                    <a:cubicBezTo>
                      <a:pt x="168" y="185"/>
                      <a:pt x="171"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60" y="161"/>
                      <a:pt x="160" y="158"/>
                      <a:pt x="160" y="155"/>
                    </a:cubicBezTo>
                    <a:cubicBezTo>
                      <a:pt x="160" y="155"/>
                      <a:pt x="160" y="154"/>
                      <a:pt x="161" y="153"/>
                    </a:cubicBezTo>
                    <a:close/>
                    <a:moveTo>
                      <a:pt x="71" y="69"/>
                    </a:moveTo>
                    <a:cubicBezTo>
                      <a:pt x="71" y="69"/>
                      <a:pt x="71" y="69"/>
                      <a:pt x="71" y="69"/>
                    </a:cubicBezTo>
                    <a:cubicBezTo>
                      <a:pt x="73" y="71"/>
                      <a:pt x="74" y="73"/>
                      <a:pt x="77" y="74"/>
                    </a:cubicBezTo>
                    <a:cubicBezTo>
                      <a:pt x="81" y="74"/>
                      <a:pt x="85" y="73"/>
                      <a:pt x="88" y="72"/>
                    </a:cubicBezTo>
                    <a:cubicBezTo>
                      <a:pt x="91" y="70"/>
                      <a:pt x="94" y="68"/>
                      <a:pt x="98" y="67"/>
                    </a:cubicBezTo>
                    <a:cubicBezTo>
                      <a:pt x="99" y="66"/>
                      <a:pt x="100" y="66"/>
                      <a:pt x="101" y="66"/>
                    </a:cubicBezTo>
                    <a:cubicBezTo>
                      <a:pt x="101" y="66"/>
                      <a:pt x="102" y="66"/>
                      <a:pt x="102" y="67"/>
                    </a:cubicBezTo>
                    <a:cubicBezTo>
                      <a:pt x="102" y="67"/>
                      <a:pt x="102" y="68"/>
                      <a:pt x="102" y="68"/>
                    </a:cubicBezTo>
                    <a:cubicBezTo>
                      <a:pt x="101" y="69"/>
                      <a:pt x="100" y="69"/>
                      <a:pt x="99" y="70"/>
                    </a:cubicBezTo>
                    <a:cubicBezTo>
                      <a:pt x="95" y="72"/>
                      <a:pt x="91" y="74"/>
                      <a:pt x="87" y="77"/>
                    </a:cubicBezTo>
                    <a:cubicBezTo>
                      <a:pt x="85" y="79"/>
                      <a:pt x="83" y="80"/>
                      <a:pt x="81" y="81"/>
                    </a:cubicBezTo>
                    <a:cubicBezTo>
                      <a:pt x="78" y="82"/>
                      <a:pt x="76" y="82"/>
                      <a:pt x="73" y="79"/>
                    </a:cubicBezTo>
                    <a:cubicBezTo>
                      <a:pt x="71" y="77"/>
                      <a:pt x="69" y="74"/>
                      <a:pt x="67" y="72"/>
                    </a:cubicBezTo>
                    <a:cubicBezTo>
                      <a:pt x="67" y="71"/>
                      <a:pt x="66" y="70"/>
                      <a:pt x="65" y="69"/>
                    </a:cubicBezTo>
                    <a:cubicBezTo>
                      <a:pt x="65" y="70"/>
                      <a:pt x="65" y="71"/>
                      <a:pt x="65" y="71"/>
                    </a:cubicBezTo>
                    <a:cubicBezTo>
                      <a:pt x="65" y="73"/>
                      <a:pt x="64" y="75"/>
                      <a:pt x="64" y="77"/>
                    </a:cubicBezTo>
                    <a:cubicBezTo>
                      <a:pt x="63" y="79"/>
                      <a:pt x="61" y="81"/>
                      <a:pt x="60" y="83"/>
                    </a:cubicBezTo>
                    <a:cubicBezTo>
                      <a:pt x="59" y="86"/>
                      <a:pt x="57" y="89"/>
                      <a:pt x="57" y="92"/>
                    </a:cubicBezTo>
                    <a:cubicBezTo>
                      <a:pt x="57" y="94"/>
                      <a:pt x="58" y="96"/>
                      <a:pt x="58" y="98"/>
                    </a:cubicBezTo>
                    <a:cubicBezTo>
                      <a:pt x="58" y="99"/>
                      <a:pt x="57" y="100"/>
                      <a:pt x="56" y="101"/>
                    </a:cubicBezTo>
                    <a:cubicBezTo>
                      <a:pt x="54" y="105"/>
                      <a:pt x="52" y="108"/>
                      <a:pt x="50" y="113"/>
                    </a:cubicBezTo>
                    <a:cubicBezTo>
                      <a:pt x="48" y="117"/>
                      <a:pt x="46" y="122"/>
                      <a:pt x="46" y="127"/>
                    </a:cubicBezTo>
                    <a:cubicBezTo>
                      <a:pt x="46" y="130"/>
                      <a:pt x="46" y="133"/>
                      <a:pt x="46" y="136"/>
                    </a:cubicBezTo>
                    <a:cubicBezTo>
                      <a:pt x="46" y="138"/>
                      <a:pt x="45" y="139"/>
                      <a:pt x="45" y="140"/>
                    </a:cubicBezTo>
                    <a:cubicBezTo>
                      <a:pt x="45" y="142"/>
                      <a:pt x="44" y="142"/>
                      <a:pt x="43" y="141"/>
                    </a:cubicBezTo>
                    <a:cubicBezTo>
                      <a:pt x="42" y="140"/>
                      <a:pt x="41" y="139"/>
                      <a:pt x="40" y="138"/>
                    </a:cubicBezTo>
                    <a:cubicBezTo>
                      <a:pt x="38" y="134"/>
                      <a:pt x="37" y="130"/>
                      <a:pt x="38" y="125"/>
                    </a:cubicBezTo>
                    <a:cubicBezTo>
                      <a:pt x="38" y="124"/>
                      <a:pt x="38" y="122"/>
                      <a:pt x="38" y="121"/>
                    </a:cubicBezTo>
                    <a:cubicBezTo>
                      <a:pt x="38" y="121"/>
                      <a:pt x="38" y="121"/>
                      <a:pt x="38" y="121"/>
                    </a:cubicBezTo>
                    <a:cubicBezTo>
                      <a:pt x="37" y="122"/>
                      <a:pt x="37" y="123"/>
                      <a:pt x="37" y="123"/>
                    </a:cubicBezTo>
                    <a:cubicBezTo>
                      <a:pt x="35" y="127"/>
                      <a:pt x="35" y="131"/>
                      <a:pt x="37" y="135"/>
                    </a:cubicBezTo>
                    <a:cubicBezTo>
                      <a:pt x="37" y="138"/>
                      <a:pt x="38" y="141"/>
                      <a:pt x="40" y="143"/>
                    </a:cubicBezTo>
                    <a:cubicBezTo>
                      <a:pt x="44" y="146"/>
                      <a:pt x="48" y="150"/>
                      <a:pt x="52" y="153"/>
                    </a:cubicBezTo>
                    <a:cubicBezTo>
                      <a:pt x="57" y="157"/>
                      <a:pt x="62" y="161"/>
                      <a:pt x="67" y="165"/>
                    </a:cubicBezTo>
                    <a:cubicBezTo>
                      <a:pt x="69" y="167"/>
                      <a:pt x="70" y="170"/>
                      <a:pt x="69" y="172"/>
                    </a:cubicBezTo>
                    <a:cubicBezTo>
                      <a:pt x="68" y="175"/>
                      <a:pt x="67" y="177"/>
                      <a:pt x="64" y="178"/>
                    </a:cubicBezTo>
                    <a:cubicBezTo>
                      <a:pt x="64" y="178"/>
                      <a:pt x="63" y="178"/>
                      <a:pt x="62" y="178"/>
                    </a:cubicBezTo>
                    <a:cubicBezTo>
                      <a:pt x="63" y="180"/>
                      <a:pt x="65" y="182"/>
                      <a:pt x="66" y="183"/>
                    </a:cubicBezTo>
                    <a:cubicBezTo>
                      <a:pt x="68" y="186"/>
                      <a:pt x="69" y="189"/>
                      <a:pt x="69" y="192"/>
                    </a:cubicBezTo>
                    <a:cubicBezTo>
                      <a:pt x="70" y="194"/>
                      <a:pt x="70" y="196"/>
                      <a:pt x="70" y="197"/>
                    </a:cubicBezTo>
                    <a:cubicBezTo>
                      <a:pt x="70" y="197"/>
                      <a:pt x="70" y="197"/>
                      <a:pt x="71" y="197"/>
                    </a:cubicBezTo>
                    <a:cubicBezTo>
                      <a:pt x="73" y="196"/>
                      <a:pt x="73" y="193"/>
                      <a:pt x="72" y="191"/>
                    </a:cubicBezTo>
                    <a:cubicBezTo>
                      <a:pt x="72" y="189"/>
                      <a:pt x="70" y="186"/>
                      <a:pt x="69" y="184"/>
                    </a:cubicBezTo>
                    <a:cubicBezTo>
                      <a:pt x="68" y="184"/>
                      <a:pt x="68" y="183"/>
                      <a:pt x="68" y="183"/>
                    </a:cubicBezTo>
                    <a:cubicBezTo>
                      <a:pt x="69" y="182"/>
                      <a:pt x="71" y="181"/>
                      <a:pt x="72" y="182"/>
                    </a:cubicBezTo>
                    <a:cubicBezTo>
                      <a:pt x="74" y="184"/>
                      <a:pt x="76" y="186"/>
                      <a:pt x="79" y="186"/>
                    </a:cubicBezTo>
                    <a:cubicBezTo>
                      <a:pt x="85" y="187"/>
                      <a:pt x="91" y="187"/>
                      <a:pt x="97" y="185"/>
                    </a:cubicBezTo>
                    <a:cubicBezTo>
                      <a:pt x="101" y="184"/>
                      <a:pt x="106" y="183"/>
                      <a:pt x="109" y="179"/>
                    </a:cubicBezTo>
                    <a:cubicBezTo>
                      <a:pt x="111" y="178"/>
                      <a:pt x="112" y="176"/>
                      <a:pt x="114" y="174"/>
                    </a:cubicBezTo>
                    <a:cubicBezTo>
                      <a:pt x="114" y="173"/>
                      <a:pt x="115" y="173"/>
                      <a:pt x="116" y="173"/>
                    </a:cubicBezTo>
                    <a:cubicBezTo>
                      <a:pt x="116" y="173"/>
                      <a:pt x="117" y="174"/>
                      <a:pt x="117" y="175"/>
                    </a:cubicBezTo>
                    <a:cubicBezTo>
                      <a:pt x="117" y="179"/>
                      <a:pt x="117" y="182"/>
                      <a:pt x="115" y="186"/>
                    </a:cubicBezTo>
                    <a:cubicBezTo>
                      <a:pt x="115" y="188"/>
                      <a:pt x="114" y="191"/>
                      <a:pt x="114" y="193"/>
                    </a:cubicBezTo>
                    <a:cubicBezTo>
                      <a:pt x="113" y="195"/>
                      <a:pt x="114" y="196"/>
                      <a:pt x="116" y="196"/>
                    </a:cubicBezTo>
                    <a:cubicBezTo>
                      <a:pt x="117" y="191"/>
                      <a:pt x="118" y="187"/>
                      <a:pt x="119" y="182"/>
                    </a:cubicBezTo>
                    <a:cubicBezTo>
                      <a:pt x="119" y="179"/>
                      <a:pt x="120" y="175"/>
                      <a:pt x="119" y="171"/>
                    </a:cubicBezTo>
                    <a:cubicBezTo>
                      <a:pt x="119" y="167"/>
                      <a:pt x="118" y="164"/>
                      <a:pt x="118" y="160"/>
                    </a:cubicBezTo>
                    <a:cubicBezTo>
                      <a:pt x="118" y="157"/>
                      <a:pt x="118" y="153"/>
                      <a:pt x="119" y="150"/>
                    </a:cubicBezTo>
                    <a:cubicBezTo>
                      <a:pt x="120" y="148"/>
                      <a:pt x="122" y="146"/>
                      <a:pt x="126" y="146"/>
                    </a:cubicBezTo>
                    <a:cubicBezTo>
                      <a:pt x="126" y="146"/>
                      <a:pt x="126" y="146"/>
                      <a:pt x="127" y="146"/>
                    </a:cubicBezTo>
                    <a:cubicBezTo>
                      <a:pt x="127" y="142"/>
                      <a:pt x="129" y="140"/>
                      <a:pt x="132" y="139"/>
                    </a:cubicBezTo>
                    <a:cubicBezTo>
                      <a:pt x="137" y="138"/>
                      <a:pt x="142" y="139"/>
                      <a:pt x="146" y="141"/>
                    </a:cubicBezTo>
                    <a:cubicBezTo>
                      <a:pt x="145" y="138"/>
                      <a:pt x="142" y="138"/>
                      <a:pt x="140" y="136"/>
                    </a:cubicBezTo>
                    <a:cubicBezTo>
                      <a:pt x="145" y="119"/>
                      <a:pt x="136" y="97"/>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4"/>
                      <a:pt x="124" y="107"/>
                    </a:cubicBezTo>
                    <a:cubicBezTo>
                      <a:pt x="123" y="103"/>
                      <a:pt x="121" y="99"/>
                      <a:pt x="117" y="95"/>
                    </a:cubicBezTo>
                    <a:cubicBezTo>
                      <a:pt x="117" y="95"/>
                      <a:pt x="117" y="94"/>
                      <a:pt x="117" y="94"/>
                    </a:cubicBezTo>
                    <a:cubicBezTo>
                      <a:pt x="115" y="86"/>
                      <a:pt x="112" y="79"/>
                      <a:pt x="108" y="73"/>
                    </a:cubicBezTo>
                    <a:cubicBezTo>
                      <a:pt x="106" y="70"/>
                      <a:pt x="105" y="67"/>
                      <a:pt x="106"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0"/>
                    </a:cubicBezTo>
                    <a:cubicBezTo>
                      <a:pt x="93" y="38"/>
                      <a:pt x="95" y="37"/>
                      <a:pt x="98" y="37"/>
                    </a:cubicBezTo>
                    <a:cubicBezTo>
                      <a:pt x="100" y="37"/>
                      <a:pt x="101" y="38"/>
                      <a:pt x="102" y="40"/>
                    </a:cubicBezTo>
                    <a:cubicBezTo>
                      <a:pt x="103" y="43"/>
                      <a:pt x="103" y="45"/>
                      <a:pt x="102" y="48"/>
                    </a:cubicBezTo>
                    <a:cubicBezTo>
                      <a:pt x="102" y="49"/>
                      <a:pt x="101" y="50"/>
                      <a:pt x="102" y="50"/>
                    </a:cubicBezTo>
                    <a:cubicBezTo>
                      <a:pt x="104" y="51"/>
                      <a:pt x="107" y="50"/>
                      <a:pt x="107" y="48"/>
                    </a:cubicBezTo>
                    <a:cubicBezTo>
                      <a:pt x="108" y="44"/>
                      <a:pt x="107" y="40"/>
                      <a:pt x="105" y="36"/>
                    </a:cubicBezTo>
                    <a:cubicBezTo>
                      <a:pt x="104" y="32"/>
                      <a:pt x="100" y="30"/>
                      <a:pt x="96" y="30"/>
                    </a:cubicBezTo>
                    <a:cubicBezTo>
                      <a:pt x="91" y="31"/>
                      <a:pt x="88" y="33"/>
                      <a:pt x="87" y="38"/>
                    </a:cubicBezTo>
                    <a:cubicBezTo>
                      <a:pt x="87" y="39"/>
                      <a:pt x="87" y="41"/>
                      <a:pt x="87" y="42"/>
                    </a:cubicBezTo>
                    <a:cubicBezTo>
                      <a:pt x="87" y="44"/>
                      <a:pt x="87" y="45"/>
                      <a:pt x="87" y="47"/>
                    </a:cubicBezTo>
                    <a:cubicBezTo>
                      <a:pt x="85" y="46"/>
                      <a:pt x="83" y="46"/>
                      <a:pt x="81" y="46"/>
                    </a:cubicBezTo>
                    <a:cubicBezTo>
                      <a:pt x="80" y="46"/>
                      <a:pt x="80" y="46"/>
                      <a:pt x="80" y="46"/>
                    </a:cubicBezTo>
                    <a:cubicBezTo>
                      <a:pt x="78" y="46"/>
                      <a:pt x="78" y="46"/>
                      <a:pt x="78" y="44"/>
                    </a:cubicBezTo>
                    <a:cubicBezTo>
                      <a:pt x="77" y="42"/>
                      <a:pt x="77" y="39"/>
                      <a:pt x="76" y="36"/>
                    </a:cubicBezTo>
                    <a:cubicBezTo>
                      <a:pt x="76" y="36"/>
                      <a:pt x="76" y="35"/>
                      <a:pt x="76" y="35"/>
                    </a:cubicBezTo>
                    <a:cubicBezTo>
                      <a:pt x="75" y="33"/>
                      <a:pt x="73" y="31"/>
                      <a:pt x="70" y="31"/>
                    </a:cubicBezTo>
                    <a:cubicBezTo>
                      <a:pt x="68" y="31"/>
                      <a:pt x="67" y="33"/>
                      <a:pt x="66" y="35"/>
                    </a:cubicBezTo>
                    <a:cubicBezTo>
                      <a:pt x="63" y="40"/>
                      <a:pt x="63" y="45"/>
                      <a:pt x="66" y="50"/>
                    </a:cubicBezTo>
                    <a:cubicBezTo>
                      <a:pt x="66" y="51"/>
                      <a:pt x="67" y="51"/>
                      <a:pt x="68" y="51"/>
                    </a:cubicBezTo>
                    <a:cubicBezTo>
                      <a:pt x="69" y="51"/>
                      <a:pt x="69" y="50"/>
                      <a:pt x="70" y="49"/>
                    </a:cubicBezTo>
                    <a:cubicBezTo>
                      <a:pt x="69" y="49"/>
                      <a:pt x="68" y="48"/>
                      <a:pt x="67" y="47"/>
                    </a:cubicBezTo>
                    <a:cubicBezTo>
                      <a:pt x="66" y="45"/>
                      <a:pt x="65" y="43"/>
                      <a:pt x="66" y="40"/>
                    </a:cubicBezTo>
                    <a:cubicBezTo>
                      <a:pt x="67" y="37"/>
                      <a:pt x="71" y="36"/>
                      <a:pt x="73" y="38"/>
                    </a:cubicBezTo>
                    <a:cubicBezTo>
                      <a:pt x="75" y="40"/>
                      <a:pt x="75" y="42"/>
                      <a:pt x="75" y="44"/>
                    </a:cubicBezTo>
                    <a:cubicBezTo>
                      <a:pt x="75" y="46"/>
                      <a:pt x="74" y="47"/>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1"/>
                      <a:pt x="68" y="63"/>
                    </a:cubicBezTo>
                    <a:cubicBezTo>
                      <a:pt x="71" y="66"/>
                      <a:pt x="74" y="67"/>
                      <a:pt x="78" y="66"/>
                    </a:cubicBezTo>
                    <a:cubicBezTo>
                      <a:pt x="82" y="66"/>
                      <a:pt x="87" y="65"/>
                      <a:pt x="91" y="64"/>
                    </a:cubicBezTo>
                    <a:cubicBezTo>
                      <a:pt x="95" y="63"/>
                      <a:pt x="98" y="62"/>
                      <a:pt x="101" y="58"/>
                    </a:cubicBezTo>
                    <a:cubicBezTo>
                      <a:pt x="101" y="58"/>
                      <a:pt x="102" y="58"/>
                      <a:pt x="103" y="58"/>
                    </a:cubicBezTo>
                    <a:cubicBezTo>
                      <a:pt x="103" y="59"/>
                      <a:pt x="103" y="60"/>
                      <a:pt x="103" y="60"/>
                    </a:cubicBezTo>
                    <a:cubicBezTo>
                      <a:pt x="103" y="61"/>
                      <a:pt x="102" y="61"/>
                      <a:pt x="102" y="61"/>
                    </a:cubicBezTo>
                    <a:cubicBezTo>
                      <a:pt x="97" y="64"/>
                      <a:pt x="92" y="66"/>
                      <a:pt x="86" y="68"/>
                    </a:cubicBezTo>
                    <a:cubicBezTo>
                      <a:pt x="83" y="69"/>
                      <a:pt x="79" y="70"/>
                      <a:pt x="74" y="69"/>
                    </a:cubicBezTo>
                    <a:cubicBezTo>
                      <a:pt x="73" y="69"/>
                      <a:pt x="72" y="69"/>
                      <a:pt x="71" y="69"/>
                    </a:cubicBezTo>
                    <a:close/>
                    <a:moveTo>
                      <a:pt x="73" y="45"/>
                    </a:moveTo>
                    <a:cubicBezTo>
                      <a:pt x="73" y="43"/>
                      <a:pt x="73" y="42"/>
                      <a:pt x="72" y="40"/>
                    </a:cubicBezTo>
                    <a:cubicBezTo>
                      <a:pt x="72" y="40"/>
                      <a:pt x="71" y="40"/>
                      <a:pt x="71" y="40"/>
                    </a:cubicBezTo>
                    <a:cubicBezTo>
                      <a:pt x="71" y="40"/>
                      <a:pt x="70" y="41"/>
                      <a:pt x="70" y="41"/>
                    </a:cubicBezTo>
                    <a:cubicBezTo>
                      <a:pt x="72" y="42"/>
                      <a:pt x="72" y="43"/>
                      <a:pt x="72" y="44"/>
                    </a:cubicBezTo>
                    <a:cubicBezTo>
                      <a:pt x="72" y="45"/>
                      <a:pt x="72" y="45"/>
                      <a:pt x="73" y="45"/>
                    </a:cubicBezTo>
                    <a:close/>
                    <a:moveTo>
                      <a:pt x="97" y="40"/>
                    </a:moveTo>
                    <a:cubicBezTo>
                      <a:pt x="99" y="40"/>
                      <a:pt x="99" y="42"/>
                      <a:pt x="100" y="44"/>
                    </a:cubicBezTo>
                    <a:cubicBezTo>
                      <a:pt x="100" y="43"/>
                      <a:pt x="101" y="43"/>
                      <a:pt x="101" y="43"/>
                    </a:cubicBezTo>
                    <a:cubicBezTo>
                      <a:pt x="101" y="42"/>
                      <a:pt x="100" y="40"/>
                      <a:pt x="99" y="40"/>
                    </a:cubicBezTo>
                    <a:cubicBezTo>
                      <a:pt x="99"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4" name="Freeform 372"/>
              <p:cNvSpPr>
                <a:spLocks/>
              </p:cNvSpPr>
              <p:nvPr userDrawn="1"/>
            </p:nvSpPr>
            <p:spPr bwMode="auto">
              <a:xfrm>
                <a:off x="2672" y="1883"/>
                <a:ext cx="2"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5" name="Freeform 373"/>
              <p:cNvSpPr>
                <a:spLocks/>
              </p:cNvSpPr>
              <p:nvPr userDrawn="1"/>
            </p:nvSpPr>
            <p:spPr bwMode="auto">
              <a:xfrm>
                <a:off x="2684" y="1883"/>
                <a:ext cx="5" cy="3"/>
              </a:xfrm>
              <a:custGeom>
                <a:avLst/>
                <a:gdLst>
                  <a:gd name="T0" fmla="*/ 0 w 4"/>
                  <a:gd name="T1" fmla="*/ 0 h 2"/>
                  <a:gd name="T2" fmla="*/ 3 w 4"/>
                  <a:gd name="T3" fmla="*/ 0 h 2"/>
                  <a:gd name="T4" fmla="*/ 4 w 4"/>
                  <a:gd name="T5" fmla="*/ 1 h 2"/>
                  <a:gd name="T6" fmla="*/ 2 w 4"/>
                  <a:gd name="T7" fmla="*/ 1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0"/>
                      <a:pt x="3" y="0"/>
                    </a:cubicBezTo>
                    <a:cubicBezTo>
                      <a:pt x="3" y="0"/>
                      <a:pt x="3" y="1"/>
                      <a:pt x="4" y="1"/>
                    </a:cubicBezTo>
                    <a:cubicBezTo>
                      <a:pt x="3" y="1"/>
                      <a:pt x="3" y="2"/>
                      <a:pt x="2"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6" name="Freeform 374"/>
              <p:cNvSpPr>
                <a:spLocks/>
              </p:cNvSpPr>
              <p:nvPr userDrawn="1"/>
            </p:nvSpPr>
            <p:spPr bwMode="auto">
              <a:xfrm>
                <a:off x="2043"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9"/>
                      <a:pt x="16" y="26"/>
                    </a:cubicBezTo>
                    <a:cubicBezTo>
                      <a:pt x="22"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7" name="Freeform 375"/>
              <p:cNvSpPr>
                <a:spLocks/>
              </p:cNvSpPr>
              <p:nvPr userDrawn="1"/>
            </p:nvSpPr>
            <p:spPr bwMode="auto">
              <a:xfrm>
                <a:off x="2193" y="372"/>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8" name="Freeform 376"/>
              <p:cNvSpPr>
                <a:spLocks/>
              </p:cNvSpPr>
              <p:nvPr userDrawn="1"/>
            </p:nvSpPr>
            <p:spPr bwMode="auto">
              <a:xfrm>
                <a:off x="2342" y="37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9" name="Freeform 377"/>
              <p:cNvSpPr>
                <a:spLocks noEditPoints="1"/>
              </p:cNvSpPr>
              <p:nvPr userDrawn="1"/>
            </p:nvSpPr>
            <p:spPr bwMode="auto">
              <a:xfrm>
                <a:off x="249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0" name="Freeform 378"/>
              <p:cNvSpPr>
                <a:spLocks/>
              </p:cNvSpPr>
              <p:nvPr userDrawn="1"/>
            </p:nvSpPr>
            <p:spPr bwMode="auto">
              <a:xfrm>
                <a:off x="2687"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1" name="Freeform 379"/>
              <p:cNvSpPr>
                <a:spLocks/>
              </p:cNvSpPr>
              <p:nvPr userDrawn="1"/>
            </p:nvSpPr>
            <p:spPr bwMode="auto">
              <a:xfrm>
                <a:off x="2837"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2" name="Freeform 380"/>
              <p:cNvSpPr>
                <a:spLocks noEditPoints="1"/>
              </p:cNvSpPr>
              <p:nvPr userDrawn="1"/>
            </p:nvSpPr>
            <p:spPr bwMode="auto">
              <a:xfrm>
                <a:off x="2985"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3" name="Freeform 381"/>
              <p:cNvSpPr>
                <a:spLocks/>
              </p:cNvSpPr>
              <p:nvPr userDrawn="1"/>
            </p:nvSpPr>
            <p:spPr bwMode="auto">
              <a:xfrm>
                <a:off x="3182"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9"/>
                      <a:pt x="16" y="26"/>
                    </a:cubicBezTo>
                    <a:cubicBezTo>
                      <a:pt x="22" y="24"/>
                      <a:pt x="27" y="21"/>
                      <a:pt x="32" y="18"/>
                    </a:cubicBezTo>
                    <a:cubicBezTo>
                      <a:pt x="38" y="16"/>
                      <a:pt x="43" y="13"/>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Freeform 382"/>
              <p:cNvSpPr>
                <a:spLocks/>
              </p:cNvSpPr>
              <p:nvPr userDrawn="1"/>
            </p:nvSpPr>
            <p:spPr bwMode="auto">
              <a:xfrm>
                <a:off x="3332" y="37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Freeform 383"/>
              <p:cNvSpPr>
                <a:spLocks noEditPoints="1"/>
              </p:cNvSpPr>
              <p:nvPr userDrawn="1"/>
            </p:nvSpPr>
            <p:spPr bwMode="auto">
              <a:xfrm>
                <a:off x="371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Freeform 384"/>
              <p:cNvSpPr>
                <a:spLocks noEditPoints="1"/>
              </p:cNvSpPr>
              <p:nvPr userDrawn="1"/>
            </p:nvSpPr>
            <p:spPr bwMode="auto">
              <a:xfrm>
                <a:off x="3905"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Freeform 385"/>
              <p:cNvSpPr>
                <a:spLocks noEditPoints="1"/>
              </p:cNvSpPr>
              <p:nvPr userDrawn="1"/>
            </p:nvSpPr>
            <p:spPr bwMode="auto">
              <a:xfrm>
                <a:off x="410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1" y="135"/>
                      <a:pt x="0" y="121"/>
                      <a:pt x="0" y="106"/>
                    </a:cubicBezTo>
                    <a:cubicBezTo>
                      <a:pt x="0" y="88"/>
                      <a:pt x="2" y="73"/>
                      <a:pt x="4" y="60"/>
                    </a:cubicBezTo>
                    <a:cubicBezTo>
                      <a:pt x="7" y="47"/>
                      <a:pt x="12" y="36"/>
                      <a:pt x="17" y="27"/>
                    </a:cubicBezTo>
                    <a:cubicBezTo>
                      <a:pt x="23" y="18"/>
                      <a:pt x="30" y="12"/>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Freeform 386"/>
              <p:cNvSpPr>
                <a:spLocks noEditPoints="1"/>
              </p:cNvSpPr>
              <p:nvPr userDrawn="1"/>
            </p:nvSpPr>
            <p:spPr bwMode="auto">
              <a:xfrm>
                <a:off x="4285" y="379"/>
                <a:ext cx="189" cy="218"/>
              </a:xfrm>
              <a:custGeom>
                <a:avLst/>
                <a:gdLst>
                  <a:gd name="T0" fmla="*/ 189 w 189"/>
                  <a:gd name="T1" fmla="*/ 66 h 218"/>
                  <a:gd name="T2" fmla="*/ 184 w 189"/>
                  <a:gd name="T3" fmla="*/ 84 h 218"/>
                  <a:gd name="T4" fmla="*/ 141 w 189"/>
                  <a:gd name="T5" fmla="*/ 84 h 218"/>
                  <a:gd name="T6" fmla="*/ 130 w 189"/>
                  <a:gd name="T7" fmla="*/ 134 h 218"/>
                  <a:gd name="T8" fmla="*/ 178 w 189"/>
                  <a:gd name="T9" fmla="*/ 134 h 218"/>
                  <a:gd name="T10" fmla="*/ 173 w 189"/>
                  <a:gd name="T11" fmla="*/ 151 h 218"/>
                  <a:gd name="T12" fmla="*/ 127 w 189"/>
                  <a:gd name="T13" fmla="*/ 151 h 218"/>
                  <a:gd name="T14" fmla="*/ 112 w 189"/>
                  <a:gd name="T15" fmla="*/ 218 h 218"/>
                  <a:gd name="T16" fmla="*/ 91 w 189"/>
                  <a:gd name="T17" fmla="*/ 218 h 218"/>
                  <a:gd name="T18" fmla="*/ 106 w 189"/>
                  <a:gd name="T19" fmla="*/ 151 h 218"/>
                  <a:gd name="T20" fmla="*/ 65 w 189"/>
                  <a:gd name="T21" fmla="*/ 151 h 218"/>
                  <a:gd name="T22" fmla="*/ 50 w 189"/>
                  <a:gd name="T23" fmla="*/ 218 h 218"/>
                  <a:gd name="T24" fmla="*/ 29 w 189"/>
                  <a:gd name="T25" fmla="*/ 218 h 218"/>
                  <a:gd name="T26" fmla="*/ 43 w 189"/>
                  <a:gd name="T27" fmla="*/ 151 h 218"/>
                  <a:gd name="T28" fmla="*/ 0 w 189"/>
                  <a:gd name="T29" fmla="*/ 151 h 218"/>
                  <a:gd name="T30" fmla="*/ 3 w 189"/>
                  <a:gd name="T31" fmla="*/ 134 h 218"/>
                  <a:gd name="T32" fmla="*/ 48 w 189"/>
                  <a:gd name="T33" fmla="*/ 134 h 218"/>
                  <a:gd name="T34" fmla="*/ 57 w 189"/>
                  <a:gd name="T35" fmla="*/ 84 h 218"/>
                  <a:gd name="T36" fmla="*/ 11 w 189"/>
                  <a:gd name="T37" fmla="*/ 84 h 218"/>
                  <a:gd name="T38" fmla="*/ 15 w 189"/>
                  <a:gd name="T39" fmla="*/ 66 h 218"/>
                  <a:gd name="T40" fmla="*/ 61 w 189"/>
                  <a:gd name="T41" fmla="*/ 66 h 218"/>
                  <a:gd name="T42" fmla="*/ 74 w 189"/>
                  <a:gd name="T43" fmla="*/ 0 h 218"/>
                  <a:gd name="T44" fmla="*/ 96 w 189"/>
                  <a:gd name="T45" fmla="*/ 0 h 218"/>
                  <a:gd name="T46" fmla="*/ 82 w 189"/>
                  <a:gd name="T47" fmla="*/ 66 h 218"/>
                  <a:gd name="T48" fmla="*/ 124 w 189"/>
                  <a:gd name="T49" fmla="*/ 66 h 218"/>
                  <a:gd name="T50" fmla="*/ 138 w 189"/>
                  <a:gd name="T51" fmla="*/ 0 h 218"/>
                  <a:gd name="T52" fmla="*/ 159 w 189"/>
                  <a:gd name="T53" fmla="*/ 0 h 218"/>
                  <a:gd name="T54" fmla="*/ 145 w 189"/>
                  <a:gd name="T55" fmla="*/ 66 h 218"/>
                  <a:gd name="T56" fmla="*/ 189 w 189"/>
                  <a:gd name="T57" fmla="*/ 66 h 218"/>
                  <a:gd name="T58" fmla="*/ 121 w 189"/>
                  <a:gd name="T59" fmla="*/ 84 h 218"/>
                  <a:gd name="T60" fmla="*/ 78 w 189"/>
                  <a:gd name="T61" fmla="*/ 84 h 218"/>
                  <a:gd name="T62" fmla="*/ 67 w 189"/>
                  <a:gd name="T63" fmla="*/ 134 h 218"/>
                  <a:gd name="T64" fmla="*/ 110 w 189"/>
                  <a:gd name="T65" fmla="*/ 134 h 218"/>
                  <a:gd name="T66" fmla="*/ 121 w 189"/>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8">
                    <a:moveTo>
                      <a:pt x="189" y="66"/>
                    </a:moveTo>
                    <a:lnTo>
                      <a:pt x="184" y="84"/>
                    </a:lnTo>
                    <a:lnTo>
                      <a:pt x="141" y="84"/>
                    </a:lnTo>
                    <a:lnTo>
                      <a:pt x="130" y="134"/>
                    </a:lnTo>
                    <a:lnTo>
                      <a:pt x="178" y="134"/>
                    </a:lnTo>
                    <a:lnTo>
                      <a:pt x="173" y="151"/>
                    </a:lnTo>
                    <a:lnTo>
                      <a:pt x="127" y="151"/>
                    </a:lnTo>
                    <a:lnTo>
                      <a:pt x="112" y="218"/>
                    </a:lnTo>
                    <a:lnTo>
                      <a:pt x="91" y="218"/>
                    </a:lnTo>
                    <a:lnTo>
                      <a:pt x="106" y="151"/>
                    </a:lnTo>
                    <a:lnTo>
                      <a:pt x="65" y="151"/>
                    </a:lnTo>
                    <a:lnTo>
                      <a:pt x="50" y="218"/>
                    </a:lnTo>
                    <a:lnTo>
                      <a:pt x="29" y="218"/>
                    </a:lnTo>
                    <a:lnTo>
                      <a:pt x="43" y="151"/>
                    </a:lnTo>
                    <a:lnTo>
                      <a:pt x="0" y="151"/>
                    </a:lnTo>
                    <a:lnTo>
                      <a:pt x="3" y="134"/>
                    </a:lnTo>
                    <a:lnTo>
                      <a:pt x="48" y="134"/>
                    </a:lnTo>
                    <a:lnTo>
                      <a:pt x="57" y="84"/>
                    </a:lnTo>
                    <a:lnTo>
                      <a:pt x="11" y="84"/>
                    </a:lnTo>
                    <a:lnTo>
                      <a:pt x="15" y="66"/>
                    </a:lnTo>
                    <a:lnTo>
                      <a:pt x="61" y="66"/>
                    </a:lnTo>
                    <a:lnTo>
                      <a:pt x="74" y="0"/>
                    </a:lnTo>
                    <a:lnTo>
                      <a:pt x="96" y="0"/>
                    </a:lnTo>
                    <a:lnTo>
                      <a:pt x="82" y="66"/>
                    </a:lnTo>
                    <a:lnTo>
                      <a:pt x="124" y="66"/>
                    </a:lnTo>
                    <a:lnTo>
                      <a:pt x="138" y="0"/>
                    </a:lnTo>
                    <a:lnTo>
                      <a:pt x="159" y="0"/>
                    </a:lnTo>
                    <a:lnTo>
                      <a:pt x="145" y="66"/>
                    </a:lnTo>
                    <a:lnTo>
                      <a:pt x="189" y="66"/>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Freeform 387"/>
              <p:cNvSpPr>
                <a:spLocks noEditPoints="1"/>
              </p:cNvSpPr>
              <p:nvPr userDrawn="1"/>
            </p:nvSpPr>
            <p:spPr bwMode="auto">
              <a:xfrm>
                <a:off x="4502"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Freeform 388"/>
              <p:cNvSpPr>
                <a:spLocks noEditPoints="1"/>
              </p:cNvSpPr>
              <p:nvPr userDrawn="1"/>
            </p:nvSpPr>
            <p:spPr bwMode="auto">
              <a:xfrm>
                <a:off x="4697"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Freeform 389"/>
              <p:cNvSpPr>
                <a:spLocks/>
              </p:cNvSpPr>
              <p:nvPr userDrawn="1"/>
            </p:nvSpPr>
            <p:spPr bwMode="auto">
              <a:xfrm>
                <a:off x="4894" y="37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Freeform 390"/>
              <p:cNvSpPr>
                <a:spLocks noEditPoints="1"/>
              </p:cNvSpPr>
              <p:nvPr userDrawn="1"/>
            </p:nvSpPr>
            <p:spPr bwMode="auto">
              <a:xfrm>
                <a:off x="5043" y="374"/>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Freeform 391"/>
              <p:cNvSpPr>
                <a:spLocks/>
              </p:cNvSpPr>
              <p:nvPr userDrawn="1"/>
            </p:nvSpPr>
            <p:spPr bwMode="auto">
              <a:xfrm>
                <a:off x="5241" y="372"/>
                <a:ext cx="82"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Freeform 392"/>
              <p:cNvSpPr>
                <a:spLocks/>
              </p:cNvSpPr>
              <p:nvPr userDrawn="1"/>
            </p:nvSpPr>
            <p:spPr bwMode="auto">
              <a:xfrm>
                <a:off x="5389"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5" name="Freeform 393"/>
              <p:cNvSpPr>
                <a:spLocks/>
              </p:cNvSpPr>
              <p:nvPr userDrawn="1"/>
            </p:nvSpPr>
            <p:spPr bwMode="auto">
              <a:xfrm>
                <a:off x="5539"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6" name="Freeform 394"/>
              <p:cNvSpPr>
                <a:spLocks noEditPoints="1"/>
              </p:cNvSpPr>
              <p:nvPr userDrawn="1"/>
            </p:nvSpPr>
            <p:spPr bwMode="auto">
              <a:xfrm>
                <a:off x="5687"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Freeform 395"/>
              <p:cNvSpPr>
                <a:spLocks/>
              </p:cNvSpPr>
              <p:nvPr userDrawn="1"/>
            </p:nvSpPr>
            <p:spPr bwMode="auto">
              <a:xfrm>
                <a:off x="5877" y="379"/>
                <a:ext cx="78" cy="293"/>
              </a:xfrm>
              <a:custGeom>
                <a:avLst/>
                <a:gdLst>
                  <a:gd name="T0" fmla="*/ 64 w 64"/>
                  <a:gd name="T1" fmla="*/ 240 h 240"/>
                  <a:gd name="T2" fmla="*/ 22 w 64"/>
                  <a:gd name="T3" fmla="*/ 198 h 240"/>
                  <a:gd name="T4" fmla="*/ 22 w 64"/>
                  <a:gd name="T5" fmla="*/ 157 h 240"/>
                  <a:gd name="T6" fmla="*/ 0 w 64"/>
                  <a:gd name="T7" fmla="*/ 128 h 240"/>
                  <a:gd name="T8" fmla="*/ 0 w 64"/>
                  <a:gd name="T9" fmla="*/ 112 h 240"/>
                  <a:gd name="T10" fmla="*/ 22 w 64"/>
                  <a:gd name="T11" fmla="*/ 82 h 240"/>
                  <a:gd name="T12" fmla="*/ 22 w 64"/>
                  <a:gd name="T13" fmla="*/ 42 h 240"/>
                  <a:gd name="T14" fmla="*/ 64 w 64"/>
                  <a:gd name="T15" fmla="*/ 0 h 240"/>
                  <a:gd name="T16" fmla="*/ 64 w 64"/>
                  <a:gd name="T17" fmla="*/ 17 h 240"/>
                  <a:gd name="T18" fmla="*/ 42 w 64"/>
                  <a:gd name="T19" fmla="*/ 44 h 240"/>
                  <a:gd name="T20" fmla="*/ 42 w 64"/>
                  <a:gd name="T21" fmla="*/ 84 h 240"/>
                  <a:gd name="T22" fmla="*/ 21 w 64"/>
                  <a:gd name="T23" fmla="*/ 119 h 240"/>
                  <a:gd name="T24" fmla="*/ 21 w 64"/>
                  <a:gd name="T25" fmla="*/ 120 h 240"/>
                  <a:gd name="T26" fmla="*/ 42 w 64"/>
                  <a:gd name="T27" fmla="*/ 155 h 240"/>
                  <a:gd name="T28" fmla="*/ 42 w 64"/>
                  <a:gd name="T29" fmla="*/ 194 h 240"/>
                  <a:gd name="T30" fmla="*/ 47 w 64"/>
                  <a:gd name="T31" fmla="*/ 216 h 240"/>
                  <a:gd name="T32" fmla="*/ 64 w 64"/>
                  <a:gd name="T33" fmla="*/ 223 h 240"/>
                  <a:gd name="T34" fmla="*/ 64 w 64"/>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240"/>
                    </a:moveTo>
                    <a:cubicBezTo>
                      <a:pt x="36" y="240"/>
                      <a:pt x="22" y="226"/>
                      <a:pt x="22" y="198"/>
                    </a:cubicBezTo>
                    <a:cubicBezTo>
                      <a:pt x="22" y="157"/>
                      <a:pt x="22" y="157"/>
                      <a:pt x="22" y="157"/>
                    </a:cubicBezTo>
                    <a:cubicBezTo>
                      <a:pt x="22" y="138"/>
                      <a:pt x="14" y="129"/>
                      <a:pt x="0" y="128"/>
                    </a:cubicBezTo>
                    <a:cubicBezTo>
                      <a:pt x="0" y="112"/>
                      <a:pt x="0" y="112"/>
                      <a:pt x="0" y="112"/>
                    </a:cubicBezTo>
                    <a:cubicBezTo>
                      <a:pt x="14" y="111"/>
                      <a:pt x="22" y="101"/>
                      <a:pt x="22" y="82"/>
                    </a:cubicBezTo>
                    <a:cubicBezTo>
                      <a:pt x="22" y="42"/>
                      <a:pt x="22" y="42"/>
                      <a:pt x="22" y="42"/>
                    </a:cubicBezTo>
                    <a:cubicBezTo>
                      <a:pt x="22" y="14"/>
                      <a:pt x="36" y="0"/>
                      <a:pt x="64" y="0"/>
                    </a:cubicBezTo>
                    <a:cubicBezTo>
                      <a:pt x="64" y="17"/>
                      <a:pt x="64" y="17"/>
                      <a:pt x="64" y="17"/>
                    </a:cubicBezTo>
                    <a:cubicBezTo>
                      <a:pt x="49" y="17"/>
                      <a:pt x="42" y="26"/>
                      <a:pt x="42" y="44"/>
                    </a:cubicBezTo>
                    <a:cubicBezTo>
                      <a:pt x="42" y="84"/>
                      <a:pt x="42" y="84"/>
                      <a:pt x="42" y="84"/>
                    </a:cubicBezTo>
                    <a:cubicBezTo>
                      <a:pt x="42" y="103"/>
                      <a:pt x="35" y="115"/>
                      <a:pt x="21" y="119"/>
                    </a:cubicBezTo>
                    <a:cubicBezTo>
                      <a:pt x="21" y="120"/>
                      <a:pt x="21" y="120"/>
                      <a:pt x="21" y="120"/>
                    </a:cubicBezTo>
                    <a:cubicBezTo>
                      <a:pt x="35" y="124"/>
                      <a:pt x="42" y="136"/>
                      <a:pt x="42" y="155"/>
                    </a:cubicBezTo>
                    <a:cubicBezTo>
                      <a:pt x="42" y="194"/>
                      <a:pt x="42" y="194"/>
                      <a:pt x="42" y="194"/>
                    </a:cubicBezTo>
                    <a:cubicBezTo>
                      <a:pt x="42" y="205"/>
                      <a:pt x="43" y="212"/>
                      <a:pt x="47" y="216"/>
                    </a:cubicBezTo>
                    <a:cubicBezTo>
                      <a:pt x="50" y="220"/>
                      <a:pt x="55" y="223"/>
                      <a:pt x="64" y="223"/>
                    </a:cubicBezTo>
                    <a:lnTo>
                      <a:pt x="64"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8" name="Freeform 396"/>
              <p:cNvSpPr>
                <a:spLocks/>
              </p:cNvSpPr>
              <p:nvPr userDrawn="1"/>
            </p:nvSpPr>
            <p:spPr bwMode="auto">
              <a:xfrm>
                <a:off x="5985" y="379"/>
                <a:ext cx="77" cy="293"/>
              </a:xfrm>
              <a:custGeom>
                <a:avLst/>
                <a:gdLst>
                  <a:gd name="T0" fmla="*/ 63 w 63"/>
                  <a:gd name="T1" fmla="*/ 128 h 240"/>
                  <a:gd name="T2" fmla="*/ 41 w 63"/>
                  <a:gd name="T3" fmla="*/ 157 h 240"/>
                  <a:gd name="T4" fmla="*/ 41 w 63"/>
                  <a:gd name="T5" fmla="*/ 198 h 240"/>
                  <a:gd name="T6" fmla="*/ 0 w 63"/>
                  <a:gd name="T7" fmla="*/ 240 h 240"/>
                  <a:gd name="T8" fmla="*/ 0 w 63"/>
                  <a:gd name="T9" fmla="*/ 223 h 240"/>
                  <a:gd name="T10" fmla="*/ 16 w 63"/>
                  <a:gd name="T11" fmla="*/ 216 h 240"/>
                  <a:gd name="T12" fmla="*/ 21 w 63"/>
                  <a:gd name="T13" fmla="*/ 194 h 240"/>
                  <a:gd name="T14" fmla="*/ 21 w 63"/>
                  <a:gd name="T15" fmla="*/ 155 h 240"/>
                  <a:gd name="T16" fmla="*/ 42 w 63"/>
                  <a:gd name="T17" fmla="*/ 120 h 240"/>
                  <a:gd name="T18" fmla="*/ 42 w 63"/>
                  <a:gd name="T19" fmla="*/ 119 h 240"/>
                  <a:gd name="T20" fmla="*/ 21 w 63"/>
                  <a:gd name="T21" fmla="*/ 84 h 240"/>
                  <a:gd name="T22" fmla="*/ 21 w 63"/>
                  <a:gd name="T23" fmla="*/ 44 h 240"/>
                  <a:gd name="T24" fmla="*/ 0 w 63"/>
                  <a:gd name="T25" fmla="*/ 17 h 240"/>
                  <a:gd name="T26" fmla="*/ 0 w 63"/>
                  <a:gd name="T27" fmla="*/ 0 h 240"/>
                  <a:gd name="T28" fmla="*/ 41 w 63"/>
                  <a:gd name="T29" fmla="*/ 42 h 240"/>
                  <a:gd name="T30" fmla="*/ 41 w 63"/>
                  <a:gd name="T31" fmla="*/ 82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9" y="129"/>
                      <a:pt x="41" y="138"/>
                      <a:pt x="41" y="157"/>
                    </a:cubicBezTo>
                    <a:cubicBezTo>
                      <a:pt x="41" y="198"/>
                      <a:pt x="41" y="198"/>
                      <a:pt x="41" y="198"/>
                    </a:cubicBezTo>
                    <a:cubicBezTo>
                      <a:pt x="41" y="226"/>
                      <a:pt x="27" y="240"/>
                      <a:pt x="0" y="240"/>
                    </a:cubicBezTo>
                    <a:cubicBezTo>
                      <a:pt x="0" y="223"/>
                      <a:pt x="0" y="223"/>
                      <a:pt x="0" y="223"/>
                    </a:cubicBezTo>
                    <a:cubicBezTo>
                      <a:pt x="8" y="223"/>
                      <a:pt x="13" y="220"/>
                      <a:pt x="16" y="216"/>
                    </a:cubicBezTo>
                    <a:cubicBezTo>
                      <a:pt x="20" y="212"/>
                      <a:pt x="21" y="204"/>
                      <a:pt x="21" y="194"/>
                    </a:cubicBezTo>
                    <a:cubicBezTo>
                      <a:pt x="21" y="155"/>
                      <a:pt x="21" y="155"/>
                      <a:pt x="21" y="155"/>
                    </a:cubicBezTo>
                    <a:cubicBezTo>
                      <a:pt x="21" y="136"/>
                      <a:pt x="28" y="124"/>
                      <a:pt x="42" y="120"/>
                    </a:cubicBezTo>
                    <a:cubicBezTo>
                      <a:pt x="42" y="119"/>
                      <a:pt x="42" y="119"/>
                      <a:pt x="42" y="119"/>
                    </a:cubicBezTo>
                    <a:cubicBezTo>
                      <a:pt x="28" y="115"/>
                      <a:pt x="21" y="103"/>
                      <a:pt x="21" y="84"/>
                    </a:cubicBezTo>
                    <a:cubicBezTo>
                      <a:pt x="21" y="44"/>
                      <a:pt x="21" y="44"/>
                      <a:pt x="21" y="44"/>
                    </a:cubicBezTo>
                    <a:cubicBezTo>
                      <a:pt x="21" y="26"/>
                      <a:pt x="14" y="17"/>
                      <a:pt x="0" y="17"/>
                    </a:cubicBezTo>
                    <a:cubicBezTo>
                      <a:pt x="0" y="0"/>
                      <a:pt x="0" y="0"/>
                      <a:pt x="0" y="0"/>
                    </a:cubicBezTo>
                    <a:cubicBezTo>
                      <a:pt x="27" y="0"/>
                      <a:pt x="41" y="14"/>
                      <a:pt x="41" y="42"/>
                    </a:cubicBezTo>
                    <a:cubicBezTo>
                      <a:pt x="41" y="82"/>
                      <a:pt x="41" y="82"/>
                      <a:pt x="41" y="82"/>
                    </a:cubicBezTo>
                    <a:cubicBezTo>
                      <a:pt x="41" y="101"/>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9" name="Freeform 397"/>
              <p:cNvSpPr>
                <a:spLocks/>
              </p:cNvSpPr>
              <p:nvPr userDrawn="1"/>
            </p:nvSpPr>
            <p:spPr bwMode="auto">
              <a:xfrm>
                <a:off x="6092"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0" name="Freeform 398"/>
              <p:cNvSpPr>
                <a:spLocks noEditPoints="1"/>
              </p:cNvSpPr>
              <p:nvPr userDrawn="1"/>
            </p:nvSpPr>
            <p:spPr bwMode="auto">
              <a:xfrm>
                <a:off x="6240"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7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7"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1" name="Freeform 399"/>
              <p:cNvSpPr>
                <a:spLocks noEditPoints="1"/>
              </p:cNvSpPr>
              <p:nvPr userDrawn="1"/>
            </p:nvSpPr>
            <p:spPr bwMode="auto">
              <a:xfrm>
                <a:off x="6435"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2" name="Freeform 400"/>
              <p:cNvSpPr>
                <a:spLocks/>
              </p:cNvSpPr>
              <p:nvPr userDrawn="1"/>
            </p:nvSpPr>
            <p:spPr bwMode="auto">
              <a:xfrm>
                <a:off x="6634" y="372"/>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3" name="Freeform 401"/>
              <p:cNvSpPr>
                <a:spLocks noEditPoints="1"/>
              </p:cNvSpPr>
              <p:nvPr userDrawn="1"/>
            </p:nvSpPr>
            <p:spPr bwMode="auto">
              <a:xfrm>
                <a:off x="6781"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Freeform 402"/>
              <p:cNvSpPr>
                <a:spLocks/>
              </p:cNvSpPr>
              <p:nvPr userDrawn="1"/>
            </p:nvSpPr>
            <p:spPr bwMode="auto">
              <a:xfrm>
                <a:off x="6978"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Freeform 403"/>
              <p:cNvSpPr>
                <a:spLocks noEditPoints="1"/>
              </p:cNvSpPr>
              <p:nvPr userDrawn="1"/>
            </p:nvSpPr>
            <p:spPr bwMode="auto">
              <a:xfrm>
                <a:off x="7127"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6" name="Freeform 404"/>
              <p:cNvSpPr>
                <a:spLocks/>
              </p:cNvSpPr>
              <p:nvPr userDrawn="1"/>
            </p:nvSpPr>
            <p:spPr bwMode="auto">
              <a:xfrm>
                <a:off x="7325" y="372"/>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7" name="Freeform 405"/>
              <p:cNvSpPr>
                <a:spLocks noEditPoints="1"/>
              </p:cNvSpPr>
              <p:nvPr userDrawn="1"/>
            </p:nvSpPr>
            <p:spPr bwMode="auto">
              <a:xfrm>
                <a:off x="7473" y="374"/>
                <a:ext cx="155" cy="248"/>
              </a:xfrm>
              <a:custGeom>
                <a:avLst/>
                <a:gdLst>
                  <a:gd name="T0" fmla="*/ 127 w 127"/>
                  <a:gd name="T1" fmla="*/ 101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1" y="203"/>
                    </a:cubicBezTo>
                    <a:cubicBezTo>
                      <a:pt x="52" y="203"/>
                      <a:pt x="43" y="201"/>
                      <a:pt x="35" y="196"/>
                    </a:cubicBezTo>
                    <a:cubicBezTo>
                      <a:pt x="27"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5"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8" name="Freeform 406"/>
              <p:cNvSpPr>
                <a:spLocks/>
              </p:cNvSpPr>
              <p:nvPr userDrawn="1"/>
            </p:nvSpPr>
            <p:spPr bwMode="auto">
              <a:xfrm>
                <a:off x="7671" y="372"/>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2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9" name="Freeform 407"/>
              <p:cNvSpPr>
                <a:spLocks noEditPoints="1"/>
              </p:cNvSpPr>
              <p:nvPr userDrawn="1"/>
            </p:nvSpPr>
            <p:spPr bwMode="auto">
              <a:xfrm>
                <a:off x="3461" y="365"/>
                <a:ext cx="218" cy="255"/>
              </a:xfrm>
              <a:custGeom>
                <a:avLst/>
                <a:gdLst>
                  <a:gd name="T0" fmla="*/ 175 w 179"/>
                  <a:gd name="T1" fmla="*/ 174 h 209"/>
                  <a:gd name="T2" fmla="*/ 134 w 179"/>
                  <a:gd name="T3" fmla="*/ 209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10" y="198"/>
                    </a:cubicBezTo>
                    <a:cubicBezTo>
                      <a:pt x="100" y="198"/>
                      <a:pt x="90" y="198"/>
                      <a:pt x="81" y="198"/>
                    </a:cubicBezTo>
                    <a:cubicBezTo>
                      <a:pt x="76" y="198"/>
                      <a:pt x="72" y="199"/>
                      <a:pt x="68" y="202"/>
                    </a:cubicBezTo>
                    <a:cubicBezTo>
                      <a:pt x="66" y="203"/>
                      <a:pt x="64" y="204"/>
                      <a:pt x="63" y="205"/>
                    </a:cubicBezTo>
                    <a:cubicBezTo>
                      <a:pt x="58" y="208"/>
                      <a:pt x="54" y="209"/>
                      <a:pt x="48" y="207"/>
                    </a:cubicBezTo>
                    <a:cubicBezTo>
                      <a:pt x="43" y="206"/>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4" y="176"/>
                      <a:pt x="3" y="172"/>
                    </a:cubicBezTo>
                    <a:cubicBezTo>
                      <a:pt x="3" y="170"/>
                      <a:pt x="2" y="168"/>
                      <a:pt x="2" y="167"/>
                    </a:cubicBezTo>
                    <a:cubicBezTo>
                      <a:pt x="1" y="162"/>
                      <a:pt x="3" y="160"/>
                      <a:pt x="7" y="160"/>
                    </a:cubicBezTo>
                    <a:cubicBezTo>
                      <a:pt x="10" y="160"/>
                      <a:pt x="12" y="160"/>
                      <a:pt x="14" y="159"/>
                    </a:cubicBezTo>
                    <a:cubicBezTo>
                      <a:pt x="19" y="158"/>
                      <a:pt x="22" y="155"/>
                      <a:pt x="23" y="150"/>
                    </a:cubicBezTo>
                    <a:cubicBezTo>
                      <a:pt x="23" y="150"/>
                      <a:pt x="23" y="150"/>
                      <a:pt x="23" y="150"/>
                    </a:cubicBezTo>
                    <a:cubicBezTo>
                      <a:pt x="25" y="153"/>
                      <a:pt x="23" y="160"/>
                      <a:pt x="17" y="161"/>
                    </a:cubicBezTo>
                    <a:cubicBezTo>
                      <a:pt x="15" y="162"/>
                      <a:pt x="12" y="163"/>
                      <a:pt x="9" y="162"/>
                    </a:cubicBezTo>
                    <a:cubicBezTo>
                      <a:pt x="9" y="162"/>
                      <a:pt x="9" y="162"/>
                      <a:pt x="9" y="162"/>
                    </a:cubicBezTo>
                    <a:cubicBezTo>
                      <a:pt x="5" y="162"/>
                      <a:pt x="3" y="164"/>
                      <a:pt x="4" y="168"/>
                    </a:cubicBezTo>
                    <a:cubicBezTo>
                      <a:pt x="5" y="169"/>
                      <a:pt x="6" y="171"/>
                      <a:pt x="6" y="172"/>
                    </a:cubicBezTo>
                    <a:cubicBezTo>
                      <a:pt x="8" y="176"/>
                      <a:pt x="8" y="180"/>
                      <a:pt x="6" y="183"/>
                    </a:cubicBezTo>
                    <a:cubicBezTo>
                      <a:pt x="6" y="185"/>
                      <a:pt x="5" y="186"/>
                      <a:pt x="5" y="188"/>
                    </a:cubicBezTo>
                    <a:cubicBezTo>
                      <a:pt x="4" y="190"/>
                      <a:pt x="4" y="192"/>
                      <a:pt x="7" y="192"/>
                    </a:cubicBezTo>
                    <a:cubicBezTo>
                      <a:pt x="9" y="193"/>
                      <a:pt x="11" y="194"/>
                      <a:pt x="13" y="194"/>
                    </a:cubicBezTo>
                    <a:cubicBezTo>
                      <a:pt x="24" y="196"/>
                      <a:pt x="35" y="199"/>
                      <a:pt x="45" y="202"/>
                    </a:cubicBezTo>
                    <a:cubicBezTo>
                      <a:pt x="49" y="203"/>
                      <a:pt x="52" y="204"/>
                      <a:pt x="55" y="203"/>
                    </a:cubicBezTo>
                    <a:cubicBezTo>
                      <a:pt x="63" y="202"/>
                      <a:pt x="66" y="197"/>
                      <a:pt x="65" y="190"/>
                    </a:cubicBezTo>
                    <a:cubicBezTo>
                      <a:pt x="64" y="186"/>
                      <a:pt x="62" y="182"/>
                      <a:pt x="60" y="179"/>
                    </a:cubicBezTo>
                    <a:cubicBezTo>
                      <a:pt x="55" y="170"/>
                      <a:pt x="49" y="161"/>
                      <a:pt x="42" y="152"/>
                    </a:cubicBezTo>
                    <a:cubicBezTo>
                      <a:pt x="40" y="150"/>
                      <a:pt x="37" y="147"/>
                      <a:pt x="35" y="145"/>
                    </a:cubicBezTo>
                    <a:cubicBezTo>
                      <a:pt x="32" y="143"/>
                      <a:pt x="30" y="143"/>
                      <a:pt x="27" y="145"/>
                    </a:cubicBezTo>
                    <a:cubicBezTo>
                      <a:pt x="26" y="145"/>
                      <a:pt x="25" y="145"/>
                      <a:pt x="25" y="144"/>
                    </a:cubicBezTo>
                    <a:cubicBezTo>
                      <a:pt x="24" y="140"/>
                      <a:pt x="24" y="137"/>
                      <a:pt x="25" y="134"/>
                    </a:cubicBezTo>
                    <a:cubicBezTo>
                      <a:pt x="26" y="132"/>
                      <a:pt x="26" y="131"/>
                      <a:pt x="27" y="130"/>
                    </a:cubicBezTo>
                    <a:cubicBezTo>
                      <a:pt x="30" y="125"/>
                      <a:pt x="33" y="119"/>
                      <a:pt x="35" y="112"/>
                    </a:cubicBezTo>
                    <a:cubicBezTo>
                      <a:pt x="37" y="106"/>
                      <a:pt x="39" y="100"/>
                      <a:pt x="43" y="94"/>
                    </a:cubicBezTo>
                    <a:cubicBezTo>
                      <a:pt x="46" y="90"/>
                      <a:pt x="49" y="87"/>
                      <a:pt x="52" y="83"/>
                    </a:cubicBezTo>
                    <a:cubicBezTo>
                      <a:pt x="54" y="80"/>
                      <a:pt x="56" y="77"/>
                      <a:pt x="58" y="73"/>
                    </a:cubicBezTo>
                    <a:cubicBezTo>
                      <a:pt x="60" y="71"/>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4"/>
                      <a:pt x="122" y="30"/>
                      <a:pt x="122" y="36"/>
                    </a:cubicBezTo>
                    <a:cubicBezTo>
                      <a:pt x="123" y="40"/>
                      <a:pt x="122" y="44"/>
                      <a:pt x="123" y="47"/>
                    </a:cubicBezTo>
                    <a:cubicBezTo>
                      <a:pt x="124" y="61"/>
                      <a:pt x="128" y="74"/>
                      <a:pt x="138"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9"/>
                      <a:pt x="154" y="151"/>
                      <a:pt x="153" y="152"/>
                    </a:cubicBezTo>
                    <a:cubicBezTo>
                      <a:pt x="151" y="154"/>
                      <a:pt x="149" y="156"/>
                      <a:pt x="147" y="158"/>
                    </a:cubicBezTo>
                    <a:cubicBezTo>
                      <a:pt x="143" y="160"/>
                      <a:pt x="139" y="161"/>
                      <a:pt x="135" y="159"/>
                    </a:cubicBezTo>
                    <a:cubicBezTo>
                      <a:pt x="133" y="159"/>
                      <a:pt x="132" y="157"/>
                      <a:pt x="131" y="155"/>
                    </a:cubicBezTo>
                    <a:cubicBezTo>
                      <a:pt x="130" y="154"/>
                      <a:pt x="129" y="152"/>
                      <a:pt x="128" y="151"/>
                    </a:cubicBezTo>
                    <a:cubicBezTo>
                      <a:pt x="127" y="149"/>
                      <a:pt x="126" y="148"/>
                      <a:pt x="125" y="148"/>
                    </a:cubicBezTo>
                    <a:cubicBezTo>
                      <a:pt x="123" y="148"/>
                      <a:pt x="122" y="150"/>
                      <a:pt x="121" y="151"/>
                    </a:cubicBezTo>
                    <a:cubicBezTo>
                      <a:pt x="120" y="155"/>
                      <a:pt x="120" y="159"/>
                      <a:pt x="121" y="163"/>
                    </a:cubicBezTo>
                    <a:cubicBezTo>
                      <a:pt x="123" y="171"/>
                      <a:pt x="123" y="178"/>
                      <a:pt x="122" y="186"/>
                    </a:cubicBezTo>
                    <a:cubicBezTo>
                      <a:pt x="121" y="189"/>
                      <a:pt x="121" y="192"/>
                      <a:pt x="122" y="194"/>
                    </a:cubicBezTo>
                    <a:cubicBezTo>
                      <a:pt x="123" y="201"/>
                      <a:pt x="129" y="205"/>
                      <a:pt x="136" y="202"/>
                    </a:cubicBezTo>
                    <a:cubicBezTo>
                      <a:pt x="139" y="201"/>
                      <a:pt x="142" y="199"/>
                      <a:pt x="144" y="197"/>
                    </a:cubicBezTo>
                    <a:cubicBezTo>
                      <a:pt x="150" y="192"/>
                      <a:pt x="158" y="189"/>
                      <a:pt x="165" y="186"/>
                    </a:cubicBezTo>
                    <a:cubicBezTo>
                      <a:pt x="168" y="185"/>
                      <a:pt x="170"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1"/>
                      <a:pt x="160" y="158"/>
                      <a:pt x="160" y="155"/>
                    </a:cubicBezTo>
                    <a:cubicBezTo>
                      <a:pt x="160" y="154"/>
                      <a:pt x="160" y="154"/>
                      <a:pt x="161" y="153"/>
                    </a:cubicBezTo>
                    <a:close/>
                    <a:moveTo>
                      <a:pt x="71" y="69"/>
                    </a:moveTo>
                    <a:cubicBezTo>
                      <a:pt x="71" y="69"/>
                      <a:pt x="71" y="69"/>
                      <a:pt x="71" y="69"/>
                    </a:cubicBezTo>
                    <a:cubicBezTo>
                      <a:pt x="73" y="71"/>
                      <a:pt x="74" y="73"/>
                      <a:pt x="77" y="74"/>
                    </a:cubicBezTo>
                    <a:cubicBezTo>
                      <a:pt x="81" y="74"/>
                      <a:pt x="85" y="73"/>
                      <a:pt x="88" y="72"/>
                    </a:cubicBezTo>
                    <a:cubicBezTo>
                      <a:pt x="91" y="70"/>
                      <a:pt x="94" y="68"/>
                      <a:pt x="98" y="67"/>
                    </a:cubicBezTo>
                    <a:cubicBezTo>
                      <a:pt x="99" y="66"/>
                      <a:pt x="100" y="66"/>
                      <a:pt x="101" y="66"/>
                    </a:cubicBezTo>
                    <a:cubicBezTo>
                      <a:pt x="101" y="66"/>
                      <a:pt x="102" y="66"/>
                      <a:pt x="102" y="66"/>
                    </a:cubicBezTo>
                    <a:cubicBezTo>
                      <a:pt x="102" y="67"/>
                      <a:pt x="102" y="68"/>
                      <a:pt x="102" y="68"/>
                    </a:cubicBezTo>
                    <a:cubicBezTo>
                      <a:pt x="101" y="69"/>
                      <a:pt x="100" y="69"/>
                      <a:pt x="99" y="69"/>
                    </a:cubicBezTo>
                    <a:cubicBezTo>
                      <a:pt x="95" y="71"/>
                      <a:pt x="91" y="74"/>
                      <a:pt x="87" y="77"/>
                    </a:cubicBezTo>
                    <a:cubicBezTo>
                      <a:pt x="85" y="79"/>
                      <a:pt x="83" y="80"/>
                      <a:pt x="81" y="81"/>
                    </a:cubicBezTo>
                    <a:cubicBezTo>
                      <a:pt x="78" y="82"/>
                      <a:pt x="76" y="82"/>
                      <a:pt x="73" y="79"/>
                    </a:cubicBezTo>
                    <a:cubicBezTo>
                      <a:pt x="71" y="77"/>
                      <a:pt x="69" y="74"/>
                      <a:pt x="67" y="71"/>
                    </a:cubicBezTo>
                    <a:cubicBezTo>
                      <a:pt x="67" y="71"/>
                      <a:pt x="66" y="70"/>
                      <a:pt x="65" y="69"/>
                    </a:cubicBezTo>
                    <a:cubicBezTo>
                      <a:pt x="65" y="70"/>
                      <a:pt x="65" y="70"/>
                      <a:pt x="65" y="71"/>
                    </a:cubicBezTo>
                    <a:cubicBezTo>
                      <a:pt x="64"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30"/>
                      <a:pt x="38" y="125"/>
                    </a:cubicBezTo>
                    <a:cubicBezTo>
                      <a:pt x="38" y="124"/>
                      <a:pt x="38" y="122"/>
                      <a:pt x="38" y="121"/>
                    </a:cubicBezTo>
                    <a:cubicBezTo>
                      <a:pt x="38" y="121"/>
                      <a:pt x="38" y="121"/>
                      <a:pt x="38" y="121"/>
                    </a:cubicBezTo>
                    <a:cubicBezTo>
                      <a:pt x="37" y="122"/>
                      <a:pt x="37" y="122"/>
                      <a:pt x="37" y="123"/>
                    </a:cubicBezTo>
                    <a:cubicBezTo>
                      <a:pt x="35" y="127"/>
                      <a:pt x="35" y="131"/>
                      <a:pt x="37" y="135"/>
                    </a:cubicBezTo>
                    <a:cubicBezTo>
                      <a:pt x="37" y="138"/>
                      <a:pt x="38" y="141"/>
                      <a:pt x="40" y="143"/>
                    </a:cubicBezTo>
                    <a:cubicBezTo>
                      <a:pt x="44" y="146"/>
                      <a:pt x="48" y="150"/>
                      <a:pt x="52" y="153"/>
                    </a:cubicBezTo>
                    <a:cubicBezTo>
                      <a:pt x="57" y="157"/>
                      <a:pt x="62" y="161"/>
                      <a:pt x="67" y="165"/>
                    </a:cubicBezTo>
                    <a:cubicBezTo>
                      <a:pt x="69" y="167"/>
                      <a:pt x="70" y="169"/>
                      <a:pt x="69" y="172"/>
                    </a:cubicBezTo>
                    <a:cubicBezTo>
                      <a:pt x="68" y="175"/>
                      <a:pt x="67" y="176"/>
                      <a:pt x="64" y="177"/>
                    </a:cubicBezTo>
                    <a:cubicBezTo>
                      <a:pt x="64" y="178"/>
                      <a:pt x="63" y="178"/>
                      <a:pt x="62" y="178"/>
                    </a:cubicBezTo>
                    <a:cubicBezTo>
                      <a:pt x="63" y="180"/>
                      <a:pt x="65" y="182"/>
                      <a:pt x="66" y="183"/>
                    </a:cubicBezTo>
                    <a:cubicBezTo>
                      <a:pt x="68" y="186"/>
                      <a:pt x="69" y="189"/>
                      <a:pt x="69" y="192"/>
                    </a:cubicBezTo>
                    <a:cubicBezTo>
                      <a:pt x="70" y="194"/>
                      <a:pt x="70" y="195"/>
                      <a:pt x="70" y="197"/>
                    </a:cubicBezTo>
                    <a:cubicBezTo>
                      <a:pt x="70" y="197"/>
                      <a:pt x="70" y="197"/>
                      <a:pt x="70" y="197"/>
                    </a:cubicBezTo>
                    <a:cubicBezTo>
                      <a:pt x="73" y="195"/>
                      <a:pt x="73" y="193"/>
                      <a:pt x="72" y="191"/>
                    </a:cubicBezTo>
                    <a:cubicBezTo>
                      <a:pt x="72" y="188"/>
                      <a:pt x="70" y="186"/>
                      <a:pt x="69" y="184"/>
                    </a:cubicBezTo>
                    <a:cubicBezTo>
                      <a:pt x="68" y="184"/>
                      <a:pt x="68" y="183"/>
                      <a:pt x="68" y="183"/>
                    </a:cubicBezTo>
                    <a:cubicBezTo>
                      <a:pt x="69" y="181"/>
                      <a:pt x="71" y="181"/>
                      <a:pt x="72" y="182"/>
                    </a:cubicBezTo>
                    <a:cubicBezTo>
                      <a:pt x="74" y="184"/>
                      <a:pt x="76" y="185"/>
                      <a:pt x="79" y="186"/>
                    </a:cubicBezTo>
                    <a:cubicBezTo>
                      <a:pt x="85" y="187"/>
                      <a:pt x="91" y="187"/>
                      <a:pt x="97" y="185"/>
                    </a:cubicBezTo>
                    <a:cubicBezTo>
                      <a:pt x="101" y="184"/>
                      <a:pt x="106" y="182"/>
                      <a:pt x="109" y="179"/>
                    </a:cubicBezTo>
                    <a:cubicBezTo>
                      <a:pt x="111" y="177"/>
                      <a:pt x="112" y="175"/>
                      <a:pt x="114" y="174"/>
                    </a:cubicBezTo>
                    <a:cubicBezTo>
                      <a:pt x="114" y="173"/>
                      <a:pt x="115" y="172"/>
                      <a:pt x="115" y="173"/>
                    </a:cubicBezTo>
                    <a:cubicBezTo>
                      <a:pt x="116" y="173"/>
                      <a:pt x="116" y="174"/>
                      <a:pt x="117" y="174"/>
                    </a:cubicBezTo>
                    <a:cubicBezTo>
                      <a:pt x="117" y="178"/>
                      <a:pt x="117" y="182"/>
                      <a:pt x="115" y="186"/>
                    </a:cubicBezTo>
                    <a:cubicBezTo>
                      <a:pt x="115" y="188"/>
                      <a:pt x="114" y="190"/>
                      <a:pt x="114" y="193"/>
                    </a:cubicBezTo>
                    <a:cubicBezTo>
                      <a:pt x="113" y="195"/>
                      <a:pt x="114" y="195"/>
                      <a:pt x="116" y="195"/>
                    </a:cubicBezTo>
                    <a:cubicBezTo>
                      <a:pt x="117" y="191"/>
                      <a:pt x="118" y="187"/>
                      <a:pt x="119" y="182"/>
                    </a:cubicBezTo>
                    <a:cubicBezTo>
                      <a:pt x="119" y="179"/>
                      <a:pt x="120" y="175"/>
                      <a:pt x="119" y="171"/>
                    </a:cubicBezTo>
                    <a:cubicBezTo>
                      <a:pt x="119" y="167"/>
                      <a:pt x="118" y="163"/>
                      <a:pt x="118" y="160"/>
                    </a:cubicBezTo>
                    <a:cubicBezTo>
                      <a:pt x="118" y="156"/>
                      <a:pt x="118" y="153"/>
                      <a:pt x="119" y="150"/>
                    </a:cubicBezTo>
                    <a:cubicBezTo>
                      <a:pt x="120" y="147"/>
                      <a:pt x="122" y="146"/>
                      <a:pt x="126" y="146"/>
                    </a:cubicBezTo>
                    <a:cubicBezTo>
                      <a:pt x="126" y="146"/>
                      <a:pt x="126" y="146"/>
                      <a:pt x="126" y="146"/>
                    </a:cubicBezTo>
                    <a:cubicBezTo>
                      <a:pt x="127" y="142"/>
                      <a:pt x="129" y="140"/>
                      <a:pt x="132" y="139"/>
                    </a:cubicBezTo>
                    <a:cubicBezTo>
                      <a:pt x="137" y="138"/>
                      <a:pt x="142" y="138"/>
                      <a:pt x="146" y="141"/>
                    </a:cubicBezTo>
                    <a:cubicBezTo>
                      <a:pt x="145" y="138"/>
                      <a:pt x="142" y="138"/>
                      <a:pt x="140" y="136"/>
                    </a:cubicBezTo>
                    <a:cubicBezTo>
                      <a:pt x="145" y="119"/>
                      <a:pt x="136" y="97"/>
                      <a:pt x="126" y="92"/>
                    </a:cubicBezTo>
                    <a:cubicBezTo>
                      <a:pt x="131" y="97"/>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3"/>
                    </a:cubicBezTo>
                    <a:cubicBezTo>
                      <a:pt x="106" y="70"/>
                      <a:pt x="105" y="67"/>
                      <a:pt x="106" y="64"/>
                    </a:cubicBezTo>
                    <a:cubicBezTo>
                      <a:pt x="106" y="62"/>
                      <a:pt x="106" y="60"/>
                      <a:pt x="107" y="59"/>
                    </a:cubicBezTo>
                    <a:cubicBezTo>
                      <a:pt x="107" y="56"/>
                      <a:pt x="106" y="54"/>
                      <a:pt x="104" y="53"/>
                    </a:cubicBezTo>
                    <a:cubicBezTo>
                      <a:pt x="100" y="53"/>
                      <a:pt x="97" y="51"/>
                      <a:pt x="94" y="50"/>
                    </a:cubicBezTo>
                    <a:cubicBezTo>
                      <a:pt x="91" y="49"/>
                      <a:pt x="91" y="47"/>
                      <a:pt x="91" y="45"/>
                    </a:cubicBezTo>
                    <a:cubicBezTo>
                      <a:pt x="91" y="43"/>
                      <a:pt x="91" y="42"/>
                      <a:pt x="92" y="40"/>
                    </a:cubicBezTo>
                    <a:cubicBezTo>
                      <a:pt x="93" y="38"/>
                      <a:pt x="95" y="36"/>
                      <a:pt x="98" y="37"/>
                    </a:cubicBezTo>
                    <a:cubicBezTo>
                      <a:pt x="99" y="37"/>
                      <a:pt x="101" y="38"/>
                      <a:pt x="102" y="40"/>
                    </a:cubicBezTo>
                    <a:cubicBezTo>
                      <a:pt x="103" y="42"/>
                      <a:pt x="103" y="45"/>
                      <a:pt x="102" y="48"/>
                    </a:cubicBezTo>
                    <a:cubicBezTo>
                      <a:pt x="102" y="49"/>
                      <a:pt x="101" y="50"/>
                      <a:pt x="102" y="50"/>
                    </a:cubicBezTo>
                    <a:cubicBezTo>
                      <a:pt x="104" y="51"/>
                      <a:pt x="107" y="50"/>
                      <a:pt x="107" y="48"/>
                    </a:cubicBezTo>
                    <a:cubicBezTo>
                      <a:pt x="108" y="44"/>
                      <a:pt x="107" y="40"/>
                      <a:pt x="105" y="35"/>
                    </a:cubicBezTo>
                    <a:cubicBezTo>
                      <a:pt x="104" y="32"/>
                      <a:pt x="100" y="29"/>
                      <a:pt x="96" y="30"/>
                    </a:cubicBezTo>
                    <a:cubicBezTo>
                      <a:pt x="91" y="30"/>
                      <a:pt x="88" y="33"/>
                      <a:pt x="87" y="38"/>
                    </a:cubicBezTo>
                    <a:cubicBezTo>
                      <a:pt x="87" y="39"/>
                      <a:pt x="87" y="41"/>
                      <a:pt x="87" y="42"/>
                    </a:cubicBezTo>
                    <a:cubicBezTo>
                      <a:pt x="87" y="44"/>
                      <a:pt x="87" y="45"/>
                      <a:pt x="87" y="47"/>
                    </a:cubicBezTo>
                    <a:cubicBezTo>
                      <a:pt x="85" y="46"/>
                      <a:pt x="83" y="46"/>
                      <a:pt x="81" y="46"/>
                    </a:cubicBezTo>
                    <a:cubicBezTo>
                      <a:pt x="80" y="46"/>
                      <a:pt x="80" y="46"/>
                      <a:pt x="80" y="46"/>
                    </a:cubicBezTo>
                    <a:cubicBezTo>
                      <a:pt x="78" y="46"/>
                      <a:pt x="78" y="46"/>
                      <a:pt x="78" y="44"/>
                    </a:cubicBezTo>
                    <a:cubicBezTo>
                      <a:pt x="77" y="41"/>
                      <a:pt x="77" y="39"/>
                      <a:pt x="76" y="36"/>
                    </a:cubicBezTo>
                    <a:cubicBezTo>
                      <a:pt x="76" y="35"/>
                      <a:pt x="76" y="35"/>
                      <a:pt x="76" y="34"/>
                    </a:cubicBezTo>
                    <a:cubicBezTo>
                      <a:pt x="74" y="32"/>
                      <a:pt x="73" y="31"/>
                      <a:pt x="70" y="31"/>
                    </a:cubicBezTo>
                    <a:cubicBezTo>
                      <a:pt x="68" y="31"/>
                      <a:pt x="67" y="33"/>
                      <a:pt x="66" y="35"/>
                    </a:cubicBezTo>
                    <a:cubicBezTo>
                      <a:pt x="63" y="40"/>
                      <a:pt x="63" y="45"/>
                      <a:pt x="66" y="50"/>
                    </a:cubicBezTo>
                    <a:cubicBezTo>
                      <a:pt x="66" y="50"/>
                      <a:pt x="67" y="51"/>
                      <a:pt x="68" y="51"/>
                    </a:cubicBezTo>
                    <a:cubicBezTo>
                      <a:pt x="69" y="51"/>
                      <a:pt x="69" y="50"/>
                      <a:pt x="69" y="49"/>
                    </a:cubicBezTo>
                    <a:cubicBezTo>
                      <a:pt x="69" y="49"/>
                      <a:pt x="68" y="48"/>
                      <a:pt x="67" y="47"/>
                    </a:cubicBezTo>
                    <a:cubicBezTo>
                      <a:pt x="66" y="45"/>
                      <a:pt x="65" y="42"/>
                      <a:pt x="66" y="40"/>
                    </a:cubicBezTo>
                    <a:cubicBezTo>
                      <a:pt x="67" y="37"/>
                      <a:pt x="71" y="36"/>
                      <a:pt x="73" y="38"/>
                    </a:cubicBezTo>
                    <a:cubicBezTo>
                      <a:pt x="75" y="40"/>
                      <a:pt x="75" y="42"/>
                      <a:pt x="75" y="44"/>
                    </a:cubicBezTo>
                    <a:cubicBezTo>
                      <a:pt x="75" y="46"/>
                      <a:pt x="74" y="47"/>
                      <a:pt x="73" y="48"/>
                    </a:cubicBezTo>
                    <a:cubicBezTo>
                      <a:pt x="73" y="48"/>
                      <a:pt x="72" y="49"/>
                      <a:pt x="72" y="49"/>
                    </a:cubicBezTo>
                    <a:cubicBezTo>
                      <a:pt x="71" y="51"/>
                      <a:pt x="69" y="53"/>
                      <a:pt x="66" y="54"/>
                    </a:cubicBezTo>
                    <a:cubicBezTo>
                      <a:pt x="65" y="54"/>
                      <a:pt x="65" y="56"/>
                      <a:pt x="64" y="57"/>
                    </a:cubicBezTo>
                    <a:cubicBezTo>
                      <a:pt x="63" y="58"/>
                      <a:pt x="64" y="59"/>
                      <a:pt x="65" y="60"/>
                    </a:cubicBezTo>
                    <a:cubicBezTo>
                      <a:pt x="66" y="61"/>
                      <a:pt x="67" y="61"/>
                      <a:pt x="68" y="62"/>
                    </a:cubicBezTo>
                    <a:cubicBezTo>
                      <a:pt x="70" y="66"/>
                      <a:pt x="74" y="66"/>
                      <a:pt x="78" y="66"/>
                    </a:cubicBezTo>
                    <a:cubicBezTo>
                      <a:pt x="82" y="66"/>
                      <a:pt x="87" y="65"/>
                      <a:pt x="91" y="64"/>
                    </a:cubicBezTo>
                    <a:cubicBezTo>
                      <a:pt x="94" y="63"/>
                      <a:pt x="98" y="62"/>
                      <a:pt x="101" y="58"/>
                    </a:cubicBezTo>
                    <a:cubicBezTo>
                      <a:pt x="101" y="58"/>
                      <a:pt x="102" y="58"/>
                      <a:pt x="103" y="58"/>
                    </a:cubicBezTo>
                    <a:cubicBezTo>
                      <a:pt x="103" y="59"/>
                      <a:pt x="103" y="60"/>
                      <a:pt x="103" y="60"/>
                    </a:cubicBezTo>
                    <a:cubicBezTo>
                      <a:pt x="103" y="61"/>
                      <a:pt x="102" y="61"/>
                      <a:pt x="102" y="61"/>
                    </a:cubicBezTo>
                    <a:cubicBezTo>
                      <a:pt x="97" y="63"/>
                      <a:pt x="91" y="65"/>
                      <a:pt x="86" y="67"/>
                    </a:cubicBezTo>
                    <a:cubicBezTo>
                      <a:pt x="83" y="69"/>
                      <a:pt x="79" y="70"/>
                      <a:pt x="74" y="69"/>
                    </a:cubicBezTo>
                    <a:cubicBezTo>
                      <a:pt x="73" y="69"/>
                      <a:pt x="72" y="69"/>
                      <a:pt x="71" y="69"/>
                    </a:cubicBezTo>
                    <a:close/>
                    <a:moveTo>
                      <a:pt x="73" y="45"/>
                    </a:moveTo>
                    <a:cubicBezTo>
                      <a:pt x="73" y="43"/>
                      <a:pt x="73" y="41"/>
                      <a:pt x="72" y="40"/>
                    </a:cubicBezTo>
                    <a:cubicBezTo>
                      <a:pt x="71" y="40"/>
                      <a:pt x="71" y="40"/>
                      <a:pt x="70" y="40"/>
                    </a:cubicBezTo>
                    <a:cubicBezTo>
                      <a:pt x="70" y="40"/>
                      <a:pt x="70" y="41"/>
                      <a:pt x="70" y="41"/>
                    </a:cubicBezTo>
                    <a:cubicBezTo>
                      <a:pt x="72" y="41"/>
                      <a:pt x="72" y="43"/>
                      <a:pt x="72" y="44"/>
                    </a:cubicBezTo>
                    <a:cubicBezTo>
                      <a:pt x="71" y="45"/>
                      <a:pt x="72" y="45"/>
                      <a:pt x="73" y="45"/>
                    </a:cubicBezTo>
                    <a:close/>
                    <a:moveTo>
                      <a:pt x="97" y="40"/>
                    </a:moveTo>
                    <a:cubicBezTo>
                      <a:pt x="99" y="40"/>
                      <a:pt x="99" y="42"/>
                      <a:pt x="100" y="44"/>
                    </a:cubicBezTo>
                    <a:cubicBezTo>
                      <a:pt x="100" y="43"/>
                      <a:pt x="101" y="43"/>
                      <a:pt x="101" y="43"/>
                    </a:cubicBezTo>
                    <a:cubicBezTo>
                      <a:pt x="101" y="41"/>
                      <a:pt x="100" y="40"/>
                      <a:pt x="99" y="39"/>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0" name="Freeform 408"/>
              <p:cNvSpPr>
                <a:spLocks/>
              </p:cNvSpPr>
              <p:nvPr userDrawn="1"/>
            </p:nvSpPr>
            <p:spPr bwMode="auto">
              <a:xfrm>
                <a:off x="3551" y="424"/>
                <a:ext cx="3"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1" name="Freeform 409"/>
              <p:cNvSpPr>
                <a:spLocks/>
              </p:cNvSpPr>
              <p:nvPr userDrawn="1"/>
            </p:nvSpPr>
            <p:spPr bwMode="auto">
              <a:xfrm>
                <a:off x="3564" y="424"/>
                <a:ext cx="4" cy="1"/>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2" name="Freeform 410"/>
              <p:cNvSpPr>
                <a:spLocks/>
              </p:cNvSpPr>
              <p:nvPr userDrawn="1"/>
            </p:nvSpPr>
            <p:spPr bwMode="auto">
              <a:xfrm>
                <a:off x="2004"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7"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3" name="Freeform 411"/>
              <p:cNvSpPr>
                <a:spLocks noEditPoints="1"/>
              </p:cNvSpPr>
              <p:nvPr userDrawn="1"/>
            </p:nvSpPr>
            <p:spPr bwMode="auto">
              <a:xfrm>
                <a:off x="2152"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0"/>
                      <a:pt x="35" y="196"/>
                    </a:cubicBezTo>
                    <a:cubicBezTo>
                      <a:pt x="28"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4" name="Freeform 412"/>
              <p:cNvSpPr>
                <a:spLocks/>
              </p:cNvSpPr>
              <p:nvPr userDrawn="1"/>
            </p:nvSpPr>
            <p:spPr bwMode="auto">
              <a:xfrm>
                <a:off x="2350"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5" name="Freeform 413"/>
              <p:cNvSpPr>
                <a:spLocks noEditPoints="1"/>
              </p:cNvSpPr>
              <p:nvPr userDrawn="1"/>
            </p:nvSpPr>
            <p:spPr bwMode="auto">
              <a:xfrm>
                <a:off x="2497"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6" name="Freeform 414"/>
              <p:cNvSpPr>
                <a:spLocks noEditPoints="1"/>
              </p:cNvSpPr>
              <p:nvPr userDrawn="1"/>
            </p:nvSpPr>
            <p:spPr bwMode="auto">
              <a:xfrm>
                <a:off x="2692"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7" name="Freeform 415"/>
              <p:cNvSpPr>
                <a:spLocks/>
              </p:cNvSpPr>
              <p:nvPr userDrawn="1"/>
            </p:nvSpPr>
            <p:spPr bwMode="auto">
              <a:xfrm>
                <a:off x="2890"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8" name="Freeform 416"/>
              <p:cNvSpPr>
                <a:spLocks/>
              </p:cNvSpPr>
              <p:nvPr userDrawn="1"/>
            </p:nvSpPr>
            <p:spPr bwMode="auto">
              <a:xfrm>
                <a:off x="3032" y="1108"/>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8 h 241"/>
                  <a:gd name="T18" fmla="*/ 42 w 63"/>
                  <a:gd name="T19" fmla="*/ 45 h 241"/>
                  <a:gd name="T20" fmla="*/ 42 w 63"/>
                  <a:gd name="T21" fmla="*/ 85 h 241"/>
                  <a:gd name="T22" fmla="*/ 21 w 63"/>
                  <a:gd name="T23" fmla="*/ 120 h 241"/>
                  <a:gd name="T24" fmla="*/ 21 w 63"/>
                  <a:gd name="T25" fmla="*/ 121 h 241"/>
                  <a:gd name="T26" fmla="*/ 42 w 63"/>
                  <a:gd name="T27" fmla="*/ 156 h 241"/>
                  <a:gd name="T28" fmla="*/ 42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2"/>
                      <a:pt x="21" y="102"/>
                      <a:pt x="21" y="83"/>
                    </a:cubicBezTo>
                    <a:cubicBezTo>
                      <a:pt x="21" y="43"/>
                      <a:pt x="21" y="43"/>
                      <a:pt x="21" y="43"/>
                    </a:cubicBezTo>
                    <a:cubicBezTo>
                      <a:pt x="21" y="15"/>
                      <a:pt x="35" y="0"/>
                      <a:pt x="63" y="0"/>
                    </a:cubicBezTo>
                    <a:cubicBezTo>
                      <a:pt x="63" y="18"/>
                      <a:pt x="63" y="18"/>
                      <a:pt x="63"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6"/>
                      <a:pt x="42" y="156"/>
                    </a:cubicBezTo>
                    <a:cubicBezTo>
                      <a:pt x="42" y="195"/>
                      <a:pt x="42" y="195"/>
                      <a:pt x="42" y="195"/>
                    </a:cubicBezTo>
                    <a:cubicBezTo>
                      <a:pt x="42" y="205"/>
                      <a:pt x="43" y="212"/>
                      <a:pt x="46" y="217"/>
                    </a:cubicBezTo>
                    <a:cubicBezTo>
                      <a:pt x="50"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9" name="Freeform 417"/>
              <p:cNvSpPr>
                <a:spLocks/>
              </p:cNvSpPr>
              <p:nvPr userDrawn="1"/>
            </p:nvSpPr>
            <p:spPr bwMode="auto">
              <a:xfrm>
                <a:off x="3140" y="1108"/>
                <a:ext cx="77" cy="294"/>
              </a:xfrm>
              <a:custGeom>
                <a:avLst/>
                <a:gdLst>
                  <a:gd name="T0" fmla="*/ 64 w 64"/>
                  <a:gd name="T1" fmla="*/ 128 h 241"/>
                  <a:gd name="T2" fmla="*/ 42 w 64"/>
                  <a:gd name="T3" fmla="*/ 157 h 241"/>
                  <a:gd name="T4" fmla="*/ 42 w 64"/>
                  <a:gd name="T5" fmla="*/ 198 h 241"/>
                  <a:gd name="T6" fmla="*/ 0 w 64"/>
                  <a:gd name="T7" fmla="*/ 241 h 241"/>
                  <a:gd name="T8" fmla="*/ 0 w 64"/>
                  <a:gd name="T9" fmla="*/ 223 h 241"/>
                  <a:gd name="T10" fmla="*/ 17 w 64"/>
                  <a:gd name="T11" fmla="*/ 217 h 241"/>
                  <a:gd name="T12" fmla="*/ 22 w 64"/>
                  <a:gd name="T13" fmla="*/ 195 h 241"/>
                  <a:gd name="T14" fmla="*/ 22 w 64"/>
                  <a:gd name="T15" fmla="*/ 156 h 241"/>
                  <a:gd name="T16" fmla="*/ 43 w 64"/>
                  <a:gd name="T17" fmla="*/ 121 h 241"/>
                  <a:gd name="T18" fmla="*/ 43 w 64"/>
                  <a:gd name="T19" fmla="*/ 120 h 241"/>
                  <a:gd name="T20" fmla="*/ 22 w 64"/>
                  <a:gd name="T21" fmla="*/ 85 h 241"/>
                  <a:gd name="T22" fmla="*/ 22 w 64"/>
                  <a:gd name="T23" fmla="*/ 45 h 241"/>
                  <a:gd name="T24" fmla="*/ 0 w 64"/>
                  <a:gd name="T25" fmla="*/ 18 h 241"/>
                  <a:gd name="T26" fmla="*/ 0 w 64"/>
                  <a:gd name="T27" fmla="*/ 0 h 241"/>
                  <a:gd name="T28" fmla="*/ 42 w 64"/>
                  <a:gd name="T29" fmla="*/ 43 h 241"/>
                  <a:gd name="T30" fmla="*/ 42 w 64"/>
                  <a:gd name="T31" fmla="*/ 83 h 241"/>
                  <a:gd name="T32" fmla="*/ 64 w 64"/>
                  <a:gd name="T33" fmla="*/ 112 h 241"/>
                  <a:gd name="T34" fmla="*/ 64 w 64"/>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7"/>
                    </a:cubicBezTo>
                    <a:cubicBezTo>
                      <a:pt x="21" y="212"/>
                      <a:pt x="22" y="205"/>
                      <a:pt x="22" y="195"/>
                    </a:cubicBezTo>
                    <a:cubicBezTo>
                      <a:pt x="22" y="156"/>
                      <a:pt x="22" y="156"/>
                      <a:pt x="22" y="156"/>
                    </a:cubicBezTo>
                    <a:cubicBezTo>
                      <a:pt x="22" y="136"/>
                      <a:pt x="29" y="125"/>
                      <a:pt x="43" y="121"/>
                    </a:cubicBezTo>
                    <a:cubicBezTo>
                      <a:pt x="43" y="120"/>
                      <a:pt x="43" y="120"/>
                      <a:pt x="43" y="120"/>
                    </a:cubicBezTo>
                    <a:cubicBezTo>
                      <a:pt x="29" y="116"/>
                      <a:pt x="22" y="104"/>
                      <a:pt x="22" y="85"/>
                    </a:cubicBezTo>
                    <a:cubicBezTo>
                      <a:pt x="22" y="45"/>
                      <a:pt x="22" y="45"/>
                      <a:pt x="22" y="45"/>
                    </a:cubicBezTo>
                    <a:cubicBezTo>
                      <a:pt x="22" y="27"/>
                      <a:pt x="15" y="18"/>
                      <a:pt x="0" y="18"/>
                    </a:cubicBezTo>
                    <a:cubicBezTo>
                      <a:pt x="0" y="0"/>
                      <a:pt x="0" y="0"/>
                      <a:pt x="0" y="0"/>
                    </a:cubicBezTo>
                    <a:cubicBezTo>
                      <a:pt x="28" y="0"/>
                      <a:pt x="42" y="15"/>
                      <a:pt x="42" y="43"/>
                    </a:cubicBezTo>
                    <a:cubicBezTo>
                      <a:pt x="42" y="83"/>
                      <a:pt x="42" y="83"/>
                      <a:pt x="42" y="83"/>
                    </a:cubicBezTo>
                    <a:cubicBezTo>
                      <a:pt x="42" y="102"/>
                      <a:pt x="49" y="112"/>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0" name="Freeform 418"/>
              <p:cNvSpPr>
                <a:spLocks/>
              </p:cNvSpPr>
              <p:nvPr userDrawn="1"/>
            </p:nvSpPr>
            <p:spPr bwMode="auto">
              <a:xfrm>
                <a:off x="3248" y="1103"/>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Freeform 420"/>
            <p:cNvSpPr>
              <a:spLocks noEditPoints="1"/>
            </p:cNvSpPr>
            <p:nvPr userDrawn="1"/>
          </p:nvSpPr>
          <p:spPr bwMode="auto">
            <a:xfrm>
              <a:off x="3395" y="110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21"/>
            <p:cNvSpPr>
              <a:spLocks noEditPoints="1"/>
            </p:cNvSpPr>
            <p:nvPr userDrawn="1"/>
          </p:nvSpPr>
          <p:spPr bwMode="auto">
            <a:xfrm>
              <a:off x="3590" y="110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22"/>
            <p:cNvSpPr>
              <a:spLocks/>
            </p:cNvSpPr>
            <p:nvPr userDrawn="1"/>
          </p:nvSpPr>
          <p:spPr bwMode="auto">
            <a:xfrm>
              <a:off x="3788"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23"/>
            <p:cNvSpPr>
              <a:spLocks/>
            </p:cNvSpPr>
            <p:nvPr userDrawn="1"/>
          </p:nvSpPr>
          <p:spPr bwMode="auto">
            <a:xfrm>
              <a:off x="3938"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24"/>
            <p:cNvSpPr>
              <a:spLocks noEditPoints="1"/>
            </p:cNvSpPr>
            <p:nvPr userDrawn="1"/>
          </p:nvSpPr>
          <p:spPr bwMode="auto">
            <a:xfrm>
              <a:off x="4085"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7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7"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25"/>
            <p:cNvSpPr>
              <a:spLocks/>
            </p:cNvSpPr>
            <p:nvPr userDrawn="1"/>
          </p:nvSpPr>
          <p:spPr bwMode="auto">
            <a:xfrm>
              <a:off x="4284" y="1103"/>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26"/>
            <p:cNvSpPr>
              <a:spLocks/>
            </p:cNvSpPr>
            <p:nvPr userDrawn="1"/>
          </p:nvSpPr>
          <p:spPr bwMode="auto">
            <a:xfrm>
              <a:off x="4433" y="1103"/>
              <a:ext cx="82"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27"/>
            <p:cNvSpPr>
              <a:spLocks noEditPoints="1"/>
            </p:cNvSpPr>
            <p:nvPr userDrawn="1"/>
          </p:nvSpPr>
          <p:spPr bwMode="auto">
            <a:xfrm>
              <a:off x="4581"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8"/>
            <p:cNvSpPr>
              <a:spLocks/>
            </p:cNvSpPr>
            <p:nvPr userDrawn="1"/>
          </p:nvSpPr>
          <p:spPr bwMode="auto">
            <a:xfrm>
              <a:off x="4779"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9"/>
            <p:cNvSpPr>
              <a:spLocks noEditPoints="1"/>
            </p:cNvSpPr>
            <p:nvPr userDrawn="1"/>
          </p:nvSpPr>
          <p:spPr bwMode="auto">
            <a:xfrm>
              <a:off x="4926"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0"/>
            <p:cNvSpPr>
              <a:spLocks/>
            </p:cNvSpPr>
            <p:nvPr userDrawn="1"/>
          </p:nvSpPr>
          <p:spPr bwMode="auto">
            <a:xfrm>
              <a:off x="5125"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1"/>
            <p:cNvSpPr>
              <a:spLocks noEditPoints="1"/>
            </p:cNvSpPr>
            <p:nvPr userDrawn="1"/>
          </p:nvSpPr>
          <p:spPr bwMode="auto">
            <a:xfrm>
              <a:off x="5261" y="1108"/>
              <a:ext cx="188" cy="218"/>
            </a:xfrm>
            <a:custGeom>
              <a:avLst/>
              <a:gdLst>
                <a:gd name="T0" fmla="*/ 188 w 188"/>
                <a:gd name="T1" fmla="*/ 67 h 218"/>
                <a:gd name="T2" fmla="*/ 184 w 188"/>
                <a:gd name="T3" fmla="*/ 85 h 218"/>
                <a:gd name="T4" fmla="*/ 142 w 188"/>
                <a:gd name="T5" fmla="*/ 85 h 218"/>
                <a:gd name="T6" fmla="*/ 131 w 188"/>
                <a:gd name="T7" fmla="*/ 135 h 218"/>
                <a:gd name="T8" fmla="*/ 177 w 188"/>
                <a:gd name="T9" fmla="*/ 135 h 218"/>
                <a:gd name="T10" fmla="*/ 173 w 188"/>
                <a:gd name="T11" fmla="*/ 152 h 218"/>
                <a:gd name="T12" fmla="*/ 127 w 188"/>
                <a:gd name="T13" fmla="*/ 152 h 218"/>
                <a:gd name="T14" fmla="*/ 112 w 188"/>
                <a:gd name="T15" fmla="*/ 218 h 218"/>
                <a:gd name="T16" fmla="*/ 92 w 188"/>
                <a:gd name="T17" fmla="*/ 218 h 218"/>
                <a:gd name="T18" fmla="*/ 106 w 188"/>
                <a:gd name="T19" fmla="*/ 152 h 218"/>
                <a:gd name="T20" fmla="*/ 64 w 188"/>
                <a:gd name="T21" fmla="*/ 152 h 218"/>
                <a:gd name="T22" fmla="*/ 50 w 188"/>
                <a:gd name="T23" fmla="*/ 218 h 218"/>
                <a:gd name="T24" fmla="*/ 30 w 188"/>
                <a:gd name="T25" fmla="*/ 218 h 218"/>
                <a:gd name="T26" fmla="*/ 43 w 188"/>
                <a:gd name="T27" fmla="*/ 152 h 218"/>
                <a:gd name="T28" fmla="*/ 0 w 188"/>
                <a:gd name="T29" fmla="*/ 152 h 218"/>
                <a:gd name="T30" fmla="*/ 3 w 188"/>
                <a:gd name="T31" fmla="*/ 135 h 218"/>
                <a:gd name="T32" fmla="*/ 48 w 188"/>
                <a:gd name="T33" fmla="*/ 135 h 218"/>
                <a:gd name="T34" fmla="*/ 58 w 188"/>
                <a:gd name="T35" fmla="*/ 85 h 218"/>
                <a:gd name="T36" fmla="*/ 11 w 188"/>
                <a:gd name="T37" fmla="*/ 85 h 218"/>
                <a:gd name="T38" fmla="*/ 15 w 188"/>
                <a:gd name="T39" fmla="*/ 67 h 218"/>
                <a:gd name="T40" fmla="*/ 61 w 188"/>
                <a:gd name="T41" fmla="*/ 67 h 218"/>
                <a:gd name="T42" fmla="*/ 75 w 188"/>
                <a:gd name="T43" fmla="*/ 0 h 218"/>
                <a:gd name="T44" fmla="*/ 95 w 188"/>
                <a:gd name="T45" fmla="*/ 0 h 218"/>
                <a:gd name="T46" fmla="*/ 82 w 188"/>
                <a:gd name="T47" fmla="*/ 67 h 218"/>
                <a:gd name="T48" fmla="*/ 123 w 188"/>
                <a:gd name="T49" fmla="*/ 67 h 218"/>
                <a:gd name="T50" fmla="*/ 138 w 188"/>
                <a:gd name="T51" fmla="*/ 0 h 218"/>
                <a:gd name="T52" fmla="*/ 159 w 188"/>
                <a:gd name="T53" fmla="*/ 0 h 218"/>
                <a:gd name="T54" fmla="*/ 145 w 188"/>
                <a:gd name="T55" fmla="*/ 67 h 218"/>
                <a:gd name="T56" fmla="*/ 188 w 188"/>
                <a:gd name="T57" fmla="*/ 67 h 218"/>
                <a:gd name="T58" fmla="*/ 121 w 188"/>
                <a:gd name="T59" fmla="*/ 85 h 218"/>
                <a:gd name="T60" fmla="*/ 78 w 188"/>
                <a:gd name="T61" fmla="*/ 85 h 218"/>
                <a:gd name="T62" fmla="*/ 67 w 188"/>
                <a:gd name="T63" fmla="*/ 135 h 218"/>
                <a:gd name="T64" fmla="*/ 110 w 188"/>
                <a:gd name="T65" fmla="*/ 135 h 218"/>
                <a:gd name="T66" fmla="*/ 121 w 188"/>
                <a:gd name="T67" fmla="*/ 8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8">
                  <a:moveTo>
                    <a:pt x="188" y="67"/>
                  </a:moveTo>
                  <a:lnTo>
                    <a:pt x="184" y="85"/>
                  </a:lnTo>
                  <a:lnTo>
                    <a:pt x="142" y="85"/>
                  </a:lnTo>
                  <a:lnTo>
                    <a:pt x="131" y="135"/>
                  </a:lnTo>
                  <a:lnTo>
                    <a:pt x="177" y="135"/>
                  </a:lnTo>
                  <a:lnTo>
                    <a:pt x="173" y="152"/>
                  </a:lnTo>
                  <a:lnTo>
                    <a:pt x="127" y="152"/>
                  </a:lnTo>
                  <a:lnTo>
                    <a:pt x="112" y="218"/>
                  </a:lnTo>
                  <a:lnTo>
                    <a:pt x="92" y="218"/>
                  </a:lnTo>
                  <a:lnTo>
                    <a:pt x="106" y="152"/>
                  </a:lnTo>
                  <a:lnTo>
                    <a:pt x="64" y="152"/>
                  </a:lnTo>
                  <a:lnTo>
                    <a:pt x="50" y="218"/>
                  </a:lnTo>
                  <a:lnTo>
                    <a:pt x="30" y="218"/>
                  </a:lnTo>
                  <a:lnTo>
                    <a:pt x="43" y="152"/>
                  </a:lnTo>
                  <a:lnTo>
                    <a:pt x="0" y="152"/>
                  </a:lnTo>
                  <a:lnTo>
                    <a:pt x="3" y="135"/>
                  </a:lnTo>
                  <a:lnTo>
                    <a:pt x="48" y="135"/>
                  </a:lnTo>
                  <a:lnTo>
                    <a:pt x="58" y="85"/>
                  </a:lnTo>
                  <a:lnTo>
                    <a:pt x="11" y="85"/>
                  </a:lnTo>
                  <a:lnTo>
                    <a:pt x="15" y="67"/>
                  </a:lnTo>
                  <a:lnTo>
                    <a:pt x="61" y="67"/>
                  </a:lnTo>
                  <a:lnTo>
                    <a:pt x="75" y="0"/>
                  </a:lnTo>
                  <a:lnTo>
                    <a:pt x="95" y="0"/>
                  </a:lnTo>
                  <a:lnTo>
                    <a:pt x="82" y="67"/>
                  </a:lnTo>
                  <a:lnTo>
                    <a:pt x="123" y="67"/>
                  </a:lnTo>
                  <a:lnTo>
                    <a:pt x="138" y="0"/>
                  </a:lnTo>
                  <a:lnTo>
                    <a:pt x="159" y="0"/>
                  </a:lnTo>
                  <a:lnTo>
                    <a:pt x="145" y="67"/>
                  </a:lnTo>
                  <a:lnTo>
                    <a:pt x="188" y="67"/>
                  </a:lnTo>
                  <a:close/>
                  <a:moveTo>
                    <a:pt x="121" y="85"/>
                  </a:moveTo>
                  <a:lnTo>
                    <a:pt x="78" y="85"/>
                  </a:lnTo>
                  <a:lnTo>
                    <a:pt x="67" y="135"/>
                  </a:lnTo>
                  <a:lnTo>
                    <a:pt x="110" y="135"/>
                  </a:lnTo>
                  <a:lnTo>
                    <a:pt x="12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32"/>
            <p:cNvSpPr>
              <a:spLocks noEditPoints="1"/>
            </p:cNvSpPr>
            <p:nvPr userDrawn="1"/>
          </p:nvSpPr>
          <p:spPr bwMode="auto">
            <a:xfrm>
              <a:off x="5478" y="110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33"/>
            <p:cNvSpPr>
              <a:spLocks/>
            </p:cNvSpPr>
            <p:nvPr userDrawn="1"/>
          </p:nvSpPr>
          <p:spPr bwMode="auto">
            <a:xfrm>
              <a:off x="5904" y="1103"/>
              <a:ext cx="82"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34"/>
            <p:cNvSpPr>
              <a:spLocks noEditPoints="1"/>
            </p:cNvSpPr>
            <p:nvPr userDrawn="1"/>
          </p:nvSpPr>
          <p:spPr bwMode="auto">
            <a:xfrm>
              <a:off x="6051"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35"/>
            <p:cNvSpPr>
              <a:spLocks/>
            </p:cNvSpPr>
            <p:nvPr userDrawn="1"/>
          </p:nvSpPr>
          <p:spPr bwMode="auto">
            <a:xfrm>
              <a:off x="6250"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36"/>
            <p:cNvSpPr>
              <a:spLocks/>
            </p:cNvSpPr>
            <p:nvPr userDrawn="1"/>
          </p:nvSpPr>
          <p:spPr bwMode="auto">
            <a:xfrm>
              <a:off x="6398"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37"/>
            <p:cNvSpPr>
              <a:spLocks noEditPoints="1"/>
            </p:cNvSpPr>
            <p:nvPr userDrawn="1"/>
          </p:nvSpPr>
          <p:spPr bwMode="auto">
            <a:xfrm>
              <a:off x="6547"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38"/>
            <p:cNvSpPr>
              <a:spLocks/>
            </p:cNvSpPr>
            <p:nvPr userDrawn="1"/>
          </p:nvSpPr>
          <p:spPr bwMode="auto">
            <a:xfrm>
              <a:off x="6744"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39"/>
            <p:cNvSpPr>
              <a:spLocks/>
            </p:cNvSpPr>
            <p:nvPr userDrawn="1"/>
          </p:nvSpPr>
          <p:spPr bwMode="auto">
            <a:xfrm>
              <a:off x="6893"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40"/>
            <p:cNvSpPr>
              <a:spLocks/>
            </p:cNvSpPr>
            <p:nvPr userDrawn="1"/>
          </p:nvSpPr>
          <p:spPr bwMode="auto">
            <a:xfrm>
              <a:off x="7043"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41"/>
            <p:cNvSpPr>
              <a:spLocks/>
            </p:cNvSpPr>
            <p:nvPr userDrawn="1"/>
          </p:nvSpPr>
          <p:spPr bwMode="auto">
            <a:xfrm>
              <a:off x="7192"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42"/>
            <p:cNvSpPr>
              <a:spLocks noEditPoints="1"/>
            </p:cNvSpPr>
            <p:nvPr userDrawn="1"/>
          </p:nvSpPr>
          <p:spPr bwMode="auto">
            <a:xfrm>
              <a:off x="7340" y="110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3"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443"/>
            <p:cNvSpPr>
              <a:spLocks/>
            </p:cNvSpPr>
            <p:nvPr userDrawn="1"/>
          </p:nvSpPr>
          <p:spPr bwMode="auto">
            <a:xfrm>
              <a:off x="7538"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444"/>
            <p:cNvSpPr>
              <a:spLocks noEditPoints="1"/>
            </p:cNvSpPr>
            <p:nvPr userDrawn="1"/>
          </p:nvSpPr>
          <p:spPr bwMode="auto">
            <a:xfrm>
              <a:off x="7686"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445"/>
            <p:cNvSpPr>
              <a:spLocks noEditPoints="1"/>
            </p:cNvSpPr>
            <p:nvPr userDrawn="1"/>
          </p:nvSpPr>
          <p:spPr bwMode="auto">
            <a:xfrm>
              <a:off x="5672" y="1096"/>
              <a:ext cx="218" cy="255"/>
            </a:xfrm>
            <a:custGeom>
              <a:avLst/>
              <a:gdLst>
                <a:gd name="T0" fmla="*/ 175 w 179"/>
                <a:gd name="T1" fmla="*/ 173 h 209"/>
                <a:gd name="T2" fmla="*/ 134 w 179"/>
                <a:gd name="T3" fmla="*/ 208 h 209"/>
                <a:gd name="T4" fmla="*/ 81 w 179"/>
                <a:gd name="T5" fmla="*/ 198 h 209"/>
                <a:gd name="T6" fmla="*/ 32 w 179"/>
                <a:gd name="T7" fmla="*/ 201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3 h 209"/>
                <a:gd name="T22" fmla="*/ 52 w 179"/>
                <a:gd name="T23" fmla="*/ 83 h 209"/>
                <a:gd name="T24" fmla="*/ 58 w 179"/>
                <a:gd name="T25" fmla="*/ 27 h 209"/>
                <a:gd name="T26" fmla="*/ 117 w 179"/>
                <a:gd name="T27" fmla="*/ 17 h 209"/>
                <a:gd name="T28" fmla="*/ 159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3 h 209"/>
                <a:gd name="T40" fmla="*/ 161 w 179"/>
                <a:gd name="T41" fmla="*/ 152 h 209"/>
                <a:gd name="T42" fmla="*/ 88 w 179"/>
                <a:gd name="T43" fmla="*/ 71 h 209"/>
                <a:gd name="T44" fmla="*/ 102 w 179"/>
                <a:gd name="T45" fmla="*/ 67 h 209"/>
                <a:gd name="T46" fmla="*/ 73 w 179"/>
                <a:gd name="T47" fmla="*/ 79 h 209"/>
                <a:gd name="T48" fmla="*/ 63 w 179"/>
                <a:gd name="T49" fmla="*/ 76 h 209"/>
                <a:gd name="T50" fmla="*/ 56 w 179"/>
                <a:gd name="T51" fmla="*/ 100 h 209"/>
                <a:gd name="T52" fmla="*/ 45 w 179"/>
                <a:gd name="T53" fmla="*/ 140 h 209"/>
                <a:gd name="T54" fmla="*/ 38 w 179"/>
                <a:gd name="T55" fmla="*/ 121 h 209"/>
                <a:gd name="T56" fmla="*/ 40 w 179"/>
                <a:gd name="T57" fmla="*/ 142 h 209"/>
                <a:gd name="T58" fmla="*/ 64 w 179"/>
                <a:gd name="T59" fmla="*/ 177 h 209"/>
                <a:gd name="T60" fmla="*/ 70 w 179"/>
                <a:gd name="T61" fmla="*/ 197 h 209"/>
                <a:gd name="T62" fmla="*/ 68 w 179"/>
                <a:gd name="T63" fmla="*/ 182 h 209"/>
                <a:gd name="T64" fmla="*/ 109 w 179"/>
                <a:gd name="T65" fmla="*/ 179 h 209"/>
                <a:gd name="T66" fmla="*/ 115 w 179"/>
                <a:gd name="T67" fmla="*/ 185 h 209"/>
                <a:gd name="T68" fmla="*/ 119 w 179"/>
                <a:gd name="T69" fmla="*/ 171 h 209"/>
                <a:gd name="T70" fmla="*/ 126 w 179"/>
                <a:gd name="T71" fmla="*/ 145 h 209"/>
                <a:gd name="T72" fmla="*/ 126 w 179"/>
                <a:gd name="T73" fmla="*/ 91 h 209"/>
                <a:gd name="T74" fmla="*/ 128 w 179"/>
                <a:gd name="T75" fmla="*/ 134 h 209"/>
                <a:gd name="T76" fmla="*/ 117 w 179"/>
                <a:gd name="T77" fmla="*/ 93 h 209"/>
                <a:gd name="T78" fmla="*/ 104 w 179"/>
                <a:gd name="T79" fmla="*/ 53 h 209"/>
                <a:gd name="T80" fmla="*/ 98 w 179"/>
                <a:gd name="T81" fmla="*/ 36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1" y="155"/>
                    <a:pt x="162" y="158"/>
                    <a:pt x="163" y="161"/>
                  </a:cubicBezTo>
                  <a:cubicBezTo>
                    <a:pt x="164" y="165"/>
                    <a:pt x="167" y="168"/>
                    <a:pt x="170" y="170"/>
                  </a:cubicBezTo>
                  <a:cubicBezTo>
                    <a:pt x="172" y="171"/>
                    <a:pt x="174" y="172"/>
                    <a:pt x="175" y="173"/>
                  </a:cubicBezTo>
                  <a:cubicBezTo>
                    <a:pt x="179" y="176"/>
                    <a:pt x="179" y="179"/>
                    <a:pt x="176" y="182"/>
                  </a:cubicBezTo>
                  <a:cubicBezTo>
                    <a:pt x="173" y="185"/>
                    <a:pt x="170" y="187"/>
                    <a:pt x="166" y="189"/>
                  </a:cubicBezTo>
                  <a:cubicBezTo>
                    <a:pt x="157" y="193"/>
                    <a:pt x="148" y="199"/>
                    <a:pt x="141" y="206"/>
                  </a:cubicBezTo>
                  <a:cubicBezTo>
                    <a:pt x="139" y="207"/>
                    <a:pt x="137" y="208"/>
                    <a:pt x="134" y="208"/>
                  </a:cubicBezTo>
                  <a:cubicBezTo>
                    <a:pt x="131" y="209"/>
                    <a:pt x="128" y="208"/>
                    <a:pt x="125" y="208"/>
                  </a:cubicBezTo>
                  <a:cubicBezTo>
                    <a:pt x="122" y="207"/>
                    <a:pt x="119" y="205"/>
                    <a:pt x="118" y="203"/>
                  </a:cubicBezTo>
                  <a:cubicBezTo>
                    <a:pt x="116" y="199"/>
                    <a:pt x="113" y="198"/>
                    <a:pt x="110" y="198"/>
                  </a:cubicBezTo>
                  <a:cubicBezTo>
                    <a:pt x="100" y="198"/>
                    <a:pt x="90" y="198"/>
                    <a:pt x="81" y="198"/>
                  </a:cubicBezTo>
                  <a:cubicBezTo>
                    <a:pt x="76" y="198"/>
                    <a:pt x="72" y="199"/>
                    <a:pt x="68" y="201"/>
                  </a:cubicBezTo>
                  <a:cubicBezTo>
                    <a:pt x="66" y="202"/>
                    <a:pt x="64" y="203"/>
                    <a:pt x="63" y="205"/>
                  </a:cubicBezTo>
                  <a:cubicBezTo>
                    <a:pt x="58" y="208"/>
                    <a:pt x="54" y="209"/>
                    <a:pt x="48" y="207"/>
                  </a:cubicBezTo>
                  <a:cubicBezTo>
                    <a:pt x="43" y="205"/>
                    <a:pt x="38" y="203"/>
                    <a:pt x="32" y="201"/>
                  </a:cubicBezTo>
                  <a:cubicBezTo>
                    <a:pt x="25" y="200"/>
                    <a:pt x="18" y="198"/>
                    <a:pt x="11" y="197"/>
                  </a:cubicBezTo>
                  <a:cubicBezTo>
                    <a:pt x="9" y="196"/>
                    <a:pt x="7" y="196"/>
                    <a:pt x="5" y="195"/>
                  </a:cubicBezTo>
                  <a:cubicBezTo>
                    <a:pt x="1" y="193"/>
                    <a:pt x="0" y="191"/>
                    <a:pt x="1" y="187"/>
                  </a:cubicBezTo>
                  <a:cubicBezTo>
                    <a:pt x="1" y="186"/>
                    <a:pt x="2" y="185"/>
                    <a:pt x="2" y="184"/>
                  </a:cubicBezTo>
                  <a:cubicBezTo>
                    <a:pt x="4" y="180"/>
                    <a:pt x="4" y="176"/>
                    <a:pt x="3" y="171"/>
                  </a:cubicBezTo>
                  <a:cubicBezTo>
                    <a:pt x="3" y="170"/>
                    <a:pt x="2" y="168"/>
                    <a:pt x="2" y="166"/>
                  </a:cubicBezTo>
                  <a:cubicBezTo>
                    <a:pt x="1" y="162"/>
                    <a:pt x="3" y="160"/>
                    <a:pt x="7" y="159"/>
                  </a:cubicBezTo>
                  <a:cubicBezTo>
                    <a:pt x="10" y="159"/>
                    <a:pt x="12" y="159"/>
                    <a:pt x="14" y="159"/>
                  </a:cubicBezTo>
                  <a:cubicBezTo>
                    <a:pt x="19" y="158"/>
                    <a:pt x="22" y="154"/>
                    <a:pt x="23" y="149"/>
                  </a:cubicBezTo>
                  <a:cubicBezTo>
                    <a:pt x="23" y="149"/>
                    <a:pt x="23" y="149"/>
                    <a:pt x="23" y="149"/>
                  </a:cubicBezTo>
                  <a:cubicBezTo>
                    <a:pt x="25" y="153"/>
                    <a:pt x="23" y="159"/>
                    <a:pt x="17" y="161"/>
                  </a:cubicBezTo>
                  <a:cubicBezTo>
                    <a:pt x="15" y="162"/>
                    <a:pt x="12" y="162"/>
                    <a:pt x="9" y="162"/>
                  </a:cubicBezTo>
                  <a:cubicBezTo>
                    <a:pt x="9" y="162"/>
                    <a:pt x="9" y="162"/>
                    <a:pt x="9" y="162"/>
                  </a:cubicBezTo>
                  <a:cubicBezTo>
                    <a:pt x="5" y="162"/>
                    <a:pt x="3" y="163"/>
                    <a:pt x="4" y="167"/>
                  </a:cubicBezTo>
                  <a:cubicBezTo>
                    <a:pt x="5" y="169"/>
                    <a:pt x="6" y="170"/>
                    <a:pt x="6" y="172"/>
                  </a:cubicBezTo>
                  <a:cubicBezTo>
                    <a:pt x="8" y="176"/>
                    <a:pt x="8" y="179"/>
                    <a:pt x="6" y="183"/>
                  </a:cubicBezTo>
                  <a:cubicBezTo>
                    <a:pt x="6" y="184"/>
                    <a:pt x="5" y="186"/>
                    <a:pt x="4" y="187"/>
                  </a:cubicBezTo>
                  <a:cubicBezTo>
                    <a:pt x="4" y="190"/>
                    <a:pt x="4" y="191"/>
                    <a:pt x="7" y="192"/>
                  </a:cubicBezTo>
                  <a:cubicBezTo>
                    <a:pt x="9" y="193"/>
                    <a:pt x="11" y="193"/>
                    <a:pt x="13" y="194"/>
                  </a:cubicBezTo>
                  <a:cubicBezTo>
                    <a:pt x="24" y="196"/>
                    <a:pt x="35" y="199"/>
                    <a:pt x="45" y="202"/>
                  </a:cubicBezTo>
                  <a:cubicBezTo>
                    <a:pt x="49" y="203"/>
                    <a:pt x="52" y="204"/>
                    <a:pt x="55" y="203"/>
                  </a:cubicBezTo>
                  <a:cubicBezTo>
                    <a:pt x="63" y="202"/>
                    <a:pt x="66" y="197"/>
                    <a:pt x="65" y="189"/>
                  </a:cubicBezTo>
                  <a:cubicBezTo>
                    <a:pt x="64" y="185"/>
                    <a:pt x="62" y="182"/>
                    <a:pt x="60" y="178"/>
                  </a:cubicBezTo>
                  <a:cubicBezTo>
                    <a:pt x="54" y="169"/>
                    <a:pt x="49" y="160"/>
                    <a:pt x="42" y="152"/>
                  </a:cubicBezTo>
                  <a:cubicBezTo>
                    <a:pt x="40" y="149"/>
                    <a:pt x="37" y="147"/>
                    <a:pt x="35" y="144"/>
                  </a:cubicBezTo>
                  <a:cubicBezTo>
                    <a:pt x="32" y="143"/>
                    <a:pt x="29" y="142"/>
                    <a:pt x="27" y="144"/>
                  </a:cubicBezTo>
                  <a:cubicBezTo>
                    <a:pt x="26" y="145"/>
                    <a:pt x="25" y="144"/>
                    <a:pt x="25" y="143"/>
                  </a:cubicBezTo>
                  <a:cubicBezTo>
                    <a:pt x="24" y="140"/>
                    <a:pt x="24" y="136"/>
                    <a:pt x="25" y="133"/>
                  </a:cubicBezTo>
                  <a:cubicBezTo>
                    <a:pt x="26" y="132"/>
                    <a:pt x="26" y="131"/>
                    <a:pt x="27" y="130"/>
                  </a:cubicBezTo>
                  <a:cubicBezTo>
                    <a:pt x="30" y="124"/>
                    <a:pt x="32" y="118"/>
                    <a:pt x="35" y="112"/>
                  </a:cubicBezTo>
                  <a:cubicBezTo>
                    <a:pt x="37" y="106"/>
                    <a:pt x="39" y="99"/>
                    <a:pt x="43" y="94"/>
                  </a:cubicBezTo>
                  <a:cubicBezTo>
                    <a:pt x="46" y="90"/>
                    <a:pt x="49" y="86"/>
                    <a:pt x="52" y="83"/>
                  </a:cubicBezTo>
                  <a:cubicBezTo>
                    <a:pt x="54" y="80"/>
                    <a:pt x="56" y="76"/>
                    <a:pt x="58" y="73"/>
                  </a:cubicBezTo>
                  <a:cubicBezTo>
                    <a:pt x="60" y="70"/>
                    <a:pt x="60" y="67"/>
                    <a:pt x="60" y="64"/>
                  </a:cubicBezTo>
                  <a:cubicBezTo>
                    <a:pt x="59" y="57"/>
                    <a:pt x="59" y="51"/>
                    <a:pt x="59" y="44"/>
                  </a:cubicBezTo>
                  <a:cubicBezTo>
                    <a:pt x="58" y="38"/>
                    <a:pt x="58" y="32"/>
                    <a:pt x="58" y="27"/>
                  </a:cubicBezTo>
                  <a:cubicBezTo>
                    <a:pt x="59" y="16"/>
                    <a:pt x="63" y="8"/>
                    <a:pt x="73" y="2"/>
                  </a:cubicBezTo>
                  <a:cubicBezTo>
                    <a:pt x="77" y="0"/>
                    <a:pt x="81" y="0"/>
                    <a:pt x="85" y="0"/>
                  </a:cubicBezTo>
                  <a:cubicBezTo>
                    <a:pt x="91" y="0"/>
                    <a:pt x="97" y="1"/>
                    <a:pt x="102" y="3"/>
                  </a:cubicBezTo>
                  <a:cubicBezTo>
                    <a:pt x="109" y="6"/>
                    <a:pt x="114" y="11"/>
                    <a:pt x="117" y="17"/>
                  </a:cubicBezTo>
                  <a:cubicBezTo>
                    <a:pt x="120" y="23"/>
                    <a:pt x="122" y="29"/>
                    <a:pt x="122" y="36"/>
                  </a:cubicBezTo>
                  <a:cubicBezTo>
                    <a:pt x="122" y="39"/>
                    <a:pt x="122" y="43"/>
                    <a:pt x="123" y="47"/>
                  </a:cubicBezTo>
                  <a:cubicBezTo>
                    <a:pt x="124" y="61"/>
                    <a:pt x="128" y="74"/>
                    <a:pt x="138" y="84"/>
                  </a:cubicBezTo>
                  <a:cubicBezTo>
                    <a:pt x="150" y="97"/>
                    <a:pt x="156" y="112"/>
                    <a:pt x="159" y="128"/>
                  </a:cubicBezTo>
                  <a:cubicBezTo>
                    <a:pt x="161" y="133"/>
                    <a:pt x="161" y="138"/>
                    <a:pt x="160" y="143"/>
                  </a:cubicBezTo>
                  <a:cubicBezTo>
                    <a:pt x="160" y="144"/>
                    <a:pt x="159" y="145"/>
                    <a:pt x="159" y="146"/>
                  </a:cubicBezTo>
                  <a:cubicBezTo>
                    <a:pt x="158" y="147"/>
                    <a:pt x="158" y="147"/>
                    <a:pt x="157" y="148"/>
                  </a:cubicBezTo>
                  <a:cubicBezTo>
                    <a:pt x="155" y="148"/>
                    <a:pt x="154" y="150"/>
                    <a:pt x="153" y="152"/>
                  </a:cubicBezTo>
                  <a:cubicBezTo>
                    <a:pt x="151" y="154"/>
                    <a:pt x="149" y="156"/>
                    <a:pt x="147" y="157"/>
                  </a:cubicBezTo>
                  <a:cubicBezTo>
                    <a:pt x="143" y="160"/>
                    <a:pt x="139" y="160"/>
                    <a:pt x="135" y="159"/>
                  </a:cubicBezTo>
                  <a:cubicBezTo>
                    <a:pt x="133" y="158"/>
                    <a:pt x="132" y="157"/>
                    <a:pt x="131" y="155"/>
                  </a:cubicBezTo>
                  <a:cubicBezTo>
                    <a:pt x="130" y="153"/>
                    <a:pt x="129" y="152"/>
                    <a:pt x="128" y="150"/>
                  </a:cubicBezTo>
                  <a:cubicBezTo>
                    <a:pt x="127" y="149"/>
                    <a:pt x="126" y="147"/>
                    <a:pt x="125" y="148"/>
                  </a:cubicBezTo>
                  <a:cubicBezTo>
                    <a:pt x="123" y="148"/>
                    <a:pt x="122" y="149"/>
                    <a:pt x="121" y="151"/>
                  </a:cubicBezTo>
                  <a:cubicBezTo>
                    <a:pt x="120" y="155"/>
                    <a:pt x="120" y="159"/>
                    <a:pt x="121" y="163"/>
                  </a:cubicBezTo>
                  <a:cubicBezTo>
                    <a:pt x="123" y="170"/>
                    <a:pt x="123" y="178"/>
                    <a:pt x="122" y="186"/>
                  </a:cubicBezTo>
                  <a:cubicBezTo>
                    <a:pt x="121" y="188"/>
                    <a:pt x="121" y="191"/>
                    <a:pt x="122" y="194"/>
                  </a:cubicBezTo>
                  <a:cubicBezTo>
                    <a:pt x="123" y="201"/>
                    <a:pt x="129" y="204"/>
                    <a:pt x="136" y="202"/>
                  </a:cubicBezTo>
                  <a:cubicBezTo>
                    <a:pt x="139" y="201"/>
                    <a:pt x="142" y="199"/>
                    <a:pt x="144" y="197"/>
                  </a:cubicBezTo>
                  <a:cubicBezTo>
                    <a:pt x="150" y="191"/>
                    <a:pt x="158" y="188"/>
                    <a:pt x="165" y="186"/>
                  </a:cubicBezTo>
                  <a:cubicBezTo>
                    <a:pt x="168" y="185"/>
                    <a:pt x="170" y="183"/>
                    <a:pt x="173" y="182"/>
                  </a:cubicBezTo>
                  <a:cubicBezTo>
                    <a:pt x="174" y="182"/>
                    <a:pt x="174" y="181"/>
                    <a:pt x="175" y="180"/>
                  </a:cubicBezTo>
                  <a:cubicBezTo>
                    <a:pt x="176" y="179"/>
                    <a:pt x="176" y="178"/>
                    <a:pt x="175" y="176"/>
                  </a:cubicBezTo>
                  <a:cubicBezTo>
                    <a:pt x="174" y="175"/>
                    <a:pt x="172" y="174"/>
                    <a:pt x="171" y="173"/>
                  </a:cubicBezTo>
                  <a:cubicBezTo>
                    <a:pt x="170" y="173"/>
                    <a:pt x="169" y="172"/>
                    <a:pt x="168" y="172"/>
                  </a:cubicBezTo>
                  <a:cubicBezTo>
                    <a:pt x="163" y="171"/>
                    <a:pt x="161" y="167"/>
                    <a:pt x="160" y="163"/>
                  </a:cubicBezTo>
                  <a:cubicBezTo>
                    <a:pt x="159" y="160"/>
                    <a:pt x="160" y="157"/>
                    <a:pt x="160" y="155"/>
                  </a:cubicBezTo>
                  <a:cubicBezTo>
                    <a:pt x="160" y="154"/>
                    <a:pt x="160" y="153"/>
                    <a:pt x="161" y="152"/>
                  </a:cubicBezTo>
                  <a:close/>
                  <a:moveTo>
                    <a:pt x="71" y="68"/>
                  </a:moveTo>
                  <a:cubicBezTo>
                    <a:pt x="71" y="68"/>
                    <a:pt x="71" y="68"/>
                    <a:pt x="71" y="69"/>
                  </a:cubicBezTo>
                  <a:cubicBezTo>
                    <a:pt x="73" y="71"/>
                    <a:pt x="74" y="73"/>
                    <a:pt x="77" y="73"/>
                  </a:cubicBezTo>
                  <a:cubicBezTo>
                    <a:pt x="81" y="74"/>
                    <a:pt x="85" y="73"/>
                    <a:pt x="88" y="71"/>
                  </a:cubicBezTo>
                  <a:cubicBezTo>
                    <a:pt x="91" y="70"/>
                    <a:pt x="94" y="68"/>
                    <a:pt x="98" y="66"/>
                  </a:cubicBezTo>
                  <a:cubicBezTo>
                    <a:pt x="99" y="66"/>
                    <a:pt x="100" y="65"/>
                    <a:pt x="101" y="65"/>
                  </a:cubicBezTo>
                  <a:cubicBezTo>
                    <a:pt x="101" y="65"/>
                    <a:pt x="102" y="66"/>
                    <a:pt x="102" y="66"/>
                  </a:cubicBezTo>
                  <a:cubicBezTo>
                    <a:pt x="102" y="66"/>
                    <a:pt x="102" y="67"/>
                    <a:pt x="102" y="67"/>
                  </a:cubicBezTo>
                  <a:cubicBezTo>
                    <a:pt x="101" y="68"/>
                    <a:pt x="100" y="69"/>
                    <a:pt x="99" y="69"/>
                  </a:cubicBezTo>
                  <a:cubicBezTo>
                    <a:pt x="94" y="71"/>
                    <a:pt x="91" y="74"/>
                    <a:pt x="87" y="77"/>
                  </a:cubicBezTo>
                  <a:cubicBezTo>
                    <a:pt x="85" y="78"/>
                    <a:pt x="83" y="79"/>
                    <a:pt x="81" y="80"/>
                  </a:cubicBezTo>
                  <a:cubicBezTo>
                    <a:pt x="78" y="82"/>
                    <a:pt x="76" y="81"/>
                    <a:pt x="73" y="79"/>
                  </a:cubicBezTo>
                  <a:cubicBezTo>
                    <a:pt x="71" y="76"/>
                    <a:pt x="69" y="74"/>
                    <a:pt x="67" y="71"/>
                  </a:cubicBezTo>
                  <a:cubicBezTo>
                    <a:pt x="67" y="70"/>
                    <a:pt x="66" y="70"/>
                    <a:pt x="65" y="69"/>
                  </a:cubicBezTo>
                  <a:cubicBezTo>
                    <a:pt x="65" y="70"/>
                    <a:pt x="65" y="70"/>
                    <a:pt x="65" y="70"/>
                  </a:cubicBezTo>
                  <a:cubicBezTo>
                    <a:pt x="64" y="72"/>
                    <a:pt x="64" y="74"/>
                    <a:pt x="63" y="76"/>
                  </a:cubicBezTo>
                  <a:cubicBezTo>
                    <a:pt x="63" y="79"/>
                    <a:pt x="61" y="81"/>
                    <a:pt x="60" y="83"/>
                  </a:cubicBezTo>
                  <a:cubicBezTo>
                    <a:pt x="59" y="86"/>
                    <a:pt x="57" y="88"/>
                    <a:pt x="57" y="92"/>
                  </a:cubicBezTo>
                  <a:cubicBezTo>
                    <a:pt x="57" y="94"/>
                    <a:pt x="58" y="96"/>
                    <a:pt x="58" y="98"/>
                  </a:cubicBezTo>
                  <a:cubicBezTo>
                    <a:pt x="58" y="98"/>
                    <a:pt x="57" y="99"/>
                    <a:pt x="56" y="100"/>
                  </a:cubicBezTo>
                  <a:cubicBezTo>
                    <a:pt x="54" y="104"/>
                    <a:pt x="52" y="108"/>
                    <a:pt x="50" y="112"/>
                  </a:cubicBezTo>
                  <a:cubicBezTo>
                    <a:pt x="47" y="117"/>
                    <a:pt x="46" y="122"/>
                    <a:pt x="46" y="127"/>
                  </a:cubicBezTo>
                  <a:cubicBezTo>
                    <a:pt x="46" y="130"/>
                    <a:pt x="46" y="133"/>
                    <a:pt x="46" y="136"/>
                  </a:cubicBezTo>
                  <a:cubicBezTo>
                    <a:pt x="46" y="137"/>
                    <a:pt x="45" y="138"/>
                    <a:pt x="45" y="140"/>
                  </a:cubicBezTo>
                  <a:cubicBezTo>
                    <a:pt x="45" y="141"/>
                    <a:pt x="44" y="141"/>
                    <a:pt x="43" y="141"/>
                  </a:cubicBezTo>
                  <a:cubicBezTo>
                    <a:pt x="42" y="140"/>
                    <a:pt x="41" y="139"/>
                    <a:pt x="40" y="138"/>
                  </a:cubicBezTo>
                  <a:cubicBezTo>
                    <a:pt x="38" y="134"/>
                    <a:pt x="37" y="129"/>
                    <a:pt x="38" y="124"/>
                  </a:cubicBezTo>
                  <a:cubicBezTo>
                    <a:pt x="38" y="123"/>
                    <a:pt x="38" y="122"/>
                    <a:pt x="38" y="121"/>
                  </a:cubicBezTo>
                  <a:cubicBezTo>
                    <a:pt x="38" y="121"/>
                    <a:pt x="38" y="121"/>
                    <a:pt x="38" y="120"/>
                  </a:cubicBezTo>
                  <a:cubicBezTo>
                    <a:pt x="37" y="121"/>
                    <a:pt x="37" y="122"/>
                    <a:pt x="37" y="123"/>
                  </a:cubicBezTo>
                  <a:cubicBezTo>
                    <a:pt x="35" y="127"/>
                    <a:pt x="35" y="131"/>
                    <a:pt x="36" y="135"/>
                  </a:cubicBezTo>
                  <a:cubicBezTo>
                    <a:pt x="37" y="137"/>
                    <a:pt x="38" y="140"/>
                    <a:pt x="40" y="142"/>
                  </a:cubicBezTo>
                  <a:cubicBezTo>
                    <a:pt x="44" y="146"/>
                    <a:pt x="48" y="149"/>
                    <a:pt x="52" y="153"/>
                  </a:cubicBezTo>
                  <a:cubicBezTo>
                    <a:pt x="57" y="157"/>
                    <a:pt x="62" y="161"/>
                    <a:pt x="67" y="165"/>
                  </a:cubicBezTo>
                  <a:cubicBezTo>
                    <a:pt x="69" y="167"/>
                    <a:pt x="70" y="169"/>
                    <a:pt x="69" y="172"/>
                  </a:cubicBezTo>
                  <a:cubicBezTo>
                    <a:pt x="68" y="174"/>
                    <a:pt x="67" y="176"/>
                    <a:pt x="64" y="177"/>
                  </a:cubicBezTo>
                  <a:cubicBezTo>
                    <a:pt x="64" y="177"/>
                    <a:pt x="63" y="177"/>
                    <a:pt x="62" y="177"/>
                  </a:cubicBezTo>
                  <a:cubicBezTo>
                    <a:pt x="63" y="179"/>
                    <a:pt x="65" y="181"/>
                    <a:pt x="66" y="183"/>
                  </a:cubicBezTo>
                  <a:cubicBezTo>
                    <a:pt x="68" y="185"/>
                    <a:pt x="69" y="188"/>
                    <a:pt x="69" y="192"/>
                  </a:cubicBezTo>
                  <a:cubicBezTo>
                    <a:pt x="70" y="193"/>
                    <a:pt x="70" y="195"/>
                    <a:pt x="70" y="197"/>
                  </a:cubicBezTo>
                  <a:cubicBezTo>
                    <a:pt x="70" y="197"/>
                    <a:pt x="70" y="197"/>
                    <a:pt x="70" y="197"/>
                  </a:cubicBezTo>
                  <a:cubicBezTo>
                    <a:pt x="73" y="195"/>
                    <a:pt x="73" y="193"/>
                    <a:pt x="72" y="191"/>
                  </a:cubicBezTo>
                  <a:cubicBezTo>
                    <a:pt x="72" y="188"/>
                    <a:pt x="70" y="186"/>
                    <a:pt x="69" y="184"/>
                  </a:cubicBezTo>
                  <a:cubicBezTo>
                    <a:pt x="68" y="183"/>
                    <a:pt x="68" y="182"/>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3" y="173"/>
                  </a:cubicBezTo>
                  <a:cubicBezTo>
                    <a:pt x="114" y="173"/>
                    <a:pt x="115" y="172"/>
                    <a:pt x="115" y="172"/>
                  </a:cubicBezTo>
                  <a:cubicBezTo>
                    <a:pt x="116" y="172"/>
                    <a:pt x="116" y="173"/>
                    <a:pt x="117" y="174"/>
                  </a:cubicBezTo>
                  <a:cubicBezTo>
                    <a:pt x="117" y="178"/>
                    <a:pt x="117" y="182"/>
                    <a:pt x="115" y="185"/>
                  </a:cubicBezTo>
                  <a:cubicBezTo>
                    <a:pt x="115" y="188"/>
                    <a:pt x="114" y="190"/>
                    <a:pt x="114" y="192"/>
                  </a:cubicBezTo>
                  <a:cubicBezTo>
                    <a:pt x="113" y="194"/>
                    <a:pt x="114" y="195"/>
                    <a:pt x="116" y="195"/>
                  </a:cubicBezTo>
                  <a:cubicBezTo>
                    <a:pt x="117" y="191"/>
                    <a:pt x="118" y="186"/>
                    <a:pt x="119" y="182"/>
                  </a:cubicBezTo>
                  <a:cubicBezTo>
                    <a:pt x="119" y="178"/>
                    <a:pt x="120" y="174"/>
                    <a:pt x="119" y="171"/>
                  </a:cubicBezTo>
                  <a:cubicBezTo>
                    <a:pt x="119" y="167"/>
                    <a:pt x="118" y="163"/>
                    <a:pt x="118" y="159"/>
                  </a:cubicBezTo>
                  <a:cubicBezTo>
                    <a:pt x="118" y="156"/>
                    <a:pt x="118" y="153"/>
                    <a:pt x="119" y="150"/>
                  </a:cubicBezTo>
                  <a:cubicBezTo>
                    <a:pt x="120" y="147"/>
                    <a:pt x="122" y="145"/>
                    <a:pt x="126" y="145"/>
                  </a:cubicBezTo>
                  <a:cubicBezTo>
                    <a:pt x="126" y="145"/>
                    <a:pt x="126" y="145"/>
                    <a:pt x="126" y="145"/>
                  </a:cubicBezTo>
                  <a:cubicBezTo>
                    <a:pt x="127" y="142"/>
                    <a:pt x="129" y="140"/>
                    <a:pt x="132" y="139"/>
                  </a:cubicBezTo>
                  <a:cubicBezTo>
                    <a:pt x="137" y="137"/>
                    <a:pt x="141" y="138"/>
                    <a:pt x="146" y="140"/>
                  </a:cubicBezTo>
                  <a:cubicBezTo>
                    <a:pt x="145" y="138"/>
                    <a:pt x="142" y="137"/>
                    <a:pt x="140" y="136"/>
                  </a:cubicBezTo>
                  <a:cubicBezTo>
                    <a:pt x="145" y="119"/>
                    <a:pt x="135" y="97"/>
                    <a:pt x="126" y="91"/>
                  </a:cubicBezTo>
                  <a:cubicBezTo>
                    <a:pt x="131" y="97"/>
                    <a:pt x="134" y="103"/>
                    <a:pt x="136" y="110"/>
                  </a:cubicBezTo>
                  <a:cubicBezTo>
                    <a:pt x="139" y="116"/>
                    <a:pt x="140" y="123"/>
                    <a:pt x="139" y="130"/>
                  </a:cubicBezTo>
                  <a:cubicBezTo>
                    <a:pt x="138" y="135"/>
                    <a:pt x="136" y="137"/>
                    <a:pt x="132" y="138"/>
                  </a:cubicBezTo>
                  <a:cubicBezTo>
                    <a:pt x="130" y="138"/>
                    <a:pt x="128" y="137"/>
                    <a:pt x="128" y="134"/>
                  </a:cubicBezTo>
                  <a:cubicBezTo>
                    <a:pt x="127" y="132"/>
                    <a:pt x="127" y="130"/>
                    <a:pt x="127" y="128"/>
                  </a:cubicBezTo>
                  <a:cubicBezTo>
                    <a:pt x="127" y="121"/>
                    <a:pt x="126" y="114"/>
                    <a:pt x="124" y="107"/>
                  </a:cubicBezTo>
                  <a:cubicBezTo>
                    <a:pt x="123" y="102"/>
                    <a:pt x="121" y="98"/>
                    <a:pt x="117" y="95"/>
                  </a:cubicBezTo>
                  <a:cubicBezTo>
                    <a:pt x="117" y="94"/>
                    <a:pt x="117" y="94"/>
                    <a:pt x="117" y="93"/>
                  </a:cubicBezTo>
                  <a:cubicBezTo>
                    <a:pt x="115" y="86"/>
                    <a:pt x="112" y="79"/>
                    <a:pt x="107" y="72"/>
                  </a:cubicBezTo>
                  <a:cubicBezTo>
                    <a:pt x="106" y="70"/>
                    <a:pt x="105" y="67"/>
                    <a:pt x="106" y="64"/>
                  </a:cubicBezTo>
                  <a:cubicBezTo>
                    <a:pt x="106" y="62"/>
                    <a:pt x="106" y="60"/>
                    <a:pt x="107" y="58"/>
                  </a:cubicBezTo>
                  <a:cubicBezTo>
                    <a:pt x="107" y="55"/>
                    <a:pt x="106" y="54"/>
                    <a:pt x="104" y="53"/>
                  </a:cubicBezTo>
                  <a:cubicBezTo>
                    <a:pt x="100" y="52"/>
                    <a:pt x="97" y="50"/>
                    <a:pt x="94" y="49"/>
                  </a:cubicBezTo>
                  <a:cubicBezTo>
                    <a:pt x="91" y="48"/>
                    <a:pt x="91" y="46"/>
                    <a:pt x="91" y="44"/>
                  </a:cubicBezTo>
                  <a:cubicBezTo>
                    <a:pt x="91" y="43"/>
                    <a:pt x="91" y="41"/>
                    <a:pt x="92" y="40"/>
                  </a:cubicBezTo>
                  <a:cubicBezTo>
                    <a:pt x="93" y="37"/>
                    <a:pt x="95" y="36"/>
                    <a:pt x="98" y="36"/>
                  </a:cubicBezTo>
                  <a:cubicBezTo>
                    <a:pt x="99" y="37"/>
                    <a:pt x="101" y="38"/>
                    <a:pt x="102" y="39"/>
                  </a:cubicBezTo>
                  <a:cubicBezTo>
                    <a:pt x="103" y="42"/>
                    <a:pt x="103" y="45"/>
                    <a:pt x="102" y="47"/>
                  </a:cubicBezTo>
                  <a:cubicBezTo>
                    <a:pt x="102" y="48"/>
                    <a:pt x="101" y="49"/>
                    <a:pt x="102" y="50"/>
                  </a:cubicBezTo>
                  <a:cubicBezTo>
                    <a:pt x="104" y="51"/>
                    <a:pt x="107" y="50"/>
                    <a:pt x="107" y="48"/>
                  </a:cubicBezTo>
                  <a:cubicBezTo>
                    <a:pt x="107" y="43"/>
                    <a:pt x="107" y="39"/>
                    <a:pt x="105" y="35"/>
                  </a:cubicBezTo>
                  <a:cubicBezTo>
                    <a:pt x="103" y="31"/>
                    <a:pt x="100" y="29"/>
                    <a:pt x="96" y="29"/>
                  </a:cubicBezTo>
                  <a:cubicBezTo>
                    <a:pt x="91" y="30"/>
                    <a:pt x="88" y="33"/>
                    <a:pt x="87" y="37"/>
                  </a:cubicBezTo>
                  <a:cubicBezTo>
                    <a:pt x="87" y="39"/>
                    <a:pt x="87" y="40"/>
                    <a:pt x="87" y="42"/>
                  </a:cubicBezTo>
                  <a:cubicBezTo>
                    <a:pt x="87" y="43"/>
                    <a:pt x="87" y="45"/>
                    <a:pt x="87" y="47"/>
                  </a:cubicBezTo>
                  <a:cubicBezTo>
                    <a:pt x="85" y="45"/>
                    <a:pt x="83" y="45"/>
                    <a:pt x="81" y="45"/>
                  </a:cubicBezTo>
                  <a:cubicBezTo>
                    <a:pt x="80" y="45"/>
                    <a:pt x="80" y="45"/>
                    <a:pt x="80" y="46"/>
                  </a:cubicBezTo>
                  <a:cubicBezTo>
                    <a:pt x="78" y="46"/>
                    <a:pt x="78" y="45"/>
                    <a:pt x="78" y="44"/>
                  </a:cubicBezTo>
                  <a:cubicBezTo>
                    <a:pt x="77" y="41"/>
                    <a:pt x="77" y="38"/>
                    <a:pt x="76" y="36"/>
                  </a:cubicBezTo>
                  <a:cubicBezTo>
                    <a:pt x="76" y="35"/>
                    <a:pt x="76" y="34"/>
                    <a:pt x="76" y="34"/>
                  </a:cubicBezTo>
                  <a:cubicBezTo>
                    <a:pt x="74" y="32"/>
                    <a:pt x="73" y="30"/>
                    <a:pt x="70" y="30"/>
                  </a:cubicBezTo>
                  <a:cubicBezTo>
                    <a:pt x="68" y="31"/>
                    <a:pt x="67" y="32"/>
                    <a:pt x="66" y="34"/>
                  </a:cubicBezTo>
                  <a:cubicBezTo>
                    <a:pt x="63" y="39"/>
                    <a:pt x="63" y="44"/>
                    <a:pt x="66" y="49"/>
                  </a:cubicBezTo>
                  <a:cubicBezTo>
                    <a:pt x="66" y="50"/>
                    <a:pt x="67" y="51"/>
                    <a:pt x="68" y="51"/>
                  </a:cubicBezTo>
                  <a:cubicBezTo>
                    <a:pt x="69" y="51"/>
                    <a:pt x="69" y="50"/>
                    <a:pt x="69" y="49"/>
                  </a:cubicBezTo>
                  <a:cubicBezTo>
                    <a:pt x="69" y="48"/>
                    <a:pt x="68" y="48"/>
                    <a:pt x="67" y="47"/>
                  </a:cubicBezTo>
                  <a:cubicBezTo>
                    <a:pt x="66" y="45"/>
                    <a:pt x="65" y="42"/>
                    <a:pt x="66" y="39"/>
                  </a:cubicBezTo>
                  <a:cubicBezTo>
                    <a:pt x="67" y="37"/>
                    <a:pt x="71" y="36"/>
                    <a:pt x="73" y="38"/>
                  </a:cubicBezTo>
                  <a:cubicBezTo>
                    <a:pt x="74" y="39"/>
                    <a:pt x="75" y="42"/>
                    <a:pt x="75" y="44"/>
                  </a:cubicBezTo>
                  <a:cubicBezTo>
                    <a:pt x="75" y="46"/>
                    <a:pt x="74" y="47"/>
                    <a:pt x="73" y="48"/>
                  </a:cubicBezTo>
                  <a:cubicBezTo>
                    <a:pt x="73" y="48"/>
                    <a:pt x="72" y="48"/>
                    <a:pt x="72" y="49"/>
                  </a:cubicBezTo>
                  <a:cubicBezTo>
                    <a:pt x="71" y="51"/>
                    <a:pt x="69" y="52"/>
                    <a:pt x="66" y="53"/>
                  </a:cubicBezTo>
                  <a:cubicBezTo>
                    <a:pt x="65" y="54"/>
                    <a:pt x="65" y="55"/>
                    <a:pt x="64" y="56"/>
                  </a:cubicBezTo>
                  <a:cubicBezTo>
                    <a:pt x="63" y="57"/>
                    <a:pt x="64" y="58"/>
                    <a:pt x="65" y="59"/>
                  </a:cubicBezTo>
                  <a:cubicBezTo>
                    <a:pt x="66" y="60"/>
                    <a:pt x="67" y="61"/>
                    <a:pt x="68" y="62"/>
                  </a:cubicBezTo>
                  <a:cubicBezTo>
                    <a:pt x="70" y="66"/>
                    <a:pt x="74" y="66"/>
                    <a:pt x="78" y="66"/>
                  </a:cubicBezTo>
                  <a:cubicBezTo>
                    <a:pt x="82" y="66"/>
                    <a:pt x="87" y="64"/>
                    <a:pt x="91" y="63"/>
                  </a:cubicBezTo>
                  <a:cubicBezTo>
                    <a:pt x="94" y="62"/>
                    <a:pt x="98" y="61"/>
                    <a:pt x="101" y="58"/>
                  </a:cubicBezTo>
                  <a:cubicBezTo>
                    <a:pt x="101" y="58"/>
                    <a:pt x="102" y="57"/>
                    <a:pt x="103" y="58"/>
                  </a:cubicBezTo>
                  <a:cubicBezTo>
                    <a:pt x="103" y="58"/>
                    <a:pt x="103" y="59"/>
                    <a:pt x="103" y="60"/>
                  </a:cubicBezTo>
                  <a:cubicBezTo>
                    <a:pt x="103" y="60"/>
                    <a:pt x="102" y="61"/>
                    <a:pt x="102" y="61"/>
                  </a:cubicBezTo>
                  <a:cubicBezTo>
                    <a:pt x="97" y="63"/>
                    <a:pt x="91" y="65"/>
                    <a:pt x="86" y="67"/>
                  </a:cubicBezTo>
                  <a:cubicBezTo>
                    <a:pt x="82" y="69"/>
                    <a:pt x="78" y="69"/>
                    <a:pt x="74" y="69"/>
                  </a:cubicBezTo>
                  <a:cubicBezTo>
                    <a:pt x="73" y="68"/>
                    <a:pt x="72" y="68"/>
                    <a:pt x="71" y="68"/>
                  </a:cubicBezTo>
                  <a:close/>
                  <a:moveTo>
                    <a:pt x="73" y="45"/>
                  </a:moveTo>
                  <a:cubicBezTo>
                    <a:pt x="73" y="43"/>
                    <a:pt x="73" y="41"/>
                    <a:pt x="72" y="40"/>
                  </a:cubicBezTo>
                  <a:cubicBezTo>
                    <a:pt x="71" y="39"/>
                    <a:pt x="71" y="39"/>
                    <a:pt x="70" y="39"/>
                  </a:cubicBezTo>
                  <a:cubicBezTo>
                    <a:pt x="70" y="40"/>
                    <a:pt x="70" y="40"/>
                    <a:pt x="70" y="40"/>
                  </a:cubicBezTo>
                  <a:cubicBezTo>
                    <a:pt x="72" y="41"/>
                    <a:pt x="71" y="42"/>
                    <a:pt x="71" y="43"/>
                  </a:cubicBezTo>
                  <a:cubicBezTo>
                    <a:pt x="71" y="44"/>
                    <a:pt x="72" y="45"/>
                    <a:pt x="73" y="45"/>
                  </a:cubicBezTo>
                  <a:close/>
                  <a:moveTo>
                    <a:pt x="97" y="39"/>
                  </a:moveTo>
                  <a:cubicBezTo>
                    <a:pt x="99" y="40"/>
                    <a:pt x="99" y="41"/>
                    <a:pt x="100" y="43"/>
                  </a:cubicBezTo>
                  <a:cubicBezTo>
                    <a:pt x="100" y="43"/>
                    <a:pt x="101" y="43"/>
                    <a:pt x="101" y="42"/>
                  </a:cubicBezTo>
                  <a:cubicBezTo>
                    <a:pt x="101" y="41"/>
                    <a:pt x="100" y="40"/>
                    <a:pt x="99" y="39"/>
                  </a:cubicBezTo>
                  <a:cubicBezTo>
                    <a:pt x="98" y="38"/>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446"/>
            <p:cNvSpPr>
              <a:spLocks/>
            </p:cNvSpPr>
            <p:nvPr userDrawn="1"/>
          </p:nvSpPr>
          <p:spPr bwMode="auto">
            <a:xfrm>
              <a:off x="5762" y="1153"/>
              <a:ext cx="3" cy="4"/>
            </a:xfrm>
            <a:custGeom>
              <a:avLst/>
              <a:gdLst>
                <a:gd name="T0" fmla="*/ 2 w 2"/>
                <a:gd name="T1" fmla="*/ 1 h 3"/>
                <a:gd name="T2" fmla="*/ 1 w 2"/>
                <a:gd name="T3" fmla="*/ 2 h 3"/>
                <a:gd name="T4" fmla="*/ 0 w 2"/>
                <a:gd name="T5" fmla="*/ 3 h 3"/>
                <a:gd name="T6" fmla="*/ 0 w 2"/>
                <a:gd name="T7" fmla="*/ 1 h 3"/>
                <a:gd name="T8" fmla="*/ 2 w 2"/>
                <a:gd name="T9" fmla="*/ 0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2" y="1"/>
                    <a:pt x="2" y="2"/>
                    <a:pt x="1" y="2"/>
                  </a:cubicBezTo>
                  <a:cubicBezTo>
                    <a:pt x="1" y="3"/>
                    <a:pt x="0" y="3"/>
                    <a:pt x="0" y="3"/>
                  </a:cubicBezTo>
                  <a:cubicBezTo>
                    <a:pt x="0" y="2"/>
                    <a:pt x="0" y="2"/>
                    <a:pt x="0" y="1"/>
                  </a:cubicBezTo>
                  <a:cubicBezTo>
                    <a:pt x="1" y="1"/>
                    <a:pt x="1" y="1"/>
                    <a:pt x="2" y="0"/>
                  </a:cubicBezTo>
                  <a:cubicBezTo>
                    <a:pt x="2" y="0"/>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447"/>
            <p:cNvSpPr>
              <a:spLocks/>
            </p:cNvSpPr>
            <p:nvPr userDrawn="1"/>
          </p:nvSpPr>
          <p:spPr bwMode="auto">
            <a:xfrm>
              <a:off x="5774" y="1153"/>
              <a:ext cx="5" cy="2"/>
            </a:xfrm>
            <a:custGeom>
              <a:avLst/>
              <a:gdLst>
                <a:gd name="T0" fmla="*/ 0 w 4"/>
                <a:gd name="T1" fmla="*/ 0 h 2"/>
                <a:gd name="T2" fmla="*/ 3 w 4"/>
                <a:gd name="T3" fmla="*/ 1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1"/>
                    <a:pt x="3" y="1"/>
                  </a:cubicBezTo>
                  <a:cubicBezTo>
                    <a:pt x="3" y="1"/>
                    <a:pt x="3" y="1"/>
                    <a:pt x="4" y="2"/>
                  </a:cubicBezTo>
                  <a:cubicBezTo>
                    <a:pt x="3" y="2"/>
                    <a:pt x="3" y="2"/>
                    <a:pt x="2" y="2"/>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5" name="Freeform: Shape 484"/>
          <p:cNvSpPr/>
          <p:nvPr/>
        </p:nvSpPr>
        <p:spPr bwMode="auto">
          <a:xfrm>
            <a:off x="-1" y="0"/>
            <a:ext cx="5072215" cy="6858000"/>
          </a:xfrm>
          <a:custGeom>
            <a:avLst/>
            <a:gdLst>
              <a:gd name="connsiteX0" fmla="*/ 0 w 7294818"/>
              <a:gd name="connsiteY0" fmla="*/ 0 h 6858000"/>
              <a:gd name="connsiteX1" fmla="*/ 3978914 w 7294818"/>
              <a:gd name="connsiteY1" fmla="*/ 0 h 6858000"/>
              <a:gd name="connsiteX2" fmla="*/ 4057397 w 7294818"/>
              <a:gd name="connsiteY2" fmla="*/ 0 h 6858000"/>
              <a:gd name="connsiteX3" fmla="*/ 5871241 w 7294818"/>
              <a:gd name="connsiteY3" fmla="*/ 0 h 6858000"/>
              <a:gd name="connsiteX4" fmla="*/ 7294818 w 7294818"/>
              <a:gd name="connsiteY4" fmla="*/ 0 h 6858000"/>
              <a:gd name="connsiteX5" fmla="*/ 5871241 w 7294818"/>
              <a:gd name="connsiteY5" fmla="*/ 6858000 h 6858000"/>
              <a:gd name="connsiteX6" fmla="*/ 4057397 w 7294818"/>
              <a:gd name="connsiteY6" fmla="*/ 6858000 h 6858000"/>
              <a:gd name="connsiteX7" fmla="*/ 3978914 w 7294818"/>
              <a:gd name="connsiteY7" fmla="*/ 6858000 h 6858000"/>
              <a:gd name="connsiteX8" fmla="*/ 0 w 729481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4818" h="6858000">
                <a:moveTo>
                  <a:pt x="0" y="0"/>
                </a:moveTo>
                <a:lnTo>
                  <a:pt x="3978914" y="0"/>
                </a:lnTo>
                <a:lnTo>
                  <a:pt x="4057397" y="0"/>
                </a:lnTo>
                <a:lnTo>
                  <a:pt x="5871241" y="0"/>
                </a:lnTo>
                <a:lnTo>
                  <a:pt x="7294818" y="0"/>
                </a:lnTo>
                <a:lnTo>
                  <a:pt x="5871241" y="6858000"/>
                </a:lnTo>
                <a:lnTo>
                  <a:pt x="4057397" y="6858000"/>
                </a:lnTo>
                <a:lnTo>
                  <a:pt x="3978914"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257175" indent="-257175" algn="ctr" defTabSz="699354" fontAlgn="base">
              <a:lnSpc>
                <a:spcPct val="90000"/>
              </a:lnSpc>
              <a:spcBef>
                <a:spcPct val="0"/>
              </a:spcBef>
              <a:spcAft>
                <a:spcPct val="0"/>
              </a:spcAft>
              <a:buFont typeface="Wingdings 3" panose="05040102010807070707" pitchFamily="18" charset="2"/>
              <a:buChar char="Æ"/>
            </a:pPr>
            <a:endParaRPr lang="en-US" sz="1500" b="1" err="1">
              <a:solidFill>
                <a:schemeClr val="bg1"/>
              </a:solidFill>
              <a:latin typeface="+mj-lt"/>
              <a:ea typeface="Segoe UI" pitchFamily="34" charset="0"/>
              <a:cs typeface="Segoe UI" pitchFamily="34" charset="0"/>
            </a:endParaRPr>
          </a:p>
        </p:txBody>
      </p:sp>
      <p:sp>
        <p:nvSpPr>
          <p:cNvPr id="498" name="Title 1"/>
          <p:cNvSpPr>
            <a:spLocks noGrp="1"/>
          </p:cNvSpPr>
          <p:nvPr>
            <p:ph type="title"/>
          </p:nvPr>
        </p:nvSpPr>
        <p:spPr>
          <a:xfrm>
            <a:off x="512443" y="1562893"/>
            <a:ext cx="3944097" cy="3732214"/>
          </a:xfrm>
        </p:spPr>
        <p:txBody>
          <a:bodyPr bIns="274320" anchor="ctr" anchorCtr="0"/>
          <a:lstStyle>
            <a:lvl1pPr>
              <a:lnSpc>
                <a:spcPct val="80000"/>
              </a:lnSpc>
              <a:defRPr sz="5400">
                <a:solidFill>
                  <a:schemeClr val="tx1"/>
                </a:solidFill>
              </a:defRPr>
            </a:lvl1pPr>
          </a:lstStyle>
          <a:p>
            <a:r>
              <a:rPr lang="en-US"/>
              <a:t>Click to edit Master title style</a:t>
            </a:r>
          </a:p>
        </p:txBody>
      </p:sp>
      <p:sp>
        <p:nvSpPr>
          <p:cNvPr id="446" name="Freeform: Shape 445"/>
          <p:cNvSpPr/>
          <p:nvPr/>
        </p:nvSpPr>
        <p:spPr bwMode="auto">
          <a:xfrm>
            <a:off x="4000881" y="0"/>
            <a:ext cx="1142238" cy="6858000"/>
          </a:xfrm>
          <a:custGeom>
            <a:avLst/>
            <a:gdLst>
              <a:gd name="connsiteX0" fmla="*/ 1319784 w 1522984"/>
              <a:gd name="connsiteY0" fmla="*/ 0 h 6858000"/>
              <a:gd name="connsiteX1" fmla="*/ 1522984 w 1522984"/>
              <a:gd name="connsiteY1" fmla="*/ 0 h 6858000"/>
              <a:gd name="connsiteX2" fmla="*/ 203200 w 1522984"/>
              <a:gd name="connsiteY2" fmla="*/ 6858000 h 6858000"/>
              <a:gd name="connsiteX3" fmla="*/ 0 w 1522984"/>
              <a:gd name="connsiteY3" fmla="*/ 6858000 h 6858000"/>
              <a:gd name="connsiteX4" fmla="*/ 1319784 w 152298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984" h="6858000">
                <a:moveTo>
                  <a:pt x="1319784" y="0"/>
                </a:moveTo>
                <a:lnTo>
                  <a:pt x="1522984" y="0"/>
                </a:lnTo>
                <a:lnTo>
                  <a:pt x="203200" y="6858000"/>
                </a:lnTo>
                <a:lnTo>
                  <a:pt x="0" y="6858000"/>
                </a:lnTo>
                <a:lnTo>
                  <a:pt x="1319784"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257175" indent="-257175" algn="ctr" defTabSz="699354" fontAlgn="base">
              <a:lnSpc>
                <a:spcPct val="90000"/>
              </a:lnSpc>
              <a:spcBef>
                <a:spcPct val="0"/>
              </a:spcBef>
              <a:spcAft>
                <a:spcPct val="0"/>
              </a:spcAft>
              <a:buFont typeface="Wingdings 3" panose="05040102010807070707" pitchFamily="18" charset="2"/>
              <a:buChar char="Æ"/>
            </a:pPr>
            <a:endParaRPr lang="en-US" sz="1500" b="1" err="1">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0636073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643" y="1420825"/>
            <a:ext cx="8745592" cy="4852747"/>
          </a:xfrm>
        </p:spPr>
        <p:txBody>
          <a:bodyPr tIns="91440" bIns="91440"/>
          <a:lstStyle>
            <a:lvl1pPr>
              <a:defRPr>
                <a:solidFill>
                  <a:srgbClr val="C00000"/>
                </a:solidFill>
                <a:latin typeface="Segoe UI Light" panose="020B0502040204020203" pitchFamily="34" charset="0"/>
                <a:ea typeface="Segoe UI Historic" panose="020B0502040204020203" pitchFamily="34" charset="0"/>
                <a:cs typeface="Segoe UI Light" panose="020B0502040204020203" pitchFamily="34" charset="0"/>
              </a:defRPr>
            </a:lvl1pPr>
            <a:lvl2pPr>
              <a:defRPr>
                <a:latin typeface="Segoe UI Light" panose="020B0502040204020203" pitchFamily="34" charset="0"/>
                <a:ea typeface="Segoe UI Historic" panose="020B0502040204020203" pitchFamily="34" charset="0"/>
                <a:cs typeface="Segoe UI Light" panose="020B0502040204020203" pitchFamily="34" charset="0"/>
              </a:defRPr>
            </a:lvl2pPr>
            <a:lvl3pPr>
              <a:defRPr>
                <a:latin typeface="Segoe UI Light" panose="020B0502040204020203" pitchFamily="34" charset="0"/>
                <a:ea typeface="Segoe UI Historic" panose="020B0502040204020203" pitchFamily="34" charset="0"/>
                <a:cs typeface="Segoe UI Light" panose="020B0502040204020203" pitchFamily="34" charset="0"/>
              </a:defRPr>
            </a:lvl3pPr>
            <a:lvl4pPr>
              <a:defRPr>
                <a:latin typeface="Segoe UI Light" panose="020B0502040204020203" pitchFamily="34" charset="0"/>
                <a:ea typeface="Segoe UI Historic" panose="020B0502040204020203" pitchFamily="34" charset="0"/>
                <a:cs typeface="Segoe UI Light" panose="020B0502040204020203" pitchFamily="34" charset="0"/>
              </a:defRPr>
            </a:lvl4pPr>
            <a:lvl5pPr>
              <a:defRPr>
                <a:latin typeface="Segoe UI Light" panose="020B0502040204020203" pitchFamily="34" charset="0"/>
                <a:ea typeface="Segoe UI Historic"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883" y="6603024"/>
            <a:ext cx="9144235" cy="265884"/>
            <a:chOff x="-1200" y="6644680"/>
            <a:chExt cx="12436794" cy="360970"/>
          </a:xfrm>
        </p:grpSpPr>
        <p:sp>
          <p:nvSpPr>
            <p:cNvPr id="9" name="TextBox 8"/>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10" name="TextBox 9"/>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344158143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97962" y="289511"/>
            <a:ext cx="8741309" cy="1051560"/>
          </a:xfrm>
        </p:spPr>
        <p:txBody>
          <a:bodyPr/>
          <a:lstStyle>
            <a:lvl1pPr>
              <a:defRPr/>
            </a:lvl1pPr>
          </a:lstStyle>
          <a:p>
            <a:r>
              <a:rPr lang="en-US" dirty="0"/>
              <a:t>Lorem ipsum dolor sit.</a:t>
            </a:r>
            <a:endParaRPr lang="en-IN" dirty="0"/>
          </a:p>
        </p:txBody>
      </p:sp>
      <p:grpSp>
        <p:nvGrpSpPr>
          <p:cNvPr id="11" name="Group 10"/>
          <p:cNvGrpSpPr/>
          <p:nvPr/>
        </p:nvGrpSpPr>
        <p:grpSpPr>
          <a:xfrm>
            <a:off x="-883" y="6603024"/>
            <a:ext cx="9144235" cy="265884"/>
            <a:chOff x="-1200" y="6644680"/>
            <a:chExt cx="12436794" cy="360970"/>
          </a:xfrm>
        </p:grpSpPr>
        <p:sp>
          <p:nvSpPr>
            <p:cNvPr id="12" name="TextBox 11"/>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13" name="TextBox 12"/>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203246769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ent Slide 2">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dirty="0"/>
              <a:t>Lorem ipsum dolor sit.</a:t>
            </a:r>
          </a:p>
        </p:txBody>
      </p:sp>
      <p:sp>
        <p:nvSpPr>
          <p:cNvPr id="3" name="Content Placeholder 2"/>
          <p:cNvSpPr>
            <a:spLocks noGrp="1"/>
          </p:cNvSpPr>
          <p:nvPr>
            <p:ph sz="quarter" idx="14"/>
          </p:nvPr>
        </p:nvSpPr>
        <p:spPr>
          <a:xfrm>
            <a:off x="197643" y="1420825"/>
            <a:ext cx="8745592" cy="4852747"/>
          </a:xfrm>
        </p:spPr>
        <p:txBody>
          <a:bodyPr tIns="91440" bIns="91440"/>
          <a:lstStyle>
            <a:lvl1pPr>
              <a:defRPr>
                <a:solidFill>
                  <a:srgbClr val="C00000"/>
                </a:solidFill>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 name="Group 16"/>
          <p:cNvGrpSpPr/>
          <p:nvPr/>
        </p:nvGrpSpPr>
        <p:grpSpPr>
          <a:xfrm>
            <a:off x="-883" y="6603024"/>
            <a:ext cx="9144235" cy="265884"/>
            <a:chOff x="-1200" y="6644680"/>
            <a:chExt cx="12436794" cy="360970"/>
          </a:xfrm>
        </p:grpSpPr>
        <p:sp>
          <p:nvSpPr>
            <p:cNvPr id="18" name="TextBox 17"/>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19" name="TextBox 18"/>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380286840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7" name="Picture Placeholder 6"/>
          <p:cNvSpPr>
            <a:spLocks noGrp="1"/>
          </p:cNvSpPr>
          <p:nvPr>
            <p:ph type="pic" sz="quarter" idx="12" hasCustomPrompt="1"/>
          </p:nvPr>
        </p:nvSpPr>
        <p:spPr>
          <a:xfrm>
            <a:off x="198428" y="1420825"/>
            <a:ext cx="5363375" cy="4852747"/>
          </a:xfrm>
          <a:ln w="152400">
            <a:noFill/>
          </a:ln>
        </p:spPr>
        <p:txBody>
          <a:bodyPr tIns="91440" bIns="91440"/>
          <a:lstStyle>
            <a:lvl1pPr marL="0" indent="0">
              <a:buNone/>
              <a:defRPr>
                <a:solidFill>
                  <a:schemeClr val="tx1"/>
                </a:solidFill>
              </a:defRPr>
            </a:lvl1pPr>
          </a:lstStyle>
          <a:p>
            <a:r>
              <a:rPr lang="en-US"/>
              <a:t>Screen shot or image here</a:t>
            </a:r>
          </a:p>
        </p:txBody>
      </p:sp>
      <p:sp>
        <p:nvSpPr>
          <p:cNvPr id="16" name="Text Placeholder 2"/>
          <p:cNvSpPr>
            <a:spLocks noGrp="1"/>
          </p:cNvSpPr>
          <p:nvPr>
            <p:ph type="body" sz="quarter" idx="13"/>
          </p:nvPr>
        </p:nvSpPr>
        <p:spPr>
          <a:xfrm>
            <a:off x="5561803" y="1420825"/>
            <a:ext cx="3381436" cy="4852747"/>
          </a:xfrm>
        </p:spPr>
        <p:txBody>
          <a:bodyPr tIns="91440" bIns="91440"/>
          <a:lstStyle>
            <a:lvl1pPr marL="0" indent="0">
              <a:lnSpc>
                <a:spcPct val="100000"/>
              </a:lnSpc>
              <a:spcBef>
                <a:spcPts val="1471"/>
              </a:spcBef>
              <a:buFontTx/>
              <a:buNone/>
              <a:defRPr sz="2353">
                <a:solidFill>
                  <a:srgbClr val="C00000"/>
                </a:solidFill>
              </a:defRPr>
            </a:lvl1pPr>
            <a:lvl2pPr marL="252109" indent="0">
              <a:lnSpc>
                <a:spcPct val="100000"/>
              </a:lnSpc>
              <a:spcBef>
                <a:spcPts val="1471"/>
              </a:spcBef>
              <a:buFontTx/>
              <a:buNone/>
              <a:defRPr/>
            </a:lvl2pPr>
            <a:lvl3pPr marL="420181" indent="0">
              <a:lnSpc>
                <a:spcPct val="100000"/>
              </a:lnSpc>
              <a:spcBef>
                <a:spcPts val="1471"/>
              </a:spcBef>
              <a:buFontTx/>
              <a:buNone/>
              <a:defRPr/>
            </a:lvl3pPr>
            <a:lvl4pPr marL="588254" indent="0">
              <a:lnSpc>
                <a:spcPct val="100000"/>
              </a:lnSpc>
              <a:spcBef>
                <a:spcPts val="1471"/>
              </a:spcBef>
              <a:buFontTx/>
              <a:buNone/>
              <a:defRPr/>
            </a:lvl4pPr>
            <a:lvl5pPr marL="756326" indent="0">
              <a:lnSpc>
                <a:spcPct val="100000"/>
              </a:lnSpc>
              <a:spcBef>
                <a:spcPts val="1471"/>
              </a:spcBef>
              <a:buFontTx/>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2" name="Group 21"/>
          <p:cNvGrpSpPr/>
          <p:nvPr/>
        </p:nvGrpSpPr>
        <p:grpSpPr>
          <a:xfrm>
            <a:off x="-883" y="6603024"/>
            <a:ext cx="9144235" cy="265884"/>
            <a:chOff x="-1200" y="6644680"/>
            <a:chExt cx="12436794" cy="360970"/>
          </a:xfrm>
        </p:grpSpPr>
        <p:sp>
          <p:nvSpPr>
            <p:cNvPr id="23" name="TextBox 22"/>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24" name="TextBox 23"/>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62014639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ntent Slide 3">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644" y="1420825"/>
            <a:ext cx="4098132" cy="5094187"/>
          </a:xfrm>
        </p:spPr>
        <p:txBody>
          <a:bodyPr/>
          <a:lstStyle>
            <a:lvl1pPr>
              <a:defRPr>
                <a:solidFill>
                  <a:srgbClr val="C0000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889611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ntent Slide 4">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643" y="1420825"/>
            <a:ext cx="8745595" cy="5094187"/>
          </a:xfrm>
        </p:spPr>
        <p:txBody>
          <a:bodyPr/>
          <a:lstStyle>
            <a:lvl1pPr>
              <a:defRPr>
                <a:solidFill>
                  <a:srgbClr val="C0000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003242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ullet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962" y="1934309"/>
            <a:ext cx="4312492" cy="4580703"/>
          </a:xfrm>
        </p:spPr>
        <p:txBody>
          <a:bodyPr/>
          <a:lstStyle>
            <a:lvl1pPr>
              <a:defRPr sz="2400">
                <a:solidFill>
                  <a:schemeClr val="tx1"/>
                </a:solidFill>
              </a:defRPr>
            </a:lvl1pPr>
            <a:lvl2pPr>
              <a:defRPr sz="1500">
                <a:solidFill>
                  <a:schemeClr val="tx1"/>
                </a:solidFill>
              </a:defRPr>
            </a:lvl2pPr>
            <a:lvl3pPr>
              <a:defRPr sz="135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15"/>
          </p:nvPr>
        </p:nvSpPr>
        <p:spPr>
          <a:xfrm>
            <a:off x="4615961" y="1934309"/>
            <a:ext cx="4327277" cy="4580703"/>
          </a:xfrm>
        </p:spPr>
        <p:txBody>
          <a:bodyPr/>
          <a:lstStyle>
            <a:lvl1pPr>
              <a:defRPr sz="2400">
                <a:solidFill>
                  <a:schemeClr val="tx1"/>
                </a:solidFill>
              </a:defRPr>
            </a:lvl1pPr>
            <a:lvl2pPr>
              <a:defRPr sz="1500">
                <a:solidFill>
                  <a:schemeClr val="tx1"/>
                </a:solidFill>
              </a:defRPr>
            </a:lvl2pPr>
            <a:lvl3pPr>
              <a:defRPr sz="135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8"/>
          <p:cNvSpPr>
            <a:spLocks noGrp="1"/>
          </p:cNvSpPr>
          <p:nvPr>
            <p:ph type="body" sz="quarter" idx="13" hasCustomPrompt="1"/>
          </p:nvPr>
        </p:nvSpPr>
        <p:spPr>
          <a:xfrm>
            <a:off x="197962" y="1495610"/>
            <a:ext cx="4312492" cy="438151"/>
          </a:xfrm>
        </p:spPr>
        <p:txBody>
          <a:bodyPr anchor="ctr"/>
          <a:lstStyle>
            <a:lvl1pPr marL="0" indent="0" algn="l">
              <a:defRPr lang="en-US" sz="1500" b="0" kern="1200" baseline="0" smtClean="0">
                <a:solidFill>
                  <a:schemeClr val="accent1"/>
                </a:solidFill>
                <a:latin typeface="+mj-lt"/>
                <a:ea typeface="+mn-ea"/>
                <a:cs typeface="Arial" panose="020B0604020202020204" pitchFamily="34" charset="0"/>
              </a:defRPr>
            </a:lvl1pPr>
            <a:lvl2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15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7" name="Text Placeholder 8"/>
          <p:cNvSpPr>
            <a:spLocks noGrp="1"/>
          </p:cNvSpPr>
          <p:nvPr>
            <p:ph type="body" sz="quarter" idx="16" hasCustomPrompt="1"/>
          </p:nvPr>
        </p:nvSpPr>
        <p:spPr>
          <a:xfrm>
            <a:off x="4615961" y="1496158"/>
            <a:ext cx="4315153" cy="438151"/>
          </a:xfrm>
        </p:spPr>
        <p:txBody>
          <a:bodyPr anchor="ctr"/>
          <a:lstStyle>
            <a:lvl1pPr marL="0" indent="0" algn="l">
              <a:defRPr lang="en-US" sz="1500" b="0" kern="1200" baseline="0" smtClean="0">
                <a:solidFill>
                  <a:schemeClr val="accent1"/>
                </a:solidFill>
                <a:latin typeface="+mj-lt"/>
                <a:ea typeface="+mn-ea"/>
                <a:cs typeface="Arial" panose="020B0604020202020204" pitchFamily="34" charset="0"/>
              </a:defRPr>
            </a:lvl1pPr>
            <a:lvl2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15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Tree>
    <p:extLst>
      <p:ext uri="{BB962C8B-B14F-4D97-AF65-F5344CB8AC3E}">
        <p14:creationId xmlns:p14="http://schemas.microsoft.com/office/powerpoint/2010/main" val="402976518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Pattern Layout">
    <p:spTree>
      <p:nvGrpSpPr>
        <p:cNvPr id="1" name=""/>
        <p:cNvGrpSpPr/>
        <p:nvPr/>
      </p:nvGrpSpPr>
      <p:grpSpPr>
        <a:xfrm>
          <a:off x="0" y="0"/>
          <a:ext cx="0" cy="0"/>
          <a:chOff x="0" y="0"/>
          <a:chExt cx="0" cy="0"/>
        </a:xfrm>
      </p:grpSpPr>
      <p:grpSp>
        <p:nvGrpSpPr>
          <p:cNvPr id="4" name="Group 2439"/>
          <p:cNvGrpSpPr/>
          <p:nvPr/>
        </p:nvGrpSpPr>
        <p:grpSpPr>
          <a:xfrm>
            <a:off x="55242" y="62261"/>
            <a:ext cx="9079421"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grpSp>
        <p:nvGrpSpPr>
          <p:cNvPr id="1279" name="Group 2440"/>
          <p:cNvGrpSpPr/>
          <p:nvPr/>
        </p:nvGrpSpPr>
        <p:grpSpPr>
          <a:xfrm>
            <a:off x="65364" y="3446122"/>
            <a:ext cx="9079421"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sp>
        <p:nvSpPr>
          <p:cNvPr id="2554" name="Rectangle 2553"/>
          <p:cNvSpPr/>
          <p:nvPr/>
        </p:nvSpPr>
        <p:spPr bwMode="auto">
          <a:xfrm>
            <a:off x="1998785" y="0"/>
            <a:ext cx="9144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a:xfrm>
            <a:off x="336159" y="6437742"/>
            <a:ext cx="2894705"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685129"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76067996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2396047"/>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787237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21" Type="http://schemas.openxmlformats.org/officeDocument/2006/relationships/tags" Target="../tags/tag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vmlDrawing" Target="../drawings/vmlDrawing7.v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image" Target="../media/image5.emf"/><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image" Target="../media/image12.emf"/><Relationship Id="rId10" Type="http://schemas.openxmlformats.org/officeDocument/2006/relationships/slideLayout" Target="../slideLayouts/slideLayout194.xml"/><Relationship Id="rId19" Type="http://schemas.openxmlformats.org/officeDocument/2006/relationships/theme" Target="../theme/theme10.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heme" Target="../theme/theme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image" Target="../media/image5.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theme" Target="../theme/theme4.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theme" Target="../theme/theme5.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21" Type="http://schemas.openxmlformats.org/officeDocument/2006/relationships/tags" Target="../tags/tag1.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vmlDrawing" Target="../drawings/vmlDrawing1.v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image" Target="../media/image5.emf"/><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image" Target="../media/image12.emf"/><Relationship Id="rId10" Type="http://schemas.openxmlformats.org/officeDocument/2006/relationships/slideLayout" Target="../slideLayouts/slideLayout129.xml"/><Relationship Id="rId19" Type="http://schemas.openxmlformats.org/officeDocument/2006/relationships/theme" Target="../theme/theme6.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tags" Target="../tags/tag3.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vmlDrawing" Target="../drawings/vmlDrawing3.v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image" Target="../media/image5.emf"/><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12.emf"/><Relationship Id="rId10" Type="http://schemas.openxmlformats.org/officeDocument/2006/relationships/slideLayout" Target="../slideLayouts/slideLayout147.xml"/><Relationship Id="rId19" Type="http://schemas.openxmlformats.org/officeDocument/2006/relationships/theme" Target="../theme/theme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21" Type="http://schemas.openxmlformats.org/officeDocument/2006/relationships/tags" Target="../tags/tag5.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vmlDrawing" Target="../drawings/vmlDrawing5.v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image" Target="../media/image5.emf"/><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image" Target="../media/image12.emf"/><Relationship Id="rId10" Type="http://schemas.openxmlformats.org/officeDocument/2006/relationships/slideLayout" Target="../slideLayouts/slideLayout165.xml"/><Relationship Id="rId19" Type="http://schemas.openxmlformats.org/officeDocument/2006/relationships/theme" Target="../theme/theme8.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1.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theme" Target="../theme/theme9.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AzureArch  @stilldrey</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11" r:id="rId1"/>
    <p:sldLayoutId id="2147483709" r:id="rId2"/>
    <p:sldLayoutId id="2147483661"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05"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0" r:id="rId24"/>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7172"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425261094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 id="2147483910"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1189178"/>
            <a:ext cx="8740141" cy="144731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331475"/>
      </p:ext>
    </p:extLst>
  </p:cSld>
  <p:clrMap bg1="dk1" tx1="lt1" bg2="dk2" tx2="lt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Lst>
  <p:transition>
    <p:fade/>
  </p:transition>
  <p:txStyles>
    <p:titleStyle>
      <a:lvl1pPr algn="l" defTabSz="685775" rtl="0" eaLnBrk="1" latinLnBrk="0" hangingPunct="1">
        <a:lnSpc>
          <a:spcPct val="90000"/>
        </a:lnSpc>
        <a:spcBef>
          <a:spcPct val="0"/>
        </a:spcBef>
        <a:buNone/>
        <a:defRPr lang="en-US" sz="330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9" marR="0" indent="-252109" algn="l" defTabSz="685775" rtl="0" eaLnBrk="1" fontAlgn="auto" latinLnBrk="0" hangingPunct="1">
        <a:lnSpc>
          <a:spcPct val="90000"/>
        </a:lnSpc>
        <a:spcBef>
          <a:spcPct val="20000"/>
        </a:spcBef>
        <a:spcAft>
          <a:spcPts val="0"/>
        </a:spcAft>
        <a:buClrTx/>
        <a:buSzPct val="90000"/>
        <a:buFont typeface="Arial" pitchFamily="34" charset="0"/>
        <a:buChar char="•"/>
        <a:tabLst/>
        <a:defRPr sz="2700" kern="1200" spc="0" baseline="0">
          <a:gradFill>
            <a:gsLst>
              <a:gs pos="1250">
                <a:schemeClr val="tx1"/>
              </a:gs>
              <a:gs pos="100000">
                <a:schemeClr val="tx1"/>
              </a:gs>
            </a:gsLst>
            <a:lin ang="5400000" scaled="0"/>
          </a:gradFill>
          <a:latin typeface="+mj-lt"/>
          <a:ea typeface="+mn-ea"/>
          <a:cs typeface="+mn-cs"/>
        </a:defRPr>
      </a:lvl1pPr>
      <a:lvl2pPr marL="429518" marR="0" indent="-177410" algn="l" defTabSz="685775"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2pPr>
      <a:lvl3pPr marL="588254"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3pPr>
      <a:lvl4pPr marL="756326"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4pPr>
      <a:lvl5pPr marL="924398"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4/12/2018</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27343014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1043651485"/>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1" name="Text Placeholder 3"/>
          <p:cNvSpPr>
            <a:spLocks noGrp="1"/>
          </p:cNvSpPr>
          <p:nvPr>
            <p:ph type="body" idx="1"/>
          </p:nvPr>
        </p:nvSpPr>
        <p:spPr bwMode="auto">
          <a:xfrm>
            <a:off x="197962" y="1420825"/>
            <a:ext cx="8740142" cy="2051485"/>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182880" tIns="146304" rIns="182880" bIns="146304"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197962" y="289511"/>
            <a:ext cx="8741309" cy="1051560"/>
          </a:xfrm>
          <a:prstGeom prst="rect">
            <a:avLst/>
          </a:prstGeom>
        </p:spPr>
        <p:txBody>
          <a:bodyPr vert="horz" wrap="square" lIns="146304" tIns="91440" rIns="146304" bIns="91440" rtlCol="0" anchor="t">
            <a:noAutofit/>
          </a:bodyPr>
          <a:lstStyle/>
          <a:p>
            <a:r>
              <a:rPr lang="en-US"/>
              <a:t>Click to edit Master title style</a:t>
            </a:r>
          </a:p>
        </p:txBody>
      </p:sp>
      <p:sp>
        <p:nvSpPr>
          <p:cNvPr id="5" name="Slide Number Placeholder 4"/>
          <p:cNvSpPr>
            <a:spLocks noGrp="1"/>
          </p:cNvSpPr>
          <p:nvPr>
            <p:ph type="sldNum" sz="quarter" idx="4"/>
          </p:nvPr>
        </p:nvSpPr>
        <p:spPr>
          <a:xfrm>
            <a:off x="8525374" y="6625016"/>
            <a:ext cx="416698" cy="133860"/>
          </a:xfrm>
          <a:prstGeom prst="rect">
            <a:avLst/>
          </a:prstGeom>
        </p:spPr>
        <p:txBody>
          <a:bodyPr vert="horz" lIns="91440" tIns="0" rIns="0" bIns="0" rtlCol="0" anchor="ctr"/>
          <a:lstStyle>
            <a:lvl1pPr algn="r" defTabSz="685775" fontAlgn="auto">
              <a:spcBef>
                <a:spcPts val="0"/>
              </a:spcBef>
              <a:spcAft>
                <a:spcPts val="0"/>
              </a:spcAft>
              <a:defRPr lang="en-US" sz="662" b="0" kern="1200">
                <a:solidFill>
                  <a:srgbClr val="505050"/>
                </a:solidFill>
                <a:latin typeface="+mn-lt"/>
                <a:ea typeface="+mn-ea"/>
                <a:cs typeface="+mn-cs"/>
              </a:defRPr>
            </a:lvl1pPr>
          </a:lstStyle>
          <a:p>
            <a:fld id="{229F7579-2E57-4B6B-A53E-1A311B57DA27}" type="slidenum">
              <a:rPr lang="en-US" smtClean="0"/>
              <a:t>‹#›</a:t>
            </a:fld>
            <a:endParaRPr lang="en-US"/>
          </a:p>
        </p:txBody>
      </p:sp>
    </p:spTree>
    <p:extLst>
      <p:ext uri="{BB962C8B-B14F-4D97-AF65-F5344CB8AC3E}">
        <p14:creationId xmlns:p14="http://schemas.microsoft.com/office/powerpoint/2010/main" val="2014179207"/>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Lst>
  <p:transition>
    <p:fade/>
  </p:transition>
  <p:txStyles>
    <p:titleStyle>
      <a:lvl1pPr algn="l" defTabSz="685129" rtl="0" eaLnBrk="1" fontAlgn="base" hangingPunct="1">
        <a:lnSpc>
          <a:spcPct val="100000"/>
        </a:lnSpc>
        <a:spcBef>
          <a:spcPct val="0"/>
        </a:spcBef>
        <a:spcAft>
          <a:spcPct val="0"/>
        </a:spcAft>
        <a:defRPr lang="en-US" sz="3000" kern="1200" spc="-75" dirty="0">
          <a:ln w="3175">
            <a:noFill/>
          </a:ln>
          <a:solidFill>
            <a:schemeClr val="tx1"/>
          </a:solidFill>
          <a:latin typeface="+mj-lt"/>
          <a:ea typeface="ＭＳ Ｐゴシック" charset="0"/>
          <a:cs typeface="Segoe UI" pitchFamily="34" charset="0"/>
        </a:defRPr>
      </a:lvl1pPr>
      <a:lvl2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2pPr>
      <a:lvl3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3pPr>
      <a:lvl4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4pPr>
      <a:lvl5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5pPr>
      <a:lvl6pPr marL="336145"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6pPr>
      <a:lvl7pPr marL="672290"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7pPr>
      <a:lvl8pPr marL="1008434"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8pPr>
      <a:lvl9pPr marL="1344580"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9pPr>
    </p:titleStyle>
    <p:bodyStyle>
      <a:lvl1pPr marL="0" indent="0" algn="l" defTabSz="685129" rtl="0" eaLnBrk="1" fontAlgn="base" hangingPunct="1">
        <a:lnSpc>
          <a:spcPct val="90000"/>
        </a:lnSpc>
        <a:spcBef>
          <a:spcPts val="450"/>
        </a:spcBef>
        <a:spcAft>
          <a:spcPct val="0"/>
        </a:spcAft>
        <a:buSzPct val="90000"/>
        <a:buFont typeface="Arial" charset="0"/>
        <a:buNone/>
        <a:defRPr sz="2700" kern="1200" spc="-38" baseline="0">
          <a:solidFill>
            <a:schemeClr val="accent1"/>
          </a:solidFill>
          <a:latin typeface="+mj-lt"/>
          <a:ea typeface="ＭＳ Ｐゴシック" charset="0"/>
          <a:cs typeface="ＭＳ Ｐゴシック" charset="0"/>
        </a:defRPr>
      </a:lvl1pPr>
      <a:lvl2pPr marL="252109" indent="0" algn="l" defTabSz="685129" rtl="0" eaLnBrk="1" fontAlgn="base" hangingPunct="1">
        <a:lnSpc>
          <a:spcPct val="90000"/>
        </a:lnSpc>
        <a:spcBef>
          <a:spcPts val="450"/>
        </a:spcBef>
        <a:spcAft>
          <a:spcPct val="0"/>
        </a:spcAft>
        <a:buSzPct val="90000"/>
        <a:buFont typeface="Arial" charset="0"/>
        <a:buNone/>
        <a:defRPr sz="1800" kern="1200" spc="-15" baseline="0">
          <a:solidFill>
            <a:schemeClr val="tx1"/>
          </a:solidFill>
          <a:latin typeface="+mj-lt"/>
          <a:ea typeface="ＭＳ Ｐゴシック" charset="0"/>
          <a:cs typeface="+mn-cs"/>
        </a:defRPr>
      </a:lvl2pPr>
      <a:lvl3pPr marL="420181" indent="0" algn="l" defTabSz="685129" rtl="0" eaLnBrk="1" fontAlgn="base" hangingPunct="1">
        <a:lnSpc>
          <a:spcPct val="90000"/>
        </a:lnSpc>
        <a:spcBef>
          <a:spcPts val="450"/>
        </a:spcBef>
        <a:spcAft>
          <a:spcPct val="0"/>
        </a:spcAft>
        <a:buSzPct val="90000"/>
        <a:buFont typeface="Arial" charset="0"/>
        <a:buNone/>
        <a:defRPr sz="1500" kern="1200">
          <a:solidFill>
            <a:schemeClr val="tx1"/>
          </a:solidFill>
          <a:latin typeface="Segoe UI Semilight" panose="020B0402040204020203" pitchFamily="34" charset="0"/>
          <a:ea typeface="ＭＳ Ｐゴシック" charset="0"/>
          <a:cs typeface="Segoe UI Semilight" panose="020B0402040204020203" pitchFamily="34" charset="0"/>
        </a:defRPr>
      </a:lvl3pPr>
      <a:lvl4pPr marL="588254" indent="0" algn="l" defTabSz="685129" rtl="0" eaLnBrk="1" fontAlgn="base" hangingPunct="1">
        <a:lnSpc>
          <a:spcPct val="90000"/>
        </a:lnSpc>
        <a:spcBef>
          <a:spcPts val="450"/>
        </a:spcBef>
        <a:spcAft>
          <a:spcPct val="0"/>
        </a:spcAft>
        <a:buSzPct val="90000"/>
        <a:buFont typeface="Arial" charset="0"/>
        <a:buNone/>
        <a:defRPr kern="1200">
          <a:solidFill>
            <a:schemeClr val="tx1"/>
          </a:solidFill>
          <a:latin typeface="+mn-lt"/>
          <a:ea typeface="ＭＳ Ｐゴシック" charset="0"/>
          <a:cs typeface="+mn-cs"/>
        </a:defRPr>
      </a:lvl4pPr>
      <a:lvl5pPr marL="756326" indent="0" algn="l" defTabSz="685129" rtl="0" eaLnBrk="1" fontAlgn="base" hangingPunct="1">
        <a:lnSpc>
          <a:spcPct val="90000"/>
        </a:lnSpc>
        <a:spcBef>
          <a:spcPts val="450"/>
        </a:spcBef>
        <a:spcAft>
          <a:spcPct val="0"/>
        </a:spcAft>
        <a:buSzPct val="90000"/>
        <a:buFont typeface="Arial" charset="0"/>
        <a:buNone/>
        <a:defRPr kern="1200">
          <a:solidFill>
            <a:schemeClr val="tx1"/>
          </a:solidFill>
          <a:latin typeface="+mn-lt"/>
          <a:ea typeface="ＭＳ Ｐゴシック" charset="0"/>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1028"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89973457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3076"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597472463"/>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5124"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4025694274"/>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1541C7-28CA-4E29-97ED-728D92D3EA86}"/>
              </a:ext>
            </a:extLst>
          </p:cNvPr>
          <p:cNvSpPr>
            <a:spLocks noGrp="1"/>
          </p:cNvSpPr>
          <p:nvPr>
            <p:ph type="title"/>
          </p:nvPr>
        </p:nvSpPr>
        <p:spPr>
          <a:xfrm>
            <a:off x="628650" y="365127"/>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FF47FF-19BD-4C18-AA93-6838EA1974CE}"/>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F597AB-0266-4ADC-912D-980AAA5C7874}"/>
              </a:ext>
            </a:extLst>
          </p:cNvPr>
          <p:cNvSpPr>
            <a:spLocks noGrp="1"/>
          </p:cNvSpPr>
          <p:nvPr>
            <p:ph type="dt" sz="half" idx="2"/>
          </p:nvPr>
        </p:nvSpPr>
        <p:spPr>
          <a:xfrm>
            <a:off x="628651" y="6356352"/>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E3B75666-FC3C-43AF-BA78-E2821E165376}"/>
              </a:ext>
            </a:extLst>
          </p:cNvPr>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50F2710-5F19-4E0F-8A32-CE888968AD16}"/>
              </a:ext>
            </a:extLst>
          </p:cNvPr>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930DC99-17F8-465A-96BE-55A7CC3ABF9A}" type="slidenum">
              <a:rPr lang="en-US" smtClean="0"/>
              <a:t>‹#›</a:t>
            </a:fld>
            <a:endParaRPr lang="en-US"/>
          </a:p>
        </p:txBody>
      </p:sp>
    </p:spTree>
    <p:extLst>
      <p:ext uri="{BB962C8B-B14F-4D97-AF65-F5344CB8AC3E}">
        <p14:creationId xmlns:p14="http://schemas.microsoft.com/office/powerpoint/2010/main" val="2285294724"/>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Lst>
  <p:txStyles>
    <p:titleStyle>
      <a:lvl1pPr algn="l" defTabSz="68566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17" indent="-171417" algn="l" defTabSz="68566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51" indent="-171417" algn="l" defTabSz="68566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086" indent="-171417" algn="l" defTabSz="68566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20"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754"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589"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23"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256"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90"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69" rtl="0" eaLnBrk="1" latinLnBrk="0" hangingPunct="1">
        <a:defRPr sz="1350" kern="1200">
          <a:solidFill>
            <a:schemeClr val="tx1"/>
          </a:solidFill>
          <a:latin typeface="+mn-lt"/>
          <a:ea typeface="+mn-ea"/>
          <a:cs typeface="+mn-cs"/>
        </a:defRPr>
      </a:lvl1pPr>
      <a:lvl2pPr marL="342834" algn="l" defTabSz="685669" rtl="0" eaLnBrk="1" latinLnBrk="0" hangingPunct="1">
        <a:defRPr sz="1350" kern="1200">
          <a:solidFill>
            <a:schemeClr val="tx1"/>
          </a:solidFill>
          <a:latin typeface="+mn-lt"/>
          <a:ea typeface="+mn-ea"/>
          <a:cs typeface="+mn-cs"/>
        </a:defRPr>
      </a:lvl2pPr>
      <a:lvl3pPr marL="685669" algn="l" defTabSz="685669" rtl="0" eaLnBrk="1" latinLnBrk="0" hangingPunct="1">
        <a:defRPr sz="1350" kern="1200">
          <a:solidFill>
            <a:schemeClr val="tx1"/>
          </a:solidFill>
          <a:latin typeface="+mn-lt"/>
          <a:ea typeface="+mn-ea"/>
          <a:cs typeface="+mn-cs"/>
        </a:defRPr>
      </a:lvl3pPr>
      <a:lvl4pPr marL="1028503" algn="l" defTabSz="685669" rtl="0" eaLnBrk="1" latinLnBrk="0" hangingPunct="1">
        <a:defRPr sz="1350" kern="1200">
          <a:solidFill>
            <a:schemeClr val="tx1"/>
          </a:solidFill>
          <a:latin typeface="+mn-lt"/>
          <a:ea typeface="+mn-ea"/>
          <a:cs typeface="+mn-cs"/>
        </a:defRPr>
      </a:lvl4pPr>
      <a:lvl5pPr marL="1371337" algn="l" defTabSz="685669" rtl="0" eaLnBrk="1" latinLnBrk="0" hangingPunct="1">
        <a:defRPr sz="1350" kern="1200">
          <a:solidFill>
            <a:schemeClr val="tx1"/>
          </a:solidFill>
          <a:latin typeface="+mn-lt"/>
          <a:ea typeface="+mn-ea"/>
          <a:cs typeface="+mn-cs"/>
        </a:defRPr>
      </a:lvl5pPr>
      <a:lvl6pPr marL="1714171" algn="l" defTabSz="685669" rtl="0" eaLnBrk="1" latinLnBrk="0" hangingPunct="1">
        <a:defRPr sz="1350" kern="1200">
          <a:solidFill>
            <a:schemeClr val="tx1"/>
          </a:solidFill>
          <a:latin typeface="+mn-lt"/>
          <a:ea typeface="+mn-ea"/>
          <a:cs typeface="+mn-cs"/>
        </a:defRPr>
      </a:lvl6pPr>
      <a:lvl7pPr marL="2057006" algn="l" defTabSz="685669" rtl="0" eaLnBrk="1" latinLnBrk="0" hangingPunct="1">
        <a:defRPr sz="1350" kern="1200">
          <a:solidFill>
            <a:schemeClr val="tx1"/>
          </a:solidFill>
          <a:latin typeface="+mn-lt"/>
          <a:ea typeface="+mn-ea"/>
          <a:cs typeface="+mn-cs"/>
        </a:defRPr>
      </a:lvl7pPr>
      <a:lvl8pPr marL="2399839" algn="l" defTabSz="685669" rtl="0" eaLnBrk="1" latinLnBrk="0" hangingPunct="1">
        <a:defRPr sz="1350" kern="1200">
          <a:solidFill>
            <a:schemeClr val="tx1"/>
          </a:solidFill>
          <a:latin typeface="+mn-lt"/>
          <a:ea typeface="+mn-ea"/>
          <a:cs typeface="+mn-cs"/>
        </a:defRPr>
      </a:lvl8pPr>
      <a:lvl9pPr marL="2742673" algn="l" defTabSz="68566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notesSlide" Target="../notesSlides/notesSlide21.xml"/><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5.xml"/><Relationship Id="rId1" Type="http://schemas.openxmlformats.org/officeDocument/2006/relationships/slideLayout" Target="../slideLayouts/slideLayout56.xml"/><Relationship Id="rId4" Type="http://schemas.openxmlformats.org/officeDocument/2006/relationships/image" Target="../media/image90.png"/></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storage/storage-scalability-targets" TargetMode="External"/><Relationship Id="rId2" Type="http://schemas.openxmlformats.org/officeDocument/2006/relationships/notesSlide" Target="../notesSlides/notesSlide26.xml"/><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9.xml"/><Relationship Id="rId1" Type="http://schemas.openxmlformats.org/officeDocument/2006/relationships/slideLayout" Target="../slideLayouts/slideLayout71.xml"/><Relationship Id="rId4" Type="http://schemas.openxmlformats.org/officeDocument/2006/relationships/hyperlink" Target="https://docs.microsoft.com/en-us/azure/storage/storage-premium-storage#scalability-and-performance-targets" TargetMode="External"/></Relationships>
</file>

<file path=ppt/slides/_rels/slide3.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59.png"/><Relationship Id="rId55" Type="http://schemas.openxmlformats.org/officeDocument/2006/relationships/image" Target="../media/image63.png"/><Relationship Id="rId63" Type="http://schemas.openxmlformats.org/officeDocument/2006/relationships/image" Target="../media/image71.png"/><Relationship Id="rId68" Type="http://schemas.openxmlformats.org/officeDocument/2006/relationships/image" Target="../media/image76.png"/><Relationship Id="rId7" Type="http://schemas.openxmlformats.org/officeDocument/2006/relationships/image" Target="../media/image17.png"/><Relationship Id="rId2" Type="http://schemas.openxmlformats.org/officeDocument/2006/relationships/notesSlide" Target="../notesSlides/notesSlide3.xml"/><Relationship Id="rId16" Type="http://schemas.openxmlformats.org/officeDocument/2006/relationships/image" Target="../media/image26.png"/><Relationship Id="rId29" Type="http://schemas.openxmlformats.org/officeDocument/2006/relationships/image" Target="../media/image39.png"/><Relationship Id="rId1" Type="http://schemas.openxmlformats.org/officeDocument/2006/relationships/slideLayout" Target="../slideLayouts/slideLayout32.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1.png"/><Relationship Id="rId58" Type="http://schemas.openxmlformats.org/officeDocument/2006/relationships/image" Target="../media/image66.png"/><Relationship Id="rId66" Type="http://schemas.openxmlformats.org/officeDocument/2006/relationships/image" Target="../media/image74.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65.png"/><Relationship Id="rId61" Type="http://schemas.openxmlformats.org/officeDocument/2006/relationships/image" Target="../media/image6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0.png"/><Relationship Id="rId60" Type="http://schemas.openxmlformats.org/officeDocument/2006/relationships/image" Target="../media/image68.png"/><Relationship Id="rId65" Type="http://schemas.openxmlformats.org/officeDocument/2006/relationships/image" Target="../media/image73.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56" Type="http://schemas.openxmlformats.org/officeDocument/2006/relationships/image" Target="../media/image64.png"/><Relationship Id="rId64" Type="http://schemas.openxmlformats.org/officeDocument/2006/relationships/image" Target="../media/image72.png"/><Relationship Id="rId8" Type="http://schemas.openxmlformats.org/officeDocument/2006/relationships/image" Target="../media/image18.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13.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59" Type="http://schemas.openxmlformats.org/officeDocument/2006/relationships/image" Target="../media/image67.png"/><Relationship Id="rId67" Type="http://schemas.openxmlformats.org/officeDocument/2006/relationships/image" Target="../media/image75.png"/><Relationship Id="rId20" Type="http://schemas.openxmlformats.org/officeDocument/2006/relationships/image" Target="../media/image30.png"/><Relationship Id="rId41" Type="http://schemas.openxmlformats.org/officeDocument/2006/relationships/image" Target="../media/image51.png"/><Relationship Id="rId54" Type="http://schemas.openxmlformats.org/officeDocument/2006/relationships/image" Target="../media/image62.png"/><Relationship Id="rId62" Type="http://schemas.openxmlformats.org/officeDocument/2006/relationships/image" Target="../media/image70.png"/></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30.xml"/><Relationship Id="rId1" Type="http://schemas.openxmlformats.org/officeDocument/2006/relationships/slideLayout" Target="../slideLayouts/slideLayout71.xml"/></Relationships>
</file>

<file path=ppt/slides/_rels/slide31.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31.xml"/><Relationship Id="rId1" Type="http://schemas.openxmlformats.org/officeDocument/2006/relationships/slideLayout" Target="../slideLayouts/slideLayout71.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32.xml"/><Relationship Id="rId1" Type="http://schemas.openxmlformats.org/officeDocument/2006/relationships/slideLayout" Target="../slideLayouts/slideLayout71.xml"/></Relationships>
</file>

<file path=ppt/slides/_rels/slide33.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2" Type="http://schemas.openxmlformats.org/officeDocument/2006/relationships/notesSlide" Target="../notesSlides/notesSlide33.xml"/><Relationship Id="rId1" Type="http://schemas.openxmlformats.org/officeDocument/2006/relationships/slideLayout" Target="../slideLayouts/slideLayout58.xm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Azure-Samples/storage-table-dotnet-getting-started" TargetMode="External"/><Relationship Id="rId2" Type="http://schemas.openxmlformats.org/officeDocument/2006/relationships/notesSlide" Target="../notesSlides/notesSlide34.xml"/><Relationship Id="rId1" Type="http://schemas.openxmlformats.org/officeDocument/2006/relationships/slideLayout" Target="../slideLayouts/slideLayout58.xml"/></Relationships>
</file>

<file path=ppt/slides/_rels/slide35.xml.rels><?xml version="1.0" encoding="UTF-8" standalone="yes"?>
<Relationships xmlns="http://schemas.openxmlformats.org/package/2006/relationships"><Relationship Id="rId3" Type="http://schemas.openxmlformats.org/officeDocument/2006/relationships/hyperlink" Target="https://azure.microsoft.com/en-us/resources/samples/storage-blob-dotnet-getting-started/" TargetMode="External"/><Relationship Id="rId2" Type="http://schemas.openxmlformats.org/officeDocument/2006/relationships/notesSlide" Target="../notesSlides/notesSlide35.xml"/><Relationship Id="rId1" Type="http://schemas.openxmlformats.org/officeDocument/2006/relationships/slideLayout" Target="../slideLayouts/slideLayout58.xml"/><Relationship Id="rId4" Type="http://schemas.openxmlformats.org/officeDocument/2006/relationships/hyperlink" Target="https://github.com/Azure-Samples/storage-blob-dotnet-getting-started"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36.xml"/><Relationship Id="rId1"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8" Type="http://schemas.openxmlformats.org/officeDocument/2006/relationships/image" Target="../media/image95.tmp"/><Relationship Id="rId3" Type="http://schemas.openxmlformats.org/officeDocument/2006/relationships/image" Target="../media/image91.png"/><Relationship Id="rId7" Type="http://schemas.microsoft.com/office/2007/relationships/hdphoto" Target="../media/hdphoto2.wdp"/><Relationship Id="rId2" Type="http://schemas.openxmlformats.org/officeDocument/2006/relationships/notesSlide" Target="../notesSlides/notesSlide38.xml"/><Relationship Id="rId1" Type="http://schemas.openxmlformats.org/officeDocument/2006/relationships/slideLayout" Target="../slideLayouts/slideLayout78.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0.xml"/><Relationship Id="rId1" Type="http://schemas.openxmlformats.org/officeDocument/2006/relationships/slideLayout" Target="../slideLayouts/slideLayout56.xml"/><Relationship Id="rId4" Type="http://schemas.openxmlformats.org/officeDocument/2006/relationships/image" Target="../media/image97.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9.xm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 TargetMode="External"/><Relationship Id="rId2" Type="http://schemas.openxmlformats.org/officeDocument/2006/relationships/notesSlide" Target="../notesSlides/notesSlide42.xml"/><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3.xml"/><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2.xml"/></Relationships>
</file>

<file path=ppt/slides/_rels/slide46.xml.rels><?xml version="1.0" encoding="UTF-8" standalone="yes"?>
<Relationships xmlns="http://schemas.openxmlformats.org/package/2006/relationships"><Relationship Id="rId3" Type="http://schemas.openxmlformats.org/officeDocument/2006/relationships/image" Target="../media/image99.tmp"/><Relationship Id="rId2" Type="http://schemas.openxmlformats.org/officeDocument/2006/relationships/notesSlide" Target="../notesSlides/notesSlide46.xml"/><Relationship Id="rId1" Type="http://schemas.openxmlformats.org/officeDocument/2006/relationships/slideLayout" Target="../slideLayouts/slideLayout92.xml"/></Relationships>
</file>

<file path=ppt/slides/_rels/slide47.xml.rels><?xml version="1.0" encoding="UTF-8" standalone="yes"?>
<Relationships xmlns="http://schemas.openxmlformats.org/package/2006/relationships"><Relationship Id="rId3" Type="http://schemas.openxmlformats.org/officeDocument/2006/relationships/hyperlink" Target="https://azure.microsoft.com/en-us/resources/videos/index/?services=sql-database" TargetMode="External"/><Relationship Id="rId2" Type="http://schemas.openxmlformats.org/officeDocument/2006/relationships/notesSlide" Target="../notesSlides/notesSlide47.xml"/><Relationship Id="rId1" Type="http://schemas.openxmlformats.org/officeDocument/2006/relationships/slideLayout" Target="../slideLayouts/slideLayout5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100.png"/><Relationship Id="rId7"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8.xml"/><Relationship Id="rId6" Type="http://schemas.openxmlformats.org/officeDocument/2006/relationships/image" Target="../media/image93.png"/><Relationship Id="rId5" Type="http://schemas.openxmlformats.org/officeDocument/2006/relationships/image" Target="../media/image102.png"/><Relationship Id="rId4" Type="http://schemas.openxmlformats.org/officeDocument/2006/relationships/image" Target="../media/image101.png"/><Relationship Id="rId9" Type="http://schemas.openxmlformats.org/officeDocument/2006/relationships/image" Target="../media/image104.svg"/></Relationships>
</file>

<file path=ppt/slides/_rels/slide53.xml.rels><?xml version="1.0" encoding="UTF-8" standalone="yes"?>
<Relationships xmlns="http://schemas.openxmlformats.org/package/2006/relationships"><Relationship Id="rId3" Type="http://schemas.openxmlformats.org/officeDocument/2006/relationships/image" Target="../media/image105.tmp"/><Relationship Id="rId2" Type="http://schemas.openxmlformats.org/officeDocument/2006/relationships/notesSlide" Target="../notesSlides/notesSlide52.xml"/><Relationship Id="rId1" Type="http://schemas.openxmlformats.org/officeDocument/2006/relationships/slideLayout" Target="../slideLayouts/slideLayout78.xml"/></Relationships>
</file>

<file path=ppt/slides/_rels/slide54.xml.rels><?xml version="1.0" encoding="UTF-8" standalone="yes"?>
<Relationships xmlns="http://schemas.openxmlformats.org/package/2006/relationships"><Relationship Id="rId3" Type="http://schemas.openxmlformats.org/officeDocument/2006/relationships/image" Target="../media/image106.tmp"/><Relationship Id="rId2" Type="http://schemas.openxmlformats.org/officeDocument/2006/relationships/notesSlide" Target="../notesSlides/notesSlide53.xml"/><Relationship Id="rId1" Type="http://schemas.openxmlformats.org/officeDocument/2006/relationships/slideLayout" Target="../slideLayouts/slideLayout7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azure/cosmos-db/programming" TargetMode="External"/><Relationship Id="rId2" Type="http://schemas.openxmlformats.org/officeDocument/2006/relationships/notesSlide" Target="../notesSlides/notesSlide55.xml"/><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3" Type="http://schemas.openxmlformats.org/officeDocument/2006/relationships/hyperlink" Target="https://docs.microsoft.com/en-us/azure/cosmos-db/programming" TargetMode="External"/><Relationship Id="rId2" Type="http://schemas.openxmlformats.org/officeDocument/2006/relationships/notesSlide" Target="../notesSlides/notesSlide56.xml"/><Relationship Id="rId1" Type="http://schemas.openxmlformats.org/officeDocument/2006/relationships/slideLayout" Target="../slideLayouts/slideLayout56.xml"/><Relationship Id="rId5" Type="http://schemas.openxmlformats.org/officeDocument/2006/relationships/hyperlink" Target="https://docs.microsoft.com/en-us/azure/cosmos-db/documentdb-get-started" TargetMode="External"/><Relationship Id="rId4" Type="http://schemas.openxmlformats.org/officeDocument/2006/relationships/hyperlink" Target="https://medium.com/@th0maswe1ss/azure-documentdb-vs-mongodb-6d5806c16239"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58.xml"/><Relationship Id="rId1" Type="http://schemas.openxmlformats.org/officeDocument/2006/relationships/slideLayout" Target="../slideLayouts/slideLayout126.xml"/><Relationship Id="rId6" Type="http://schemas.openxmlformats.org/officeDocument/2006/relationships/image" Target="../media/image110.pn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svg"/><Relationship Id="rId9" Type="http://schemas.openxmlformats.org/officeDocument/2006/relationships/image" Target="../media/image113.png"/></Relationships>
</file>

<file path=ppt/slides/_rels/slide6.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6.xml"/><Relationship Id="rId1" Type="http://schemas.openxmlformats.org/officeDocument/2006/relationships/slideLayout" Target="../slideLayouts/slideLayout50.xml"/><Relationship Id="rId4" Type="http://schemas.openxmlformats.org/officeDocument/2006/relationships/hyperlink" Target="http://storageexplorer.com/"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slideLayout" Target="../slideLayouts/slideLayout144.xml"/><Relationship Id="rId7" Type="http://schemas.openxmlformats.org/officeDocument/2006/relationships/image" Target="../media/image115.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2.emf"/><Relationship Id="rId11" Type="http://schemas.openxmlformats.org/officeDocument/2006/relationships/image" Target="../media/image119.png"/><Relationship Id="rId5" Type="http://schemas.openxmlformats.org/officeDocument/2006/relationships/oleObject" Target="../embeddings/oleObject3.bin"/><Relationship Id="rId10" Type="http://schemas.openxmlformats.org/officeDocument/2006/relationships/image" Target="../media/image118.png"/><Relationship Id="rId4" Type="http://schemas.openxmlformats.org/officeDocument/2006/relationships/notesSlide" Target="../notesSlides/notesSlide59.xml"/><Relationship Id="rId9" Type="http://schemas.openxmlformats.org/officeDocument/2006/relationships/image" Target="../media/image117.png"/></Relationships>
</file>

<file path=ppt/slides/_rels/slide61.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14.png"/><Relationship Id="rId3" Type="http://schemas.openxmlformats.org/officeDocument/2006/relationships/slideLayout" Target="../slideLayouts/slideLayout162.xml"/><Relationship Id="rId7" Type="http://schemas.openxmlformats.org/officeDocument/2006/relationships/image" Target="../media/image120.png"/><Relationship Id="rId12" Type="http://schemas.openxmlformats.org/officeDocument/2006/relationships/image" Target="../media/image125.png"/><Relationship Id="rId2" Type="http://schemas.openxmlformats.org/officeDocument/2006/relationships/tags" Target="../tags/tag10.xml"/><Relationship Id="rId16" Type="http://schemas.openxmlformats.org/officeDocument/2006/relationships/image" Target="../media/image126.png"/><Relationship Id="rId1" Type="http://schemas.openxmlformats.org/officeDocument/2006/relationships/vmlDrawing" Target="../drawings/vmlDrawing10.vml"/><Relationship Id="rId6" Type="http://schemas.openxmlformats.org/officeDocument/2006/relationships/image" Target="../media/image12.emf"/><Relationship Id="rId11" Type="http://schemas.openxmlformats.org/officeDocument/2006/relationships/image" Target="../media/image124.png"/><Relationship Id="rId5" Type="http://schemas.openxmlformats.org/officeDocument/2006/relationships/oleObject" Target="../embeddings/oleObject4.bin"/><Relationship Id="rId15" Type="http://schemas.openxmlformats.org/officeDocument/2006/relationships/image" Target="../media/image108.svg"/><Relationship Id="rId10" Type="http://schemas.openxmlformats.org/officeDocument/2006/relationships/image" Target="../media/image123.png"/><Relationship Id="rId4" Type="http://schemas.openxmlformats.org/officeDocument/2006/relationships/notesSlide" Target="../notesSlides/notesSlide60.xml"/><Relationship Id="rId9" Type="http://schemas.openxmlformats.org/officeDocument/2006/relationships/image" Target="../media/image122.png"/><Relationship Id="rId14" Type="http://schemas.openxmlformats.org/officeDocument/2006/relationships/image" Target="../media/image107.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75.xml"/></Relationships>
</file>

<file path=ppt/slides/_rels/slide63.xml.rels><?xml version="1.0" encoding="UTF-8" standalone="yes"?>
<Relationships xmlns="http://schemas.openxmlformats.org/package/2006/relationships"><Relationship Id="rId8" Type="http://schemas.openxmlformats.org/officeDocument/2006/relationships/hyperlink" Target="https://docs.microsoft.com/en-us/azure/cosmos-db/performance-testing" TargetMode="External"/><Relationship Id="rId13" Type="http://schemas.openxmlformats.org/officeDocument/2006/relationships/hyperlink" Target="https://docs.microsoft.com/en-us/azure/cosmos-db/online-backup-and-restore" TargetMode="External"/><Relationship Id="rId3" Type="http://schemas.openxmlformats.org/officeDocument/2006/relationships/hyperlink" Target="https://na01.safelinks.protection.outlook.com/?url=https://azure.microsoft.com/en-us/blog/a-technical-overview-of-azure-cosmos-db/&amp;data=02|01|dharmas@microsoft.com|41077c9f554f4920e44508d4cd2b7c77|72f988bf86f141af91ab2d7cd011db47|1|0|636359034044841051&amp;sdata=qZeLmgFoxl4xZ6lL/KjkM3p2sb%2BWg2fwFnUhD%2BOVfDI%3D&amp;reserved=0" TargetMode="External"/><Relationship Id="rId7" Type="http://schemas.openxmlformats.org/officeDocument/2006/relationships/hyperlink" Target="https://docs.microsoft.com/en-us/azure/cosmos-db/consistency-levels" TargetMode="External"/><Relationship Id="rId12" Type="http://schemas.openxmlformats.org/officeDocument/2006/relationships/hyperlink" Target="https://docs.microsoft.com/en-us/azure/cosmos-db/time-to-live" TargetMode="External"/><Relationship Id="rId2" Type="http://schemas.openxmlformats.org/officeDocument/2006/relationships/notesSlide" Target="../notesSlides/notesSlide62.xml"/><Relationship Id="rId1" Type="http://schemas.openxmlformats.org/officeDocument/2006/relationships/slideLayout" Target="../slideLayouts/slideLayout191.xml"/><Relationship Id="rId6" Type="http://schemas.openxmlformats.org/officeDocument/2006/relationships/hyperlink" Target="https://docs.microsoft.com/en-us/azure/cosmos-db/partition-data" TargetMode="External"/><Relationship Id="rId11" Type="http://schemas.openxmlformats.org/officeDocument/2006/relationships/hyperlink" Target="https://docs.microsoft.com/en-us/azure/cosmos-db/request-units" TargetMode="External"/><Relationship Id="rId5" Type="http://schemas.openxmlformats.org/officeDocument/2006/relationships/hyperlink" Target="https://docs.microsoft.com/en-us/azure/cosmos-db/regional-failover" TargetMode="External"/><Relationship Id="rId15" Type="http://schemas.openxmlformats.org/officeDocument/2006/relationships/hyperlink" Target="https://azure.microsoft.com/en-us/support/legal/sla/cosmos-db/v1_0/" TargetMode="External"/><Relationship Id="rId10" Type="http://schemas.openxmlformats.org/officeDocument/2006/relationships/hyperlink" Target="https://docs.microsoft.com/en-us/azure/cosmos-db/indexing-policies" TargetMode="External"/><Relationship Id="rId4" Type="http://schemas.openxmlformats.org/officeDocument/2006/relationships/hyperlink" Target="https://docs.microsoft.com/en-us/azure/cosmos-db/distribute-data-globally" TargetMode="External"/><Relationship Id="rId9" Type="http://schemas.openxmlformats.org/officeDocument/2006/relationships/hyperlink" Target="http://www.vldb.org/pvldb/vol8/p1668-shukla.pdf" TargetMode="External"/><Relationship Id="rId14" Type="http://schemas.openxmlformats.org/officeDocument/2006/relationships/hyperlink" Target="https://docs.microsoft.com/en-us/azure/cosmos-db/spark-connector"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7.xml"/><Relationship Id="rId1" Type="http://schemas.openxmlformats.org/officeDocument/2006/relationships/slideLayout" Target="../slideLayouts/slideLayout5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59.xml"/><Relationship Id="rId4" Type="http://schemas.openxmlformats.org/officeDocument/2006/relationships/image" Target="../media/image8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Dan Rey</a:t>
            </a:r>
          </a:p>
          <a:p>
            <a:r>
              <a:rPr lang="en-US" dirty="0"/>
              <a:t>Cloud Consultant</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3000" dirty="0"/>
              <a:t>Design Data Implementation</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050" b="1" dirty="0"/>
              <a:t>Azure Queue</a:t>
            </a:r>
          </a:p>
        </p:txBody>
      </p:sp>
      <p:sp>
        <p:nvSpPr>
          <p:cNvPr id="5" name="Content Placeholder 4"/>
          <p:cNvSpPr>
            <a:spLocks noGrp="1"/>
          </p:cNvSpPr>
          <p:nvPr>
            <p:ph type="body" sz="quarter" idx="10"/>
          </p:nvPr>
        </p:nvSpPr>
        <p:spPr>
          <a:xfrm>
            <a:off x="201553" y="1147724"/>
            <a:ext cx="8574837" cy="410903"/>
          </a:xfrm>
        </p:spPr>
        <p:txBody>
          <a:bodyPr>
            <a:noAutofit/>
          </a:bodyPr>
          <a:lstStyle/>
          <a:p>
            <a:r>
              <a:rPr lang="en-US" sz="3000" dirty="0"/>
              <a:t>Provides reliable, persistent messaging.</a:t>
            </a:r>
          </a:p>
          <a:p>
            <a:r>
              <a:rPr lang="en-US" sz="3000" dirty="0"/>
              <a:t>REST-based GET/PUT/PEEK</a:t>
            </a:r>
          </a:p>
          <a:p>
            <a:r>
              <a:rPr lang="en-US" sz="3000" dirty="0"/>
              <a:t>Maximum Message Size 64 KB. If larger message size needed use Service Bus</a:t>
            </a:r>
          </a:p>
          <a:p>
            <a:r>
              <a:rPr lang="en-US" sz="3000" dirty="0"/>
              <a:t>Maximum message TTL 7 days</a:t>
            </a:r>
          </a:p>
        </p:txBody>
      </p:sp>
    </p:spTree>
    <p:extLst>
      <p:ext uri="{BB962C8B-B14F-4D97-AF65-F5344CB8AC3E}">
        <p14:creationId xmlns:p14="http://schemas.microsoft.com/office/powerpoint/2010/main" val="5210947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Table and Queue Storage via PowerShell</a:t>
            </a:r>
          </a:p>
        </p:txBody>
      </p:sp>
      <p:pic>
        <p:nvPicPr>
          <p:cNvPr id="2" name="Picture 1"/>
          <p:cNvPicPr>
            <a:picLocks noChangeAspect="1"/>
          </p:cNvPicPr>
          <p:nvPr/>
        </p:nvPicPr>
        <p:blipFill>
          <a:blip r:embed="rId3"/>
          <a:stretch>
            <a:fillRect/>
          </a:stretch>
        </p:blipFill>
        <p:spPr>
          <a:xfrm>
            <a:off x="342900" y="1647145"/>
            <a:ext cx="8394927" cy="4047445"/>
          </a:xfrm>
          <a:prstGeom prst="rect">
            <a:avLst/>
          </a:prstGeom>
        </p:spPr>
      </p:pic>
    </p:spTree>
    <p:extLst>
      <p:ext uri="{BB962C8B-B14F-4D97-AF65-F5344CB8AC3E}">
        <p14:creationId xmlns:p14="http://schemas.microsoft.com/office/powerpoint/2010/main" val="254149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torage Options</a:t>
            </a:r>
          </a:p>
        </p:txBody>
      </p:sp>
      <p:sp>
        <p:nvSpPr>
          <p:cNvPr id="6" name="Content Placeholder 5"/>
          <p:cNvSpPr>
            <a:spLocks noGrp="1"/>
          </p:cNvSpPr>
          <p:nvPr>
            <p:ph type="body" sz="quarter" idx="10"/>
          </p:nvPr>
        </p:nvSpPr>
        <p:spPr>
          <a:xfrm>
            <a:off x="140678" y="1354993"/>
            <a:ext cx="8574837" cy="410903"/>
          </a:xfrm>
        </p:spPr>
        <p:txBody>
          <a:bodyPr>
            <a:noAutofit/>
          </a:bodyPr>
          <a:lstStyle/>
          <a:p>
            <a:r>
              <a:rPr lang="en-US" sz="2400" dirty="0"/>
              <a:t>Standard</a:t>
            </a:r>
          </a:p>
          <a:p>
            <a:pPr marL="685800" lvl="1" indent="-342900">
              <a:buFont typeface="Arial" panose="020B0604020202020204" pitchFamily="34" charset="0"/>
              <a:buChar char="•"/>
            </a:pPr>
            <a:r>
              <a:rPr lang="en-US" sz="2400" dirty="0"/>
              <a:t>Max total request rate of 20k IOPS</a:t>
            </a:r>
          </a:p>
          <a:p>
            <a:pPr marL="685800" lvl="1" indent="-342900">
              <a:buFont typeface="Arial" panose="020B0604020202020204" pitchFamily="34" charset="0"/>
              <a:buChar char="•"/>
            </a:pPr>
            <a:r>
              <a:rPr lang="en-US" sz="2400" dirty="0"/>
              <a:t>Billed for actual usage*</a:t>
            </a:r>
          </a:p>
          <a:p>
            <a:r>
              <a:rPr lang="en-US" sz="2400" dirty="0"/>
              <a:t>Premium</a:t>
            </a:r>
          </a:p>
          <a:p>
            <a:pPr marL="685800" lvl="1" indent="-342900">
              <a:buFont typeface="Arial" panose="020B0604020202020204" pitchFamily="34" charset="0"/>
              <a:buChar char="•"/>
            </a:pPr>
            <a:r>
              <a:rPr lang="en-US" sz="2400" dirty="0"/>
              <a:t>Designed for Azure VMs</a:t>
            </a:r>
          </a:p>
          <a:p>
            <a:pPr marL="685800" lvl="1" indent="-342900">
              <a:buFont typeface="Arial" panose="020B0604020202020204" pitchFamily="34" charset="0"/>
              <a:buChar char="•"/>
            </a:pPr>
            <a:r>
              <a:rPr lang="en-US" sz="2400" dirty="0"/>
              <a:t>High performance</a:t>
            </a:r>
          </a:p>
          <a:p>
            <a:pPr marL="685800" lvl="1" indent="-342900">
              <a:buFont typeface="Arial" panose="020B0604020202020204" pitchFamily="34" charset="0"/>
              <a:buChar char="•"/>
            </a:pPr>
            <a:r>
              <a:rPr lang="en-US" sz="2400" dirty="0"/>
              <a:t>Low latency</a:t>
            </a:r>
          </a:p>
          <a:p>
            <a:pPr marL="685800" lvl="1" indent="-342900">
              <a:buFont typeface="Arial" panose="020B0604020202020204" pitchFamily="34" charset="0"/>
              <a:buChar char="•"/>
            </a:pPr>
            <a:r>
              <a:rPr lang="en-US" sz="2400" dirty="0"/>
              <a:t>Azure VM disks are implemented as “Page Blobs”</a:t>
            </a:r>
          </a:p>
          <a:p>
            <a:pPr marL="685800" lvl="1" indent="-342900">
              <a:buFont typeface="Arial" panose="020B0604020202020204" pitchFamily="34" charset="0"/>
              <a:buChar char="•"/>
            </a:pPr>
            <a:r>
              <a:rPr lang="en-US" sz="2400" dirty="0"/>
              <a:t>Billed for Provisioned space and not for actual usage. </a:t>
            </a:r>
          </a:p>
          <a:p>
            <a:pPr lvl="1"/>
            <a:endParaRPr lang="en-US" sz="2400" dirty="0"/>
          </a:p>
          <a:p>
            <a:pPr lvl="1"/>
            <a:endParaRPr lang="en-US" sz="2400" dirty="0"/>
          </a:p>
        </p:txBody>
      </p:sp>
    </p:spTree>
    <p:extLst>
      <p:ext uri="{BB962C8B-B14F-4D97-AF65-F5344CB8AC3E}">
        <p14:creationId xmlns:p14="http://schemas.microsoft.com/office/powerpoint/2010/main" val="1386973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Blob Storage</a:t>
            </a:r>
          </a:p>
        </p:txBody>
      </p:sp>
      <p:sp>
        <p:nvSpPr>
          <p:cNvPr id="5" name="Content Placeholder 4"/>
          <p:cNvSpPr>
            <a:spLocks noGrp="1"/>
          </p:cNvSpPr>
          <p:nvPr>
            <p:ph type="body" sz="quarter" idx="10"/>
          </p:nvPr>
        </p:nvSpPr>
        <p:spPr>
          <a:xfrm>
            <a:off x="284581" y="1283074"/>
            <a:ext cx="8574837" cy="410903"/>
          </a:xfrm>
        </p:spPr>
        <p:txBody>
          <a:bodyPr>
            <a:noAutofit/>
          </a:bodyPr>
          <a:lstStyle/>
          <a:p>
            <a:r>
              <a:rPr lang="en-US" sz="2000" dirty="0"/>
              <a:t>Also called </a:t>
            </a:r>
            <a:r>
              <a:rPr lang="en-US" sz="2000" b="1" dirty="0"/>
              <a:t>Object Storage</a:t>
            </a:r>
            <a:r>
              <a:rPr lang="en-US" sz="2000" dirty="0"/>
              <a:t> </a:t>
            </a:r>
          </a:p>
          <a:p>
            <a:r>
              <a:rPr lang="en-US" sz="2000" dirty="0"/>
              <a:t>Storing large amounts of unstructured object data</a:t>
            </a:r>
          </a:p>
          <a:p>
            <a:r>
              <a:rPr lang="en-US" sz="2000" dirty="0"/>
              <a:t>Can be accessed from anywhere via HTTP or HTTPS</a:t>
            </a:r>
          </a:p>
          <a:p>
            <a:r>
              <a:rPr lang="en-US" sz="2000" dirty="0"/>
              <a:t>Three kinds of Blobs:</a:t>
            </a:r>
          </a:p>
          <a:p>
            <a:pPr lvl="1"/>
            <a:r>
              <a:rPr lang="en-US" sz="2000" dirty="0"/>
              <a:t>Block Blob</a:t>
            </a:r>
          </a:p>
          <a:p>
            <a:pPr lvl="1"/>
            <a:r>
              <a:rPr lang="en-US" sz="2000" dirty="0"/>
              <a:t>Append Blob</a:t>
            </a:r>
          </a:p>
          <a:p>
            <a:pPr lvl="1"/>
            <a:r>
              <a:rPr lang="en-US" sz="2000" dirty="0"/>
              <a:t>Page Blob</a:t>
            </a:r>
          </a:p>
          <a:p>
            <a:r>
              <a:rPr lang="en-US" sz="2000" dirty="0"/>
              <a:t>Common uses of Blob storage include:</a:t>
            </a:r>
          </a:p>
          <a:p>
            <a:pPr lvl="1"/>
            <a:r>
              <a:rPr lang="en-US" sz="2000" dirty="0"/>
              <a:t>Serving images or documents directly to a browser</a:t>
            </a:r>
          </a:p>
          <a:p>
            <a:pPr lvl="1"/>
            <a:r>
              <a:rPr lang="en-US" sz="2000" dirty="0"/>
              <a:t>Storing files for distributed access</a:t>
            </a:r>
          </a:p>
          <a:p>
            <a:pPr lvl="1"/>
            <a:r>
              <a:rPr lang="en-US" sz="2000" dirty="0"/>
              <a:t>Streaming video and audio</a:t>
            </a:r>
          </a:p>
          <a:p>
            <a:pPr lvl="1"/>
            <a:r>
              <a:rPr lang="en-US" sz="2000" dirty="0"/>
              <a:t>Storing data for backup and restore, disaster recovery, and archiving</a:t>
            </a:r>
          </a:p>
          <a:p>
            <a:endParaRPr lang="en-US" sz="2000" dirty="0"/>
          </a:p>
        </p:txBody>
      </p:sp>
    </p:spTree>
    <p:extLst>
      <p:ext uri="{BB962C8B-B14F-4D97-AF65-F5344CB8AC3E}">
        <p14:creationId xmlns:p14="http://schemas.microsoft.com/office/powerpoint/2010/main" val="14430286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Block Blobs</a:t>
            </a:r>
          </a:p>
        </p:txBody>
      </p:sp>
      <p:sp>
        <p:nvSpPr>
          <p:cNvPr id="6" name="Content Placeholder 5"/>
          <p:cNvSpPr>
            <a:spLocks noGrp="1"/>
          </p:cNvSpPr>
          <p:nvPr>
            <p:ph idx="1"/>
          </p:nvPr>
        </p:nvSpPr>
        <p:spPr/>
        <p:txBody>
          <a:bodyPr>
            <a:normAutofit/>
          </a:bodyPr>
          <a:lstStyle/>
          <a:p>
            <a:pPr marL="428625" indent="-428625">
              <a:buFont typeface="Arial" panose="020B0604020202020204" pitchFamily="34" charset="0"/>
              <a:buChar char="•"/>
            </a:pPr>
            <a:r>
              <a:rPr lang="en-US" dirty="0"/>
              <a:t>Blob is broken into pieces</a:t>
            </a:r>
          </a:p>
          <a:p>
            <a:pPr marL="428625" indent="-428625">
              <a:buFont typeface="Arial" panose="020B0604020202020204" pitchFamily="34" charset="0"/>
              <a:buChar char="•"/>
            </a:pPr>
            <a:r>
              <a:rPr lang="en-US" dirty="0"/>
              <a:t>Block Id for each piece</a:t>
            </a:r>
          </a:p>
          <a:p>
            <a:pPr marL="428625" indent="-428625">
              <a:buFont typeface="Arial" panose="020B0604020202020204" pitchFamily="34" charset="0"/>
              <a:buChar char="•"/>
            </a:pPr>
            <a:r>
              <a:rPr lang="en-US" dirty="0"/>
              <a:t>Max block size = 100MB</a:t>
            </a:r>
          </a:p>
          <a:p>
            <a:pPr marL="428625" indent="-428625">
              <a:buFont typeface="Arial" panose="020B0604020202020204" pitchFamily="34" charset="0"/>
              <a:buChar char="•"/>
            </a:pPr>
            <a:r>
              <a:rPr lang="en-US" dirty="0"/>
              <a:t>Up to 50k blocks per blob</a:t>
            </a:r>
          </a:p>
          <a:p>
            <a:pPr marL="428625" indent="-428625">
              <a:buFont typeface="Arial" panose="020B0604020202020204" pitchFamily="34" charset="0"/>
              <a:buChar char="•"/>
            </a:pPr>
            <a:r>
              <a:rPr lang="en-US" dirty="0"/>
              <a:t>The maximum size of a block blob is ~4.75 TB </a:t>
            </a:r>
          </a:p>
          <a:p>
            <a:pPr marL="428625" indent="-428625">
              <a:buFont typeface="Arial" panose="020B0604020202020204" pitchFamily="34" charset="0"/>
              <a:buChar char="•"/>
            </a:pPr>
            <a:r>
              <a:rPr lang="en-US" dirty="0"/>
              <a:t>Blocks upload can be multithreaded</a:t>
            </a:r>
          </a:p>
          <a:p>
            <a:pPr marL="428625" indent="-428625">
              <a:buFont typeface="Arial" panose="020B0604020202020204" pitchFamily="34" charset="0"/>
              <a:buChar char="•"/>
            </a:pPr>
            <a:r>
              <a:rPr lang="en-US" dirty="0"/>
              <a:t>Streaming , Storing documents, media files, backups</a:t>
            </a:r>
          </a:p>
        </p:txBody>
      </p:sp>
    </p:spTree>
    <p:extLst>
      <p:ext uri="{BB962C8B-B14F-4D97-AF65-F5344CB8AC3E}">
        <p14:creationId xmlns:p14="http://schemas.microsoft.com/office/powerpoint/2010/main" val="24056515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 Blobs</a:t>
            </a:r>
          </a:p>
        </p:txBody>
      </p:sp>
      <p:sp>
        <p:nvSpPr>
          <p:cNvPr id="3" name="Content Placeholder 2"/>
          <p:cNvSpPr>
            <a:spLocks noGrp="1"/>
          </p:cNvSpPr>
          <p:nvPr>
            <p:ph idx="1"/>
          </p:nvPr>
        </p:nvSpPr>
        <p:spPr/>
        <p:txBody>
          <a:bodyPr/>
          <a:lstStyle/>
          <a:p>
            <a:pPr marL="428625" indent="-428625">
              <a:buFont typeface="Arial" panose="020B0604020202020204" pitchFamily="34" charset="0"/>
              <a:buChar char="•"/>
            </a:pPr>
            <a:r>
              <a:rPr lang="en-US" dirty="0"/>
              <a:t>Similar to Block Blobs</a:t>
            </a:r>
          </a:p>
          <a:p>
            <a:pPr marL="428625" indent="-428625">
              <a:buFont typeface="Arial" panose="020B0604020202020204" pitchFamily="34" charset="0"/>
              <a:buChar char="•"/>
            </a:pPr>
            <a:r>
              <a:rPr lang="en-US" dirty="0"/>
              <a:t>Optimized for append operations</a:t>
            </a:r>
          </a:p>
          <a:p>
            <a:pPr marL="428625" indent="-428625">
              <a:buFont typeface="Arial" panose="020B0604020202020204" pitchFamily="34" charset="0"/>
              <a:buChar char="•"/>
            </a:pPr>
            <a:r>
              <a:rPr lang="en-US" dirty="0"/>
              <a:t>Only can add to the end</a:t>
            </a:r>
          </a:p>
          <a:p>
            <a:pPr marL="428625" indent="-428625">
              <a:buFont typeface="Arial" panose="020B0604020202020204" pitchFamily="34" charset="0"/>
              <a:buChar char="•"/>
            </a:pPr>
            <a:r>
              <a:rPr lang="en-US" dirty="0"/>
              <a:t>The maximum size of an append blob is ~195 GB</a:t>
            </a:r>
          </a:p>
          <a:p>
            <a:pPr marL="428625" indent="-428625">
              <a:buFont typeface="Arial" panose="020B0604020202020204" pitchFamily="34" charset="0"/>
              <a:buChar char="•"/>
            </a:pPr>
            <a:r>
              <a:rPr lang="en-US" dirty="0"/>
              <a:t>Updating or deleting of existing blocks is not supported</a:t>
            </a:r>
          </a:p>
          <a:p>
            <a:pPr marL="428625" indent="-428625">
              <a:buFont typeface="Arial" panose="020B0604020202020204" pitchFamily="34" charset="0"/>
              <a:buChar char="•"/>
            </a:pPr>
            <a:r>
              <a:rPr lang="en-US" dirty="0"/>
              <a:t>Unlike a block blob, an append blob does not expose its block IDs.</a:t>
            </a:r>
          </a:p>
        </p:txBody>
      </p:sp>
    </p:spTree>
    <p:extLst>
      <p:ext uri="{BB962C8B-B14F-4D97-AF65-F5344CB8AC3E}">
        <p14:creationId xmlns:p14="http://schemas.microsoft.com/office/powerpoint/2010/main" val="2914092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ge Blob</a:t>
            </a:r>
          </a:p>
        </p:txBody>
      </p:sp>
      <p:sp>
        <p:nvSpPr>
          <p:cNvPr id="3" name="Content Placeholder 2"/>
          <p:cNvSpPr>
            <a:spLocks noGrp="1"/>
          </p:cNvSpPr>
          <p:nvPr>
            <p:ph idx="1"/>
          </p:nvPr>
        </p:nvSpPr>
        <p:spPr>
          <a:xfrm>
            <a:off x="151193" y="1781176"/>
            <a:ext cx="8139639" cy="3700115"/>
          </a:xfrm>
        </p:spPr>
        <p:txBody>
          <a:bodyPr/>
          <a:lstStyle/>
          <a:p>
            <a:pPr marL="428625" indent="-428625">
              <a:buFont typeface="Arial" panose="020B0604020202020204" pitchFamily="34" charset="0"/>
              <a:buChar char="•"/>
            </a:pPr>
            <a:r>
              <a:rPr lang="en-US" dirty="0"/>
              <a:t>Optimized for IaaS disks</a:t>
            </a:r>
          </a:p>
          <a:p>
            <a:pPr marL="428625" indent="-428625">
              <a:buFont typeface="Arial" panose="020B0604020202020204" pitchFamily="34" charset="0"/>
              <a:buChar char="•"/>
            </a:pPr>
            <a:r>
              <a:rPr lang="en-US" dirty="0"/>
              <a:t>Supports random read/writes</a:t>
            </a:r>
          </a:p>
          <a:p>
            <a:pPr marL="428625" indent="-428625">
              <a:buFont typeface="Arial" panose="020B0604020202020204" pitchFamily="34" charset="0"/>
              <a:buChar char="•"/>
            </a:pPr>
            <a:r>
              <a:rPr lang="en-US" dirty="0"/>
              <a:t>Collection of 512 byte pages</a:t>
            </a:r>
          </a:p>
          <a:p>
            <a:pPr marL="428625" indent="-428625">
              <a:buFont typeface="Arial" panose="020B0604020202020204" pitchFamily="34" charset="0"/>
              <a:buChar char="•"/>
            </a:pPr>
            <a:r>
              <a:rPr lang="en-US" dirty="0"/>
              <a:t>Max size = 8TB/4TB(VHD)</a:t>
            </a:r>
          </a:p>
          <a:p>
            <a:pPr marL="428625" indent="-428625">
              <a:buFont typeface="Arial" panose="020B0604020202020204" pitchFamily="34" charset="0"/>
              <a:buChar char="•"/>
            </a:pPr>
            <a:r>
              <a:rPr lang="en-US" dirty="0"/>
              <a:t>Storage Options</a:t>
            </a:r>
          </a:p>
          <a:p>
            <a:pPr marL="685800" lvl="1" indent="-342900">
              <a:buFont typeface="Arial" panose="020B0604020202020204" pitchFamily="34" charset="0"/>
              <a:buChar char="•"/>
            </a:pPr>
            <a:r>
              <a:rPr lang="en-US" dirty="0"/>
              <a:t>Premium Storage(SSD based)</a:t>
            </a:r>
          </a:p>
          <a:p>
            <a:pPr marL="685800" lvl="1" indent="-342900">
              <a:buFont typeface="Arial" panose="020B0604020202020204" pitchFamily="34" charset="0"/>
              <a:buChar char="•"/>
            </a:pPr>
            <a:r>
              <a:rPr lang="en-US" dirty="0"/>
              <a:t>Standard Storage(HDD based)</a:t>
            </a:r>
          </a:p>
        </p:txBody>
      </p:sp>
    </p:spTree>
    <p:extLst>
      <p:ext uri="{BB962C8B-B14F-4D97-AF65-F5344CB8AC3E}">
        <p14:creationId xmlns:p14="http://schemas.microsoft.com/office/powerpoint/2010/main" val="127840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32" y="857250"/>
            <a:ext cx="8411051" cy="658763"/>
          </a:xfrm>
        </p:spPr>
        <p:txBody>
          <a:bodyPr/>
          <a:lstStyle/>
          <a:p>
            <a:r>
              <a:rPr lang="en-US" dirty="0"/>
              <a:t>Replication for Table &amp; Blob Storage</a:t>
            </a:r>
          </a:p>
        </p:txBody>
      </p:sp>
      <p:graphicFrame>
        <p:nvGraphicFramePr>
          <p:cNvPr id="6" name="Table 5">
            <a:extLst>
              <a:ext uri="{FF2B5EF4-FFF2-40B4-BE49-F238E27FC236}">
                <a16:creationId xmlns:a16="http://schemas.microsoft.com/office/drawing/2014/main" id="{A62D5A0E-3833-4E62-9A00-7FDC02AF830C}"/>
              </a:ext>
            </a:extLst>
          </p:cNvPr>
          <p:cNvGraphicFramePr>
            <a:graphicFrameLocks noGrp="1"/>
          </p:cNvGraphicFramePr>
          <p:nvPr>
            <p:extLst/>
          </p:nvPr>
        </p:nvGraphicFramePr>
        <p:xfrm>
          <a:off x="96085" y="2204357"/>
          <a:ext cx="8633732" cy="3692490"/>
        </p:xfrm>
        <a:graphic>
          <a:graphicData uri="http://schemas.openxmlformats.org/drawingml/2006/table">
            <a:tbl>
              <a:tblPr/>
              <a:tblGrid>
                <a:gridCol w="2877911">
                  <a:extLst>
                    <a:ext uri="{9D8B030D-6E8A-4147-A177-3AD203B41FA5}">
                      <a16:colId xmlns:a16="http://schemas.microsoft.com/office/drawing/2014/main" val="430370555"/>
                    </a:ext>
                  </a:extLst>
                </a:gridCol>
                <a:gridCol w="2877911">
                  <a:extLst>
                    <a:ext uri="{9D8B030D-6E8A-4147-A177-3AD203B41FA5}">
                      <a16:colId xmlns:a16="http://schemas.microsoft.com/office/drawing/2014/main" val="3785397083"/>
                    </a:ext>
                  </a:extLst>
                </a:gridCol>
                <a:gridCol w="2877911">
                  <a:extLst>
                    <a:ext uri="{9D8B030D-6E8A-4147-A177-3AD203B41FA5}">
                      <a16:colId xmlns:a16="http://schemas.microsoft.com/office/drawing/2014/main" val="357507075"/>
                    </a:ext>
                  </a:extLst>
                </a:gridCol>
              </a:tblGrid>
              <a:tr h="2453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b="1" dirty="0">
                          <a:solidFill>
                            <a:schemeClr val="tx1"/>
                          </a:solidFill>
                          <a:effectLst/>
                        </a:rPr>
                        <a:t>Replication Option</a:t>
                      </a:r>
                      <a:endParaRPr lang="en-US" sz="1500" b="1" i="0" dirty="0">
                        <a:solidFill>
                          <a:schemeClr val="tx1"/>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b="1" dirty="0">
                          <a:solidFill>
                            <a:schemeClr val="tx1"/>
                          </a:solidFill>
                          <a:effectLst/>
                        </a:rPr>
                        <a:t>Number of copies</a:t>
                      </a:r>
                      <a:endParaRPr lang="en-US" sz="1500" b="1" i="0" dirty="0">
                        <a:solidFill>
                          <a:schemeClr val="tx1"/>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b="1" dirty="0">
                          <a:solidFill>
                            <a:schemeClr val="tx1"/>
                          </a:solidFill>
                          <a:effectLst/>
                        </a:rPr>
                        <a:t>Strategy</a:t>
                      </a:r>
                      <a:endParaRPr lang="en-US" sz="1500" b="1" i="0" dirty="0">
                        <a:solidFill>
                          <a:schemeClr val="tx1"/>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726455631"/>
                  </a:ext>
                </a:extLst>
              </a:tr>
              <a:tr h="4739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Locally redundant storage (LR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three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hree time within a single facility in a single region.</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3303282879"/>
                  </a:ext>
                </a:extLst>
              </a:tr>
              <a:tr h="88237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Zone-redundant storage (ZR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three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hree times across two to three facilities, either within a single region or across two region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3669115538"/>
                  </a:ext>
                </a:extLst>
              </a:tr>
              <a:tr h="11597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Geo-redundant storage (GR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six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hree times within the primary region, and is also replicated three times in a secondary region hundreds of miles away from the primary region.</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193147660"/>
                  </a:ext>
                </a:extLst>
              </a:tr>
              <a:tr h="9311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Read access geo-redundant storage (RA-GRS) (Default)</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six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o a secondary geographic location, and also provides read access to your data in the secondary location.</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1793920292"/>
                  </a:ext>
                </a:extLst>
              </a:tr>
            </a:tbl>
          </a:graphicData>
        </a:graphic>
      </p:graphicFrame>
      <p:sp>
        <p:nvSpPr>
          <p:cNvPr id="7" name="Rectangle 6"/>
          <p:cNvSpPr/>
          <p:nvPr/>
        </p:nvSpPr>
        <p:spPr>
          <a:xfrm>
            <a:off x="202067" y="1452489"/>
            <a:ext cx="8192860" cy="738664"/>
          </a:xfrm>
          <a:prstGeom prst="rect">
            <a:avLst/>
          </a:prstGeom>
        </p:spPr>
        <p:txBody>
          <a:bodyPr wrap="square">
            <a:spAutoFit/>
          </a:bodyPr>
          <a:lstStyle/>
          <a:p>
            <a:pPr marL="214313" indent="-214313" defTabSz="342900" fontAlgn="auto">
              <a:spcBef>
                <a:spcPts val="0"/>
              </a:spcBef>
              <a:spcAft>
                <a:spcPts val="0"/>
              </a:spcAft>
              <a:buFont typeface="Arial" panose="020B0604020202020204" pitchFamily="34" charset="0"/>
              <a:buChar char="•"/>
              <a:defRPr/>
            </a:pPr>
            <a:r>
              <a:rPr lang="en-US" sz="2100" b="0" dirty="0">
                <a:solidFill>
                  <a:prstClr val="black"/>
                </a:solidFill>
                <a:latin typeface="Calibri" panose="020F0502020204030204"/>
                <a:cs typeface="+mn-cs"/>
              </a:rPr>
              <a:t>You can switch from LRS to GRS or RA-GRS but ZRS can’t be converted.</a:t>
            </a:r>
          </a:p>
          <a:p>
            <a:pPr marL="214313" indent="-214313" defTabSz="342900" fontAlgn="auto">
              <a:spcBef>
                <a:spcPts val="0"/>
              </a:spcBef>
              <a:spcAft>
                <a:spcPts val="0"/>
              </a:spcAft>
              <a:buFont typeface="Arial" panose="020B0604020202020204" pitchFamily="34" charset="0"/>
              <a:buChar char="•"/>
              <a:defRPr/>
            </a:pPr>
            <a:r>
              <a:rPr lang="en-US" sz="2100" b="0" dirty="0">
                <a:solidFill>
                  <a:prstClr val="black"/>
                </a:solidFill>
                <a:latin typeface="Calibri" panose="020F0502020204030204"/>
                <a:cs typeface="+mn-cs"/>
              </a:rPr>
              <a:t>ZRS is only available for General Purpose Account type</a:t>
            </a:r>
          </a:p>
        </p:txBody>
      </p:sp>
    </p:spTree>
    <p:extLst>
      <p:ext uri="{BB962C8B-B14F-4D97-AF65-F5344CB8AC3E}">
        <p14:creationId xmlns:p14="http://schemas.microsoft.com/office/powerpoint/2010/main" val="20418577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Access</a:t>
            </a:r>
          </a:p>
        </p:txBody>
      </p:sp>
      <p:sp>
        <p:nvSpPr>
          <p:cNvPr id="3" name="Content Placeholder 2"/>
          <p:cNvSpPr>
            <a:spLocks noGrp="1"/>
          </p:cNvSpPr>
          <p:nvPr>
            <p:ph idx="1"/>
          </p:nvPr>
        </p:nvSpPr>
        <p:spPr>
          <a:xfrm>
            <a:off x="151194" y="1781176"/>
            <a:ext cx="7973632" cy="4005262"/>
          </a:xfrm>
        </p:spPr>
        <p:txBody>
          <a:bodyPr>
            <a:normAutofit/>
          </a:bodyPr>
          <a:lstStyle/>
          <a:p>
            <a:pPr marL="428625" indent="-428625">
              <a:buFont typeface="Arial" panose="020B0604020202020204" pitchFamily="34" charset="0"/>
              <a:buChar char="•"/>
            </a:pPr>
            <a:r>
              <a:rPr lang="en-US" dirty="0"/>
              <a:t>Anonymous Access: Public access for containers or individual blobs</a:t>
            </a:r>
          </a:p>
          <a:p>
            <a:pPr marL="428625" indent="-428625">
              <a:buFont typeface="Arial" panose="020B0604020202020204" pitchFamily="34" charset="0"/>
              <a:buChar char="•"/>
            </a:pPr>
            <a:r>
              <a:rPr lang="en-US" dirty="0"/>
              <a:t>Storage Access Key</a:t>
            </a:r>
          </a:p>
          <a:p>
            <a:pPr marL="428625" indent="-428625">
              <a:buFont typeface="Arial" panose="020B0604020202020204" pitchFamily="34" charset="0"/>
              <a:buChar char="•"/>
            </a:pPr>
            <a:r>
              <a:rPr lang="en-US" dirty="0"/>
              <a:t>Shared Access Signatures (SAS)</a:t>
            </a:r>
          </a:p>
          <a:p>
            <a:pPr marL="685800" lvl="1" indent="-342900">
              <a:buFont typeface="Arial" panose="020B0604020202020204" pitchFamily="34" charset="0"/>
              <a:buChar char="•"/>
            </a:pPr>
            <a:r>
              <a:rPr lang="en-US" dirty="0"/>
              <a:t>Delegated access without sharing account key</a:t>
            </a:r>
          </a:p>
          <a:p>
            <a:pPr marL="685800" lvl="1" indent="-342900">
              <a:buFont typeface="Arial" panose="020B0604020202020204" pitchFamily="34" charset="0"/>
              <a:buChar char="•"/>
            </a:pPr>
            <a:r>
              <a:rPr lang="en-US" dirty="0"/>
              <a:t>Containers &amp; blobs</a:t>
            </a:r>
          </a:p>
          <a:p>
            <a:pPr marL="685800" lvl="1" indent="-342900">
              <a:buFont typeface="Arial" panose="020B0604020202020204" pitchFamily="34" charset="0"/>
              <a:buChar char="•"/>
            </a:pPr>
            <a:r>
              <a:rPr lang="en-US" dirty="0"/>
              <a:t>File shares &amp; files</a:t>
            </a:r>
          </a:p>
          <a:p>
            <a:pPr marL="685800" lvl="1" indent="-342900">
              <a:buFont typeface="Arial" panose="020B0604020202020204" pitchFamily="34" charset="0"/>
              <a:buChar char="•"/>
            </a:pPr>
            <a:r>
              <a:rPr lang="en-US" dirty="0"/>
              <a:t>Queues</a:t>
            </a:r>
          </a:p>
          <a:p>
            <a:pPr marL="685800" lvl="1" indent="-342900">
              <a:buFont typeface="Arial" panose="020B0604020202020204" pitchFamily="34" charset="0"/>
              <a:buChar char="•"/>
            </a:pPr>
            <a:r>
              <a:rPr lang="en-US" dirty="0"/>
              <a:t>Tables &amp; ranges of table entities</a:t>
            </a:r>
          </a:p>
          <a:p>
            <a:pPr lvl="1"/>
            <a:endParaRPr lang="en-US" dirty="0"/>
          </a:p>
        </p:txBody>
      </p:sp>
    </p:spTree>
    <p:extLst>
      <p:ext uri="{BB962C8B-B14F-4D97-AF65-F5344CB8AC3E}">
        <p14:creationId xmlns:p14="http://schemas.microsoft.com/office/powerpoint/2010/main" val="2402758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Access</a:t>
            </a:r>
          </a:p>
        </p:txBody>
      </p:sp>
      <p:pic>
        <p:nvPicPr>
          <p:cNvPr id="5" name="Picture 4"/>
          <p:cNvPicPr>
            <a:picLocks noChangeAspect="1"/>
          </p:cNvPicPr>
          <p:nvPr/>
        </p:nvPicPr>
        <p:blipFill>
          <a:blip r:embed="rId3"/>
          <a:stretch>
            <a:fillRect/>
          </a:stretch>
        </p:blipFill>
        <p:spPr>
          <a:xfrm>
            <a:off x="1607794" y="1781176"/>
            <a:ext cx="5920451" cy="4090307"/>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836388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C87D50-9889-4C0D-9767-DC84B5CEED06}"/>
              </a:ext>
            </a:extLst>
          </p:cNvPr>
          <p:cNvSpPr/>
          <p:nvPr/>
        </p:nvSpPr>
        <p:spPr>
          <a:xfrm>
            <a:off x="347240" y="1930293"/>
            <a:ext cx="8368496" cy="3554819"/>
          </a:xfrm>
          <a:prstGeom prst="rect">
            <a:avLst/>
          </a:prstGeom>
        </p:spPr>
        <p:txBody>
          <a:bodyPr wrap="square">
            <a:spAutoFit/>
          </a:bodyPr>
          <a:lstStyle/>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Azure Storage solutions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Azure Blob Storage, blob tiers, Azure Files, disks, and StorSimple</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Azure Data Services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Data Catalog, Azure Data Factory, SQL Data Warehouse, Azure Data Lake Analytics, Azure Analysis Services, and Azure HDInsight</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relational database storage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Azure SQL Database and SQL Server Stretch Database; design for scalability and features; determine when to use Azure Database for MySQL and Azure Database for PostgreSQL; design for HA/DR, geo-replication; design a backup and recovery strategy</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NoSQL storage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Azure </a:t>
            </a:r>
            <a:r>
              <a:rPr lang="en-US" sz="1500" b="0" dirty="0" err="1">
                <a:solidFill>
                  <a:prstClr val="black"/>
                </a:solidFill>
                <a:latin typeface="Calibri" panose="020F0502020204030204"/>
                <a:cs typeface="+mn-cs"/>
              </a:rPr>
              <a:t>Redis</a:t>
            </a:r>
            <a:r>
              <a:rPr lang="en-US" sz="1500" b="0" dirty="0">
                <a:solidFill>
                  <a:prstClr val="black"/>
                </a:solidFill>
                <a:latin typeface="Calibri" panose="020F0502020204030204"/>
                <a:cs typeface="+mn-cs"/>
              </a:rPr>
              <a:t> Cache, Azure Table Storage, Azure Data Lake, Azure Search, Time Series Insights</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a:t>
            </a:r>
            <a:r>
              <a:rPr lang="en-US" sz="1500" b="0" dirty="0" err="1">
                <a:solidFill>
                  <a:prstClr val="black"/>
                </a:solidFill>
                <a:latin typeface="Calibri" panose="020F0502020204030204"/>
                <a:cs typeface="+mn-cs"/>
              </a:rPr>
              <a:t>CosmosDB</a:t>
            </a:r>
            <a:r>
              <a:rPr lang="en-US" sz="1500" b="0" dirty="0">
                <a:solidFill>
                  <a:prstClr val="black"/>
                </a:solidFill>
                <a:latin typeface="Calibri" panose="020F0502020204030204"/>
                <a:cs typeface="+mn-cs"/>
              </a:rPr>
              <a:t> storage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MongoDB API, </a:t>
            </a:r>
            <a:r>
              <a:rPr lang="en-US" sz="1500" b="0" dirty="0" err="1">
                <a:solidFill>
                  <a:prstClr val="black"/>
                </a:solidFill>
                <a:latin typeface="Calibri" panose="020F0502020204030204"/>
                <a:cs typeface="+mn-cs"/>
              </a:rPr>
              <a:t>DocumentDB</a:t>
            </a:r>
            <a:r>
              <a:rPr lang="en-US" sz="1500" b="0" dirty="0">
                <a:solidFill>
                  <a:prstClr val="black"/>
                </a:solidFill>
                <a:latin typeface="Calibri" panose="020F0502020204030204"/>
                <a:cs typeface="+mn-cs"/>
              </a:rPr>
              <a:t> API, Graph API, Azure Tables API; design for cost, performance, data consistency, availability, and business continuity</a:t>
            </a:r>
          </a:p>
        </p:txBody>
      </p:sp>
      <p:sp>
        <p:nvSpPr>
          <p:cNvPr id="5" name="Rectangle 4">
            <a:extLst>
              <a:ext uri="{FF2B5EF4-FFF2-40B4-BE49-F238E27FC236}">
                <a16:creationId xmlns:a16="http://schemas.microsoft.com/office/drawing/2014/main" id="{0AA99097-5607-4D83-8FC4-070FEB4D0756}"/>
              </a:ext>
            </a:extLst>
          </p:cNvPr>
          <p:cNvSpPr/>
          <p:nvPr/>
        </p:nvSpPr>
        <p:spPr>
          <a:xfrm>
            <a:off x="1" y="961765"/>
            <a:ext cx="9143999" cy="553998"/>
          </a:xfrm>
          <a:prstGeom prst="rect">
            <a:avLst/>
          </a:prstGeom>
        </p:spPr>
        <p:txBody>
          <a:bodyPr wrap="square">
            <a:spAutoFit/>
          </a:bodyPr>
          <a:lstStyle/>
          <a:p>
            <a:pPr algn="ctr" defTabSz="685800" fontAlgn="auto">
              <a:spcBef>
                <a:spcPts val="0"/>
              </a:spcBef>
              <a:spcAft>
                <a:spcPts val="0"/>
              </a:spcAft>
            </a:pPr>
            <a:r>
              <a:rPr lang="en-US" sz="3000" dirty="0">
                <a:solidFill>
                  <a:prstClr val="black"/>
                </a:solidFill>
                <a:latin typeface="Calibri" panose="020F0502020204030204"/>
                <a:cs typeface="+mn-cs"/>
              </a:rPr>
              <a:t>Exam 70-535 : Architecting Microsoft Azure Solutions  </a:t>
            </a:r>
          </a:p>
        </p:txBody>
      </p:sp>
      <p:sp>
        <p:nvSpPr>
          <p:cNvPr id="2" name="Title 1">
            <a:extLst>
              <a:ext uri="{FF2B5EF4-FFF2-40B4-BE49-F238E27FC236}">
                <a16:creationId xmlns:a16="http://schemas.microsoft.com/office/drawing/2014/main" id="{7E54552A-1B66-4469-877C-40B2D81DBB61}"/>
              </a:ext>
            </a:extLst>
          </p:cNvPr>
          <p:cNvSpPr>
            <a:spLocks noGrp="1"/>
          </p:cNvSpPr>
          <p:nvPr>
            <p:ph type="title"/>
          </p:nvPr>
        </p:nvSpPr>
        <p:spPr/>
        <p:txBody>
          <a:bodyPr/>
          <a:lstStyle/>
          <a:p>
            <a:r>
              <a:rPr lang="en-US" u="sng" dirty="0">
                <a:latin typeface="Calibri" panose="020F0502020204030204"/>
              </a:rPr>
              <a:t>Design Data Implementation (15 – 20%)</a:t>
            </a:r>
            <a:endParaRPr lang="en-US" dirty="0"/>
          </a:p>
        </p:txBody>
      </p:sp>
      <p:sp>
        <p:nvSpPr>
          <p:cNvPr id="6" name="Text Placeholder 5">
            <a:extLst>
              <a:ext uri="{FF2B5EF4-FFF2-40B4-BE49-F238E27FC236}">
                <a16:creationId xmlns:a16="http://schemas.microsoft.com/office/drawing/2014/main" id="{8A51EE61-B626-44DC-832B-4CD1E4386F42}"/>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0802137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d Access Signatures (SAS)</a:t>
            </a:r>
          </a:p>
        </p:txBody>
      </p:sp>
      <p:sp>
        <p:nvSpPr>
          <p:cNvPr id="3" name="Content Placeholder 2"/>
          <p:cNvSpPr>
            <a:spLocks noGrp="1"/>
          </p:cNvSpPr>
          <p:nvPr>
            <p:ph idx="1"/>
          </p:nvPr>
        </p:nvSpPr>
        <p:spPr>
          <a:xfrm>
            <a:off x="151194" y="1781176"/>
            <a:ext cx="3853389" cy="3956276"/>
          </a:xfrm>
        </p:spPr>
        <p:txBody>
          <a:bodyPr/>
          <a:lstStyle/>
          <a:p>
            <a:r>
              <a:rPr lang="en-US" dirty="0"/>
              <a:t>Time interval</a:t>
            </a:r>
          </a:p>
          <a:p>
            <a:pPr lvl="1"/>
            <a:r>
              <a:rPr lang="en-US" dirty="0"/>
              <a:t>Start &amp; end time for permissions</a:t>
            </a:r>
          </a:p>
          <a:p>
            <a:r>
              <a:rPr lang="en-US" dirty="0"/>
              <a:t>Permissions</a:t>
            </a:r>
          </a:p>
          <a:p>
            <a:pPr lvl="1"/>
            <a:r>
              <a:rPr lang="en-US" dirty="0"/>
              <a:t>Read, Write, and/or Delete</a:t>
            </a:r>
          </a:p>
          <a:p>
            <a:r>
              <a:rPr lang="en-US" dirty="0"/>
              <a:t>(Optional) IP address or address range</a:t>
            </a:r>
          </a:p>
          <a:p>
            <a:r>
              <a:rPr lang="en-US" dirty="0"/>
              <a:t>Allowed protocols</a:t>
            </a:r>
          </a:p>
          <a:p>
            <a:pPr lvl="1"/>
            <a:r>
              <a:rPr lang="en-US" dirty="0"/>
              <a:t>Example: only https</a:t>
            </a:r>
          </a:p>
          <a:p>
            <a:pPr lvl="1"/>
            <a:endParaRPr lang="en-US" dirty="0"/>
          </a:p>
        </p:txBody>
      </p:sp>
      <p:pic>
        <p:nvPicPr>
          <p:cNvPr id="4" name="Picture 3"/>
          <p:cNvPicPr>
            <a:picLocks noChangeAspect="1"/>
          </p:cNvPicPr>
          <p:nvPr/>
        </p:nvPicPr>
        <p:blipFill rotWithShape="1">
          <a:blip r:embed="rId3"/>
          <a:srcRect r="22646"/>
          <a:stretch/>
        </p:blipFill>
        <p:spPr>
          <a:xfrm>
            <a:off x="4176422" y="1720284"/>
            <a:ext cx="4636584" cy="4078061"/>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803334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Disk</a:t>
            </a:r>
          </a:p>
        </p:txBody>
      </p:sp>
      <p:sp>
        <p:nvSpPr>
          <p:cNvPr id="5" name="Content Placeholder 4"/>
          <p:cNvSpPr>
            <a:spLocks noGrp="1"/>
          </p:cNvSpPr>
          <p:nvPr>
            <p:ph sz="half" idx="1"/>
          </p:nvPr>
        </p:nvSpPr>
        <p:spPr>
          <a:xfrm>
            <a:off x="167640" y="1700997"/>
            <a:ext cx="8606926" cy="4073195"/>
          </a:xfrm>
        </p:spPr>
        <p:txBody>
          <a:bodyPr>
            <a:normAutofit fontScale="92500" lnSpcReduction="20000"/>
          </a:bodyPr>
          <a:lstStyle/>
          <a:p>
            <a:pPr marL="0" indent="0">
              <a:buNone/>
            </a:pPr>
            <a:r>
              <a:rPr lang="en-US" dirty="0"/>
              <a:t>Two ways to create VM disks</a:t>
            </a:r>
          </a:p>
          <a:p>
            <a:r>
              <a:rPr lang="en-US" dirty="0"/>
              <a:t>Unmanaged Disk</a:t>
            </a:r>
          </a:p>
          <a:p>
            <a:pPr lvl="1"/>
            <a:r>
              <a:rPr lang="en-US" dirty="0"/>
              <a:t> In an unmanaged disk, you manage the storage accounts</a:t>
            </a:r>
          </a:p>
          <a:p>
            <a:pPr lvl="1"/>
            <a:r>
              <a:rPr lang="en-US" dirty="0"/>
              <a:t>VHDs are stored in Page blob</a:t>
            </a:r>
          </a:p>
          <a:p>
            <a:pPr lvl="1"/>
            <a:r>
              <a:rPr lang="en-US" dirty="0"/>
              <a:t>99.99% SLA. </a:t>
            </a:r>
          </a:p>
          <a:p>
            <a:pPr lvl="1"/>
            <a:r>
              <a:rPr lang="en-US" dirty="0"/>
              <a:t>Can be converted to Managed.</a:t>
            </a:r>
          </a:p>
          <a:p>
            <a:r>
              <a:rPr lang="en-US" dirty="0"/>
              <a:t>Managed Disk</a:t>
            </a:r>
          </a:p>
          <a:p>
            <a:pPr lvl="1"/>
            <a:r>
              <a:rPr lang="en-US" dirty="0"/>
              <a:t>Azure manages the storage accounts that you use for your VM disks</a:t>
            </a:r>
          </a:p>
          <a:p>
            <a:pPr lvl="1"/>
            <a:r>
              <a:rPr lang="en-US" dirty="0"/>
              <a:t>Available in Standard &amp; premium tier.</a:t>
            </a:r>
          </a:p>
          <a:p>
            <a:pPr lvl="1"/>
            <a:r>
              <a:rPr lang="en-US" dirty="0"/>
              <a:t>Standard can be converted in to Premium and vice-versa</a:t>
            </a:r>
          </a:p>
          <a:p>
            <a:pPr lvl="1"/>
            <a:r>
              <a:rPr lang="en-US" dirty="0"/>
              <a:t>99.999% SLA</a:t>
            </a:r>
          </a:p>
          <a:p>
            <a:pPr lvl="1"/>
            <a:r>
              <a:rPr lang="en-US" dirty="0"/>
              <a:t>Recommended storage for VMs. </a:t>
            </a:r>
          </a:p>
          <a:p>
            <a:pPr lvl="1"/>
            <a:r>
              <a:rPr lang="en-US" dirty="0"/>
              <a:t>Allow you to create up to 10,000 VM </a:t>
            </a:r>
            <a:r>
              <a:rPr lang="en-US" b="1" dirty="0"/>
              <a:t>disks</a:t>
            </a:r>
            <a:r>
              <a:rPr lang="en-US" dirty="0"/>
              <a:t> in a subscription</a:t>
            </a:r>
          </a:p>
          <a:p>
            <a:pPr lvl="1"/>
            <a:r>
              <a:rPr lang="en-US" dirty="0"/>
              <a:t>Billing for managed disks depends on the provisioned size of the disk. </a:t>
            </a:r>
          </a:p>
          <a:p>
            <a:pPr lvl="1"/>
            <a:r>
              <a:rPr lang="en-US" dirty="0">
                <a:hlinkClick r:id="rId3"/>
              </a:rPr>
              <a:t>Managed disk Overview</a:t>
            </a:r>
            <a:endParaRPr lang="en-US" dirty="0"/>
          </a:p>
          <a:p>
            <a:endParaRPr lang="en-US" dirty="0"/>
          </a:p>
        </p:txBody>
      </p:sp>
    </p:spTree>
    <p:extLst>
      <p:ext uri="{BB962C8B-B14F-4D97-AF65-F5344CB8AC3E}">
        <p14:creationId xmlns:p14="http://schemas.microsoft.com/office/powerpoint/2010/main" val="19103171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01060" y="3177541"/>
            <a:ext cx="8741880" cy="1137047"/>
          </a:xfrm>
        </p:spPr>
      </p:pic>
      <p:sp>
        <p:nvSpPr>
          <p:cNvPr id="3" name="Rectangle 2"/>
          <p:cNvSpPr/>
          <p:nvPr/>
        </p:nvSpPr>
        <p:spPr>
          <a:xfrm>
            <a:off x="237721" y="5065961"/>
            <a:ext cx="2823593" cy="600164"/>
          </a:xfrm>
          <a:prstGeom prst="rect">
            <a:avLst/>
          </a:prstGeom>
        </p:spPr>
        <p:txBody>
          <a:bodyPr wrap="none">
            <a:spAutoFit/>
          </a:bodyPr>
          <a:lstStyle/>
          <a:p>
            <a:pPr defTabSz="342900" fontAlgn="auto">
              <a:spcBef>
                <a:spcPts val="0"/>
              </a:spcBef>
              <a:spcAft>
                <a:spcPts val="0"/>
              </a:spcAft>
              <a:defRPr/>
            </a:pPr>
            <a:r>
              <a:rPr lang="en-US" sz="3300" b="0" dirty="0">
                <a:solidFill>
                  <a:prstClr val="black"/>
                </a:solidFill>
                <a:latin typeface="Calibri" panose="020F0502020204030204"/>
                <a:cs typeface="+mn-cs"/>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01060" y="1810653"/>
            <a:ext cx="8741880" cy="1146860"/>
          </a:xfrm>
        </p:spPr>
        <p:txBody>
          <a:bodyPr/>
          <a:lstStyle/>
          <a:p>
            <a:r>
              <a:rPr lang="en-US" dirty="0"/>
              <a:t>The storage account name should always in lowercase and unique within *.core.windows.net namespace.</a:t>
            </a:r>
          </a:p>
        </p:txBody>
      </p:sp>
      <p:sp>
        <p:nvSpPr>
          <p:cNvPr id="3" name="Rectangle 2"/>
          <p:cNvSpPr/>
          <p:nvPr/>
        </p:nvSpPr>
        <p:spPr>
          <a:xfrm>
            <a:off x="237721" y="5065961"/>
            <a:ext cx="2823593" cy="600164"/>
          </a:xfrm>
          <a:prstGeom prst="rect">
            <a:avLst/>
          </a:prstGeom>
        </p:spPr>
        <p:txBody>
          <a:bodyPr wrap="none">
            <a:spAutoFit/>
          </a:bodyPr>
          <a:lstStyle/>
          <a:p>
            <a:pPr defTabSz="342900" fontAlgn="auto">
              <a:spcBef>
                <a:spcPts val="0"/>
              </a:spcBef>
              <a:spcAft>
                <a:spcPts val="0"/>
              </a:spcAft>
              <a:defRPr/>
            </a:pPr>
            <a:r>
              <a:rPr lang="en-US" sz="3300" b="0" dirty="0">
                <a:solidFill>
                  <a:prstClr val="black"/>
                </a:solidFill>
                <a:latin typeface="Calibri" panose="020F0502020204030204"/>
                <a:cs typeface="+mn-cs"/>
              </a:rPr>
              <a:t>3.1.4 Exam Tip!</a:t>
            </a:r>
          </a:p>
        </p:txBody>
      </p:sp>
      <p:pic>
        <p:nvPicPr>
          <p:cNvPr id="4" name="Picture 3"/>
          <p:cNvPicPr>
            <a:picLocks noChangeAspect="1"/>
          </p:cNvPicPr>
          <p:nvPr/>
        </p:nvPicPr>
        <p:blipFill>
          <a:blip r:embed="rId3"/>
          <a:stretch>
            <a:fillRect/>
          </a:stretch>
        </p:blipFill>
        <p:spPr>
          <a:xfrm>
            <a:off x="461489" y="2957513"/>
            <a:ext cx="7443581" cy="2051277"/>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01060" y="1810653"/>
            <a:ext cx="8741880" cy="1146860"/>
          </a:xfrm>
        </p:spPr>
        <p:txBody>
          <a:bodyPr/>
          <a:lstStyle/>
          <a:p>
            <a:r>
              <a:rPr lang="en-US" dirty="0"/>
              <a:t>Choose appropriate blob type for uploading VHD. If VHD files are uploaded in block blob you can’t use those. </a:t>
            </a:r>
          </a:p>
        </p:txBody>
      </p:sp>
      <p:sp>
        <p:nvSpPr>
          <p:cNvPr id="3" name="Rectangle 2"/>
          <p:cNvSpPr/>
          <p:nvPr/>
        </p:nvSpPr>
        <p:spPr>
          <a:xfrm>
            <a:off x="237721" y="5065961"/>
            <a:ext cx="2823593" cy="600164"/>
          </a:xfrm>
          <a:prstGeom prst="rect">
            <a:avLst/>
          </a:prstGeom>
        </p:spPr>
        <p:txBody>
          <a:bodyPr wrap="none">
            <a:spAutoFit/>
          </a:bodyPr>
          <a:lstStyle/>
          <a:p>
            <a:pPr defTabSz="342900" fontAlgn="auto">
              <a:spcBef>
                <a:spcPts val="0"/>
              </a:spcBef>
              <a:spcAft>
                <a:spcPts val="0"/>
              </a:spcAft>
              <a:defRPr/>
            </a:pPr>
            <a:r>
              <a:rPr lang="en-US" sz="3300" b="0" dirty="0">
                <a:solidFill>
                  <a:prstClr val="black"/>
                </a:solidFill>
                <a:latin typeface="Calibri" panose="020F0502020204030204"/>
                <a:cs typeface="+mn-cs"/>
              </a:rPr>
              <a:t>3.1.5 Exam Tip!</a:t>
            </a:r>
          </a:p>
        </p:txBody>
      </p:sp>
      <p:pic>
        <p:nvPicPr>
          <p:cNvPr id="2" name="Picture 1"/>
          <p:cNvPicPr>
            <a:picLocks noChangeAspect="1"/>
          </p:cNvPicPr>
          <p:nvPr/>
        </p:nvPicPr>
        <p:blipFill>
          <a:blip r:embed="rId3"/>
          <a:stretch>
            <a:fillRect/>
          </a:stretch>
        </p:blipFill>
        <p:spPr>
          <a:xfrm>
            <a:off x="3453493" y="2799683"/>
            <a:ext cx="5180240" cy="3103096"/>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b Encryption/Security</a:t>
            </a:r>
          </a:p>
        </p:txBody>
      </p:sp>
      <p:sp>
        <p:nvSpPr>
          <p:cNvPr id="3" name="Content Placeholder 2"/>
          <p:cNvSpPr>
            <a:spLocks noGrp="1"/>
          </p:cNvSpPr>
          <p:nvPr>
            <p:ph idx="1"/>
          </p:nvPr>
        </p:nvSpPr>
        <p:spPr>
          <a:xfrm>
            <a:off x="151194" y="1781176"/>
            <a:ext cx="4035044" cy="3700115"/>
          </a:xfrm>
        </p:spPr>
        <p:txBody>
          <a:bodyPr/>
          <a:lstStyle/>
          <a:p>
            <a:pPr marL="428625" indent="-428625">
              <a:buFont typeface="Arial" panose="020B0604020202020204" pitchFamily="34" charset="0"/>
              <a:buChar char="•"/>
            </a:pPr>
            <a:r>
              <a:rPr lang="en-US" dirty="0"/>
              <a:t>Client-side</a:t>
            </a:r>
          </a:p>
          <a:p>
            <a:pPr marL="771525" lvl="1" indent="-428625">
              <a:buFont typeface="Arial" panose="020B0604020202020204" pitchFamily="34" charset="0"/>
              <a:buChar char="•"/>
            </a:pPr>
            <a:r>
              <a:rPr lang="en-US" dirty="0"/>
              <a:t>Storage Client Library for .NET</a:t>
            </a:r>
          </a:p>
          <a:p>
            <a:pPr marL="428625" indent="-428625">
              <a:buFont typeface="Arial" panose="020B0604020202020204" pitchFamily="34" charset="0"/>
              <a:buChar char="•"/>
            </a:pPr>
            <a:r>
              <a:rPr lang="en-US" dirty="0"/>
              <a:t>Server-side</a:t>
            </a:r>
          </a:p>
          <a:p>
            <a:pPr marL="771525" lvl="1" indent="-428625">
              <a:buFont typeface="Arial" panose="020B0604020202020204" pitchFamily="34" charset="0"/>
              <a:buChar char="•"/>
            </a:pPr>
            <a:r>
              <a:rPr lang="en-US" dirty="0"/>
              <a:t>“Data at Rest”</a:t>
            </a:r>
          </a:p>
          <a:p>
            <a:pPr marL="771525" lvl="1" indent="-428625">
              <a:buFont typeface="Arial" panose="020B0604020202020204" pitchFamily="34" charset="0"/>
              <a:buChar char="•"/>
            </a:pPr>
            <a:r>
              <a:rPr lang="en-US" dirty="0"/>
              <a:t>“Data in Transit”. Can be enforced. </a:t>
            </a:r>
          </a:p>
          <a:p>
            <a:pPr marL="428625" indent="-428625">
              <a:buFont typeface="Arial" panose="020B0604020202020204" pitchFamily="34" charset="0"/>
              <a:buChar char="•"/>
            </a:pPr>
            <a:r>
              <a:rPr lang="en-US" dirty="0">
                <a:solidFill>
                  <a:srgbClr val="00B050"/>
                </a:solidFill>
              </a:rPr>
              <a:t>Service Endpoints</a:t>
            </a:r>
          </a:p>
          <a:p>
            <a:pPr marL="428625" indent="-428625">
              <a:buFont typeface="Arial" panose="020B0604020202020204" pitchFamily="34" charset="0"/>
              <a:buChar char="•"/>
            </a:pPr>
            <a:r>
              <a:rPr lang="en-US" dirty="0">
                <a:solidFill>
                  <a:srgbClr val="00B050"/>
                </a:solidFill>
              </a:rPr>
              <a:t>Storage Firewall</a:t>
            </a:r>
          </a:p>
        </p:txBody>
      </p:sp>
      <p:pic>
        <p:nvPicPr>
          <p:cNvPr id="1028" name="Picture 4" descr="C:\Users\kumarni\AppData\Local\Temp\SNAGHTML70798f3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682" y="1122411"/>
            <a:ext cx="8617744" cy="46735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kumarni\AppData\Local\Temp\SNAGHTML707bc9a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682" y="1122411"/>
            <a:ext cx="8617744" cy="4673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8348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30"/>
                                        </p:tgtEl>
                                        <p:attrNameLst>
                                          <p:attrName>style.visibility</p:attrName>
                                        </p:attrNameLst>
                                      </p:cBhvr>
                                      <p:to>
                                        <p:strVal val="visible"/>
                                      </p:to>
                                    </p:set>
                                    <p:anim calcmode="lin" valueType="num">
                                      <p:cBhvr additive="base">
                                        <p:cTn id="13" dur="500" fill="hold"/>
                                        <p:tgtEl>
                                          <p:spTgt spid="1030"/>
                                        </p:tgtEl>
                                        <p:attrNameLst>
                                          <p:attrName>ppt_x</p:attrName>
                                        </p:attrNameLst>
                                      </p:cBhvr>
                                      <p:tavLst>
                                        <p:tav tm="0">
                                          <p:val>
                                            <p:strVal val="#ppt_x"/>
                                          </p:val>
                                        </p:tav>
                                        <p:tav tm="100000">
                                          <p:val>
                                            <p:strVal val="#ppt_x"/>
                                          </p:val>
                                        </p:tav>
                                      </p:tavLst>
                                    </p:anim>
                                    <p:anim calcmode="lin" valueType="num">
                                      <p:cBhvr additive="base">
                                        <p:cTn id="14" dur="500" fill="hold"/>
                                        <p:tgtEl>
                                          <p:spTgt spid="10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ble &amp; Blob: </a:t>
            </a:r>
            <a:br>
              <a:rPr lang="en-US" dirty="0"/>
            </a:br>
            <a:r>
              <a:rPr lang="en-US" dirty="0"/>
              <a:t>Performance, Storage Limits, etc.</a:t>
            </a:r>
          </a:p>
        </p:txBody>
      </p:sp>
      <p:sp>
        <p:nvSpPr>
          <p:cNvPr id="3" name="Content Placeholder 2"/>
          <p:cNvSpPr>
            <a:spLocks noGrp="1"/>
          </p:cNvSpPr>
          <p:nvPr>
            <p:ph type="body" idx="1"/>
          </p:nvPr>
        </p:nvSpPr>
        <p:spPr/>
        <p:txBody>
          <a:bodyPr>
            <a:normAutofit/>
          </a:bodyPr>
          <a:lstStyle/>
          <a:p>
            <a:r>
              <a:rPr lang="en-US" dirty="0">
                <a:hlinkClick r:id="rId3"/>
              </a:rPr>
              <a:t>https://docs.microsoft.com/en-us/azure/storage/storage-scalability-targets</a:t>
            </a:r>
            <a:r>
              <a:rPr lang="en-US" dirty="0"/>
              <a:t> </a:t>
            </a:r>
          </a:p>
        </p:txBody>
      </p:sp>
    </p:spTree>
    <p:extLst>
      <p:ext uri="{BB962C8B-B14F-4D97-AF65-F5344CB8AC3E}">
        <p14:creationId xmlns:p14="http://schemas.microsoft.com/office/powerpoint/2010/main" val="27710311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4" name="Content Placeholder 3"/>
          <p:cNvGraphicFramePr>
            <a:graphicFrameLocks noGrp="1"/>
          </p:cNvGraphicFramePr>
          <p:nvPr>
            <p:ph idx="1"/>
            <p:extLst/>
          </p:nvPr>
        </p:nvGraphicFramePr>
        <p:xfrm>
          <a:off x="487813" y="973708"/>
          <a:ext cx="8079581" cy="5012201"/>
        </p:xfrm>
        <a:graphic>
          <a:graphicData uri="http://schemas.openxmlformats.org/drawingml/2006/table">
            <a:tbl>
              <a:tblPr>
                <a:tableStyleId>{5C22544A-7EE6-4342-B048-85BDC9FD1C3A}</a:tableStyleId>
              </a:tblPr>
              <a:tblGrid>
                <a:gridCol w="4039790">
                  <a:extLst>
                    <a:ext uri="{9D8B030D-6E8A-4147-A177-3AD203B41FA5}">
                      <a16:colId xmlns:a16="http://schemas.microsoft.com/office/drawing/2014/main" val="670167828"/>
                    </a:ext>
                  </a:extLst>
                </a:gridCol>
                <a:gridCol w="4039790">
                  <a:extLst>
                    <a:ext uri="{9D8B030D-6E8A-4147-A177-3AD203B41FA5}">
                      <a16:colId xmlns:a16="http://schemas.microsoft.com/office/drawing/2014/main" val="49645504"/>
                    </a:ext>
                  </a:extLst>
                </a:gridCol>
              </a:tblGrid>
              <a:tr h="378818">
                <a:tc>
                  <a:txBody>
                    <a:bodyPr/>
                    <a:lstStyle/>
                    <a:p>
                      <a:pPr algn="ctr" fontAlgn="ctr"/>
                      <a:r>
                        <a:rPr lang="en-US" sz="1500" b="1" u="none" strike="noStrike" dirty="0">
                          <a:effectLst/>
                        </a:rPr>
                        <a:t>Resource</a:t>
                      </a:r>
                      <a:endParaRPr lang="en-US" sz="1500" b="1"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b="1" u="none" strike="noStrike" dirty="0">
                          <a:effectLst/>
                        </a:rPr>
                        <a:t>Default Limit</a:t>
                      </a:r>
                      <a:endParaRPr lang="en-US" sz="1500" b="1"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091426822"/>
                  </a:ext>
                </a:extLst>
              </a:tr>
              <a:tr h="378818">
                <a:tc>
                  <a:txBody>
                    <a:bodyPr/>
                    <a:lstStyle/>
                    <a:p>
                      <a:pPr algn="l" fontAlgn="ctr"/>
                      <a:r>
                        <a:rPr lang="en-US" sz="1500" u="none" strike="noStrike">
                          <a:effectLst/>
                        </a:rPr>
                        <a:t>Number of storage accounts per subscription</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200</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768654415"/>
                  </a:ext>
                </a:extLst>
              </a:tr>
              <a:tr h="378818">
                <a:tc>
                  <a:txBody>
                    <a:bodyPr/>
                    <a:lstStyle/>
                    <a:p>
                      <a:pPr algn="l" fontAlgn="ctr"/>
                      <a:r>
                        <a:rPr lang="en-US" sz="1500" u="none" strike="noStrike">
                          <a:effectLst/>
                        </a:rPr>
                        <a:t>TB per storage account</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500 TB</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1391802594"/>
                  </a:ext>
                </a:extLst>
              </a:tr>
              <a:tr h="757635">
                <a:tc>
                  <a:txBody>
                    <a:bodyPr/>
                    <a:lstStyle/>
                    <a:p>
                      <a:pPr algn="l" fontAlgn="ctr"/>
                      <a:r>
                        <a:rPr lang="en-US" sz="1500" u="none" strike="noStrike">
                          <a:effectLst/>
                        </a:rPr>
                        <a:t>Max number of blob containers, blobs, file shares, tables, queues, entities, or messages per storage account</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Only limit is the 500 TB storage account capacity</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7721235"/>
                  </a:ext>
                </a:extLst>
              </a:tr>
              <a:tr h="378818">
                <a:tc>
                  <a:txBody>
                    <a:bodyPr/>
                    <a:lstStyle/>
                    <a:p>
                      <a:pPr algn="l" fontAlgn="ctr"/>
                      <a:r>
                        <a:rPr lang="en-US" sz="1500" u="none" strike="noStrike">
                          <a:effectLst/>
                        </a:rPr>
                        <a:t>Max size of a single blob container, table, or queue</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500 TB</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96565753"/>
                  </a:ext>
                </a:extLst>
              </a:tr>
              <a:tr h="466391">
                <a:tc>
                  <a:txBody>
                    <a:bodyPr/>
                    <a:lstStyle/>
                    <a:p>
                      <a:pPr algn="l" fontAlgn="ctr"/>
                      <a:r>
                        <a:rPr lang="en-US" sz="1500" u="none" strike="noStrike" dirty="0">
                          <a:effectLst/>
                        </a:rPr>
                        <a:t>Max number of blocks in a block blob or append blob</a:t>
                      </a:r>
                      <a:endParaRPr lang="en-US" sz="15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50,000</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981838412"/>
                  </a:ext>
                </a:extLst>
              </a:tr>
              <a:tr h="378818">
                <a:tc>
                  <a:txBody>
                    <a:bodyPr/>
                    <a:lstStyle/>
                    <a:p>
                      <a:pPr algn="l" fontAlgn="ctr"/>
                      <a:r>
                        <a:rPr lang="en-US" sz="1500" u="none" strike="noStrike" dirty="0">
                          <a:effectLst/>
                        </a:rPr>
                        <a:t>Max size of a block in a block blob</a:t>
                      </a:r>
                      <a:endParaRPr lang="en-US" sz="15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100 M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055423024"/>
                  </a:ext>
                </a:extLst>
              </a:tr>
              <a:tr h="378818">
                <a:tc>
                  <a:txBody>
                    <a:bodyPr/>
                    <a:lstStyle/>
                    <a:p>
                      <a:pPr algn="l" fontAlgn="ctr"/>
                      <a:r>
                        <a:rPr lang="en-US" sz="1500" u="none" strike="noStrike">
                          <a:effectLst/>
                        </a:rPr>
                        <a:t>Max size of a block blob</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50,000 X 100 MB (approx. 4.75 T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4217042910"/>
                  </a:ext>
                </a:extLst>
              </a:tr>
              <a:tr h="378818">
                <a:tc>
                  <a:txBody>
                    <a:bodyPr/>
                    <a:lstStyle/>
                    <a:p>
                      <a:pPr algn="l" fontAlgn="ctr"/>
                      <a:r>
                        <a:rPr lang="en-US" sz="1500" u="none" strike="noStrike" dirty="0">
                          <a:effectLst/>
                        </a:rPr>
                        <a:t>Max size of a block in an append blob</a:t>
                      </a:r>
                      <a:endParaRPr lang="en-US" sz="15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4 M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3497602163"/>
                  </a:ext>
                </a:extLst>
              </a:tr>
              <a:tr h="378818">
                <a:tc>
                  <a:txBody>
                    <a:bodyPr/>
                    <a:lstStyle/>
                    <a:p>
                      <a:pPr algn="l" fontAlgn="ctr"/>
                      <a:r>
                        <a:rPr lang="en-US" sz="1500" u="none" strike="noStrike">
                          <a:effectLst/>
                        </a:rPr>
                        <a:t>Max size of an append blob</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50,000 X 4 MB (approx. 195 G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289536598"/>
                  </a:ext>
                </a:extLst>
              </a:tr>
              <a:tr h="378818">
                <a:tc>
                  <a:txBody>
                    <a:bodyPr/>
                    <a:lstStyle/>
                    <a:p>
                      <a:pPr algn="l" fontAlgn="ctr"/>
                      <a:r>
                        <a:rPr lang="en-US" sz="1500" u="none" strike="noStrike">
                          <a:effectLst/>
                        </a:rPr>
                        <a:t>Max size of a page blob</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rPr>
                        <a:t>4 TB</a:t>
                      </a:r>
                      <a:endParaRPr lang="en-US" sz="15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386172468"/>
                  </a:ext>
                </a:extLst>
              </a:tr>
              <a:tr h="378818">
                <a:tc>
                  <a:txBody>
                    <a:bodyPr/>
                    <a:lstStyle/>
                    <a:p>
                      <a:pPr algn="l" fontAlgn="ctr"/>
                      <a:r>
                        <a:rPr lang="en-US" sz="1500" u="none" strike="noStrike">
                          <a:effectLst/>
                        </a:rPr>
                        <a:t>Max size of a table entity</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rPr>
                        <a:t>1 MB</a:t>
                      </a:r>
                      <a:endParaRPr lang="en-US" sz="15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850987889"/>
                  </a:ext>
                </a:extLst>
              </a:tr>
            </a:tbl>
          </a:graphicData>
        </a:graphic>
      </p:graphicFrame>
    </p:spTree>
    <p:extLst>
      <p:ext uri="{BB962C8B-B14F-4D97-AF65-F5344CB8AC3E}">
        <p14:creationId xmlns:p14="http://schemas.microsoft.com/office/powerpoint/2010/main" val="27749747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4" name="Content Placeholder 3"/>
          <p:cNvGraphicFramePr>
            <a:graphicFrameLocks noGrp="1"/>
          </p:cNvGraphicFramePr>
          <p:nvPr>
            <p:ph idx="1"/>
            <p:extLst/>
          </p:nvPr>
        </p:nvGraphicFramePr>
        <p:xfrm>
          <a:off x="487813" y="930574"/>
          <a:ext cx="8035506" cy="5036924"/>
        </p:xfrm>
        <a:graphic>
          <a:graphicData uri="http://schemas.openxmlformats.org/drawingml/2006/table">
            <a:tbl>
              <a:tblPr>
                <a:tableStyleId>{5C22544A-7EE6-4342-B048-85BDC9FD1C3A}</a:tableStyleId>
              </a:tblPr>
              <a:tblGrid>
                <a:gridCol w="4017753">
                  <a:extLst>
                    <a:ext uri="{9D8B030D-6E8A-4147-A177-3AD203B41FA5}">
                      <a16:colId xmlns:a16="http://schemas.microsoft.com/office/drawing/2014/main" val="3299865070"/>
                    </a:ext>
                  </a:extLst>
                </a:gridCol>
                <a:gridCol w="4017753">
                  <a:extLst>
                    <a:ext uri="{9D8B030D-6E8A-4147-A177-3AD203B41FA5}">
                      <a16:colId xmlns:a16="http://schemas.microsoft.com/office/drawing/2014/main" val="2808274160"/>
                    </a:ext>
                  </a:extLst>
                </a:gridCol>
              </a:tblGrid>
              <a:tr h="308125">
                <a:tc>
                  <a:txBody>
                    <a:bodyPr/>
                    <a:lstStyle/>
                    <a:p>
                      <a:pPr algn="ctr" rtl="0" fontAlgn="ctr"/>
                      <a:r>
                        <a:rPr lang="en-US" sz="1400" b="1" u="none" strike="noStrike" dirty="0">
                          <a:effectLst/>
                        </a:rPr>
                        <a:t>Resource</a:t>
                      </a:r>
                      <a:endParaRPr lang="en-US" sz="1400" b="1" i="0" u="none" strike="noStrike" dirty="0">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b="1" u="none" strike="noStrike" dirty="0">
                          <a:effectLst/>
                        </a:rPr>
                        <a:t>Default Limit</a:t>
                      </a:r>
                      <a:endParaRPr lang="en-US" sz="1400" b="1"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976533390"/>
                  </a:ext>
                </a:extLst>
              </a:tr>
              <a:tr h="616250">
                <a:tc rowSpan="4">
                  <a:txBody>
                    <a:bodyPr/>
                    <a:lstStyle/>
                    <a:p>
                      <a:pPr algn="l" rtl="0" fontAlgn="ctr"/>
                      <a:r>
                        <a:rPr lang="en-US" sz="1400" u="none" strike="noStrike" dirty="0">
                          <a:effectLst/>
                        </a:rPr>
                        <a:t>Maximum Request Rate per storage account</a:t>
                      </a:r>
                      <a:endParaRPr lang="en-US" sz="14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rPr>
                        <a:t>Blobs: 20,000 requests per second for blobs of any valid size (capped only by the account's ingress/egress limits)</a:t>
                      </a:r>
                      <a:endParaRPr lang="en-US" sz="14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164508245"/>
                  </a:ext>
                </a:extLst>
              </a:tr>
              <a:tr h="308125">
                <a:tc vMerge="1">
                  <a:txBody>
                    <a:bodyPr/>
                    <a:lstStyle/>
                    <a:p>
                      <a:endParaRPr lang="en-US"/>
                    </a:p>
                  </a:txBody>
                  <a:tcPr/>
                </a:tc>
                <a:tc>
                  <a:txBody>
                    <a:bodyPr/>
                    <a:lstStyle/>
                    <a:p>
                      <a:pPr algn="l" rtl="0" fontAlgn="ctr"/>
                      <a:r>
                        <a:rPr lang="en-US" sz="1400" u="none" strike="noStrike" dirty="0">
                          <a:effectLst/>
                          <a:highlight>
                            <a:srgbClr val="FFFF00"/>
                          </a:highlight>
                        </a:rPr>
                        <a:t>Files: 1000 IOPS (8 KB in size) per file share</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173386604"/>
                  </a:ext>
                </a:extLst>
              </a:tr>
              <a:tr h="616250">
                <a:tc vMerge="1">
                  <a:txBody>
                    <a:bodyPr/>
                    <a:lstStyle/>
                    <a:p>
                      <a:endParaRPr lang="en-US"/>
                    </a:p>
                  </a:txBody>
                  <a:tcPr/>
                </a:tc>
                <a:tc>
                  <a:txBody>
                    <a:bodyPr/>
                    <a:lstStyle/>
                    <a:p>
                      <a:pPr algn="l" rtl="0" fontAlgn="ctr"/>
                      <a:r>
                        <a:rPr lang="en-US" sz="1400" u="none" strike="noStrike" dirty="0">
                          <a:effectLst/>
                          <a:highlight>
                            <a:srgbClr val="FFFF00"/>
                          </a:highlight>
                        </a:rPr>
                        <a:t>Queues: 20,000 messages per second (assuming 1 KB message size)</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1498582586"/>
                  </a:ext>
                </a:extLst>
              </a:tr>
              <a:tr h="616250">
                <a:tc vMerge="1">
                  <a:txBody>
                    <a:bodyPr/>
                    <a:lstStyle/>
                    <a:p>
                      <a:endParaRPr lang="en-US"/>
                    </a:p>
                  </a:txBody>
                  <a:tcPr/>
                </a:tc>
                <a:tc>
                  <a:txBody>
                    <a:bodyPr/>
                    <a:lstStyle/>
                    <a:p>
                      <a:pPr algn="l" rtl="0" fontAlgn="ctr"/>
                      <a:r>
                        <a:rPr lang="en-US" sz="1400" u="none" strike="noStrike">
                          <a:effectLst/>
                        </a:rPr>
                        <a:t>Tables: 20,000 transactions per second (assuming 1 KB entity size)</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966537401"/>
                  </a:ext>
                </a:extLst>
              </a:tr>
              <a:tr h="415052">
                <a:tc>
                  <a:txBody>
                    <a:bodyPr/>
                    <a:lstStyle/>
                    <a:p>
                      <a:pPr algn="l" rtl="0" fontAlgn="ctr"/>
                      <a:r>
                        <a:rPr lang="en-US" sz="1400" u="none" strike="noStrike">
                          <a:effectLst/>
                        </a:rPr>
                        <a:t>Target throughput for single blob</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Up to 60 MB per second, or up to 500 requests per second</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796536854"/>
                  </a:ext>
                </a:extLst>
              </a:tr>
              <a:tr h="308125">
                <a:tc>
                  <a:txBody>
                    <a:bodyPr/>
                    <a:lstStyle/>
                    <a:p>
                      <a:pPr algn="l" rtl="0" fontAlgn="ctr"/>
                      <a:r>
                        <a:rPr lang="en-US" sz="1400" u="none" strike="noStrike">
                          <a:effectLst/>
                        </a:rPr>
                        <a:t>Target throughput for single queue (1 KB message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highlight>
                            <a:srgbClr val="FFFF00"/>
                          </a:highlight>
                        </a:rPr>
                        <a:t>Up to 2000 messages per second</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3448655647"/>
                  </a:ext>
                </a:extLst>
              </a:tr>
              <a:tr h="308125">
                <a:tc>
                  <a:txBody>
                    <a:bodyPr/>
                    <a:lstStyle/>
                    <a:p>
                      <a:pPr algn="l" rtl="0" fontAlgn="ctr"/>
                      <a:r>
                        <a:rPr lang="en-US" sz="1400" u="none" strike="noStrike">
                          <a:effectLst/>
                        </a:rPr>
                        <a:t>Target throughput for single table partition (1 KB entitie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Up to 2000 entities per second</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031346222"/>
                  </a:ext>
                </a:extLst>
              </a:tr>
              <a:tr h="308125">
                <a:tc>
                  <a:txBody>
                    <a:bodyPr/>
                    <a:lstStyle/>
                    <a:p>
                      <a:pPr algn="l" rtl="0" fontAlgn="ctr"/>
                      <a:r>
                        <a:rPr lang="en-US" sz="1400" u="none" strike="noStrike">
                          <a:effectLst/>
                        </a:rPr>
                        <a:t>Target throughput for single file share</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highlight>
                            <a:srgbClr val="FFFF00"/>
                          </a:highlight>
                        </a:rPr>
                        <a:t>Up to 60 MB per second</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755389218"/>
                  </a:ext>
                </a:extLst>
              </a:tr>
              <a:tr h="308125">
                <a:tc>
                  <a:txBody>
                    <a:bodyPr/>
                    <a:lstStyle/>
                    <a:p>
                      <a:pPr algn="l" rtl="0" fontAlgn="ctr"/>
                      <a:r>
                        <a:rPr lang="en-US" sz="1400" u="none" strike="noStrike">
                          <a:effectLst/>
                        </a:rPr>
                        <a:t>Max ingress per storage account (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10 Gbps if GRS/ZRS enabled, 20 Gbps for LRS</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029125489"/>
                  </a:ext>
                </a:extLst>
              </a:tr>
              <a:tr h="308125">
                <a:tc>
                  <a:txBody>
                    <a:bodyPr/>
                    <a:lstStyle/>
                    <a:p>
                      <a:pPr algn="l" rtl="0" fontAlgn="ctr"/>
                      <a:r>
                        <a:rPr lang="en-US" sz="1400" u="none" strike="noStrike">
                          <a:effectLst/>
                        </a:rPr>
                        <a:t>Max egress per storage account (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20 Gbps if RA-GRS/GRS/ZRS enabled, 30 Gbps for LRS</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960913170"/>
                  </a:ext>
                </a:extLst>
              </a:tr>
              <a:tr h="308125">
                <a:tc>
                  <a:txBody>
                    <a:bodyPr/>
                    <a:lstStyle/>
                    <a:p>
                      <a:pPr algn="l" rtl="0" fontAlgn="ctr"/>
                      <a:r>
                        <a:rPr lang="en-US" sz="1400" u="none" strike="noStrike">
                          <a:effectLst/>
                        </a:rPr>
                        <a:t>Max ingress per storage account (Non-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5 Gbps if GRS/ZRS enabled, 10 Gbps for LRS</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720139080"/>
                  </a:ext>
                </a:extLst>
              </a:tr>
              <a:tr h="308125">
                <a:tc>
                  <a:txBody>
                    <a:bodyPr/>
                    <a:lstStyle/>
                    <a:p>
                      <a:pPr algn="l" rtl="0" fontAlgn="ctr"/>
                      <a:r>
                        <a:rPr lang="en-US" sz="1400" u="none" strike="noStrike">
                          <a:effectLst/>
                        </a:rPr>
                        <a:t>Max egress per storage account (Non-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rPr>
                        <a:t>10 </a:t>
                      </a:r>
                      <a:r>
                        <a:rPr lang="en-US" sz="1400" u="none" strike="noStrike" dirty="0" err="1">
                          <a:effectLst/>
                        </a:rPr>
                        <a:t>Gbps</a:t>
                      </a:r>
                      <a:r>
                        <a:rPr lang="en-US" sz="1400" u="none" strike="noStrike" dirty="0">
                          <a:effectLst/>
                        </a:rPr>
                        <a:t> if RA-GRS/GRS/ZRS enabled, 15 </a:t>
                      </a:r>
                      <a:r>
                        <a:rPr lang="en-US" sz="1400" u="none" strike="noStrike" dirty="0" err="1">
                          <a:effectLst/>
                        </a:rPr>
                        <a:t>Gbps</a:t>
                      </a:r>
                      <a:r>
                        <a:rPr lang="en-US" sz="1400" u="none" strike="noStrike" dirty="0">
                          <a:effectLst/>
                        </a:rPr>
                        <a:t> for LRS </a:t>
                      </a:r>
                      <a:endParaRPr lang="en-US" sz="14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4164804745"/>
                  </a:ext>
                </a:extLst>
              </a:tr>
            </a:tbl>
          </a:graphicData>
        </a:graphic>
      </p:graphicFrame>
    </p:spTree>
    <p:extLst>
      <p:ext uri="{BB962C8B-B14F-4D97-AF65-F5344CB8AC3E}">
        <p14:creationId xmlns:p14="http://schemas.microsoft.com/office/powerpoint/2010/main" val="40560046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2644140" y="1118155"/>
            <a:ext cx="6224368" cy="692498"/>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4376" y="857503"/>
            <a:ext cx="9451917" cy="5200598"/>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23">
                <a:defRPr/>
              </a:pPr>
              <a:endParaRPr lang="en-US" sz="1471" b="0" kern="0"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solidFill>
                    <a:srgbClr val="FFFFFF"/>
                  </a:solidFill>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67232"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solidFill>
                    <a:srgbClr val="FFFFFF"/>
                  </a:solidFill>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u="sng" kern="0" dirty="0">
                  <a:solidFill>
                    <a:srgbClr val="FFFF00"/>
                  </a:solidFill>
                  <a:latin typeface="Segoe UI"/>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67232"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32 Regions, 24 Onlin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a:p>
                <a:pPr defTabSz="685463" eaLnBrk="0" hangingPunct="0">
                  <a:lnSpc>
                    <a:spcPts val="600"/>
                  </a:lnSpc>
                  <a:defRPr/>
                </a:pP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solidFill>
                    <a:srgbClr val="505050"/>
                  </a:solidFill>
                  <a:latin typeface="Segoe UI"/>
                  <a:ea typeface="Segoe UI" pitchFamily="34" charset="0"/>
                  <a:cs typeface="Segoe UI" pitchFamily="34" charset="0"/>
                </a:rPr>
                <a:t>Hybrid</a:t>
              </a:r>
            </a:p>
            <a:p>
              <a:pPr algn="ctr" defTabSz="671942">
                <a:lnSpc>
                  <a:spcPct val="90000"/>
                </a:lnSpc>
                <a:spcBef>
                  <a:spcPts val="0"/>
                </a:spcBef>
                <a:spcAft>
                  <a:spcPts val="0"/>
                </a:spcAft>
                <a:defRPr/>
              </a:pPr>
              <a:r>
                <a:rPr lang="en-US" sz="956" kern="0" dirty="0">
                  <a:solidFill>
                    <a:srgbClr val="505050"/>
                  </a:solidFill>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685463" eaLnBrk="0" hangingPunct="0">
                <a:lnSpc>
                  <a:spcPts val="600"/>
                </a:lnSpc>
                <a:defRPr/>
              </a:pP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u="sng" kern="0" dirty="0">
                  <a:solidFill>
                    <a:srgbClr val="FFFF00"/>
                  </a:solidFill>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685463" eaLnBrk="0" hangingPunct="0">
                  <a:lnSpc>
                    <a:spcPts val="600"/>
                  </a:lnSpc>
                  <a:defRPr/>
                </a:pP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290" fontAlgn="auto">
                <a:spcBef>
                  <a:spcPts val="0"/>
                </a:spcBef>
                <a:spcAft>
                  <a:spcPts val="0"/>
                </a:spcAft>
                <a:defRPr/>
              </a:pPr>
              <a:endParaRPr lang="en-US" sz="1324" b="0" kern="0">
                <a:solidFill>
                  <a:sysClr val="windowText" lastClr="000000"/>
                </a:solidFill>
                <a:latin typeface="Segoe UI"/>
              </a:endParaRPr>
            </a:p>
          </p:txBody>
        </p:sp>
        <p:sp>
          <p:nvSpPr>
            <p:cNvPr id="197" name="TextBox 196"/>
            <p:cNvSpPr txBox="1"/>
            <p:nvPr/>
          </p:nvSpPr>
          <p:spPr>
            <a:xfrm>
              <a:off x="11062374" y="78008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13446" rIns="0" bIns="67232"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26893"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App</a:t>
              </a:r>
            </a:p>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solidFill>
                    <a:srgbClr val="505050"/>
                  </a:solidFill>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wer BI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Server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tainer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105457"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685463" eaLnBrk="0" hangingPunct="0">
                  <a:lnSpc>
                    <a:spcPts val="600"/>
                  </a:lnSpc>
                  <a:defRPr/>
                </a:pPr>
                <a: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grpSp>
      </p:grpSp>
      <p:sp>
        <p:nvSpPr>
          <p:cNvPr id="5" name="Rectangle 4"/>
          <p:cNvSpPr/>
          <p:nvPr/>
        </p:nvSpPr>
        <p:spPr bwMode="auto">
          <a:xfrm>
            <a:off x="4960829" y="1246503"/>
            <a:ext cx="2619209" cy="3007978"/>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a:defRPr/>
            </a:pPr>
            <a:endParaRPr lang="en-US" b="0">
              <a:solidFill>
                <a:srgbClr val="FFFFFF"/>
              </a:solidFill>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9045D3AE-4C24-4541-8AA4-74938AB5C205}"/>
              </a:ext>
            </a:extLst>
          </p:cNvPr>
          <p:cNvSpPr/>
          <p:nvPr/>
        </p:nvSpPr>
        <p:spPr bwMode="auto">
          <a:xfrm>
            <a:off x="2174940" y="4496665"/>
            <a:ext cx="2126452" cy="596556"/>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a:defRPr/>
            </a:pPr>
            <a:endParaRPr lang="en-US" b="0">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3609209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9"/>
                                        </p:tgtEl>
                                        <p:attrNameLst>
                                          <p:attrName>style.visibility</p:attrName>
                                        </p:attrNameLst>
                                      </p:cBhvr>
                                      <p:to>
                                        <p:strVal val="visible"/>
                                      </p:to>
                                    </p:set>
                                    <p:animEffect transition="in" filter="fade">
                                      <p:cBhvr>
                                        <p:cTn id="12" dur="500"/>
                                        <p:tgtEl>
                                          <p:spTgt spid="2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4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3300"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2400"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294542" y="2768988"/>
          <a:ext cx="8169519" cy="1564767"/>
        </p:xfrm>
        <a:graphic>
          <a:graphicData uri="http://schemas.openxmlformats.org/drawingml/2006/table">
            <a:tbl>
              <a:tblPr firstRow="1" firstCol="1" bandRow="1"/>
              <a:tblGrid>
                <a:gridCol w="3040421">
                  <a:extLst>
                    <a:ext uri="{9D8B030D-6E8A-4147-A177-3AD203B41FA5}">
                      <a16:colId xmlns:a16="http://schemas.microsoft.com/office/drawing/2014/main" val="933939241"/>
                    </a:ext>
                  </a:extLst>
                </a:gridCol>
                <a:gridCol w="5129099">
                  <a:extLst>
                    <a:ext uri="{9D8B030D-6E8A-4147-A177-3AD203B41FA5}">
                      <a16:colId xmlns:a16="http://schemas.microsoft.com/office/drawing/2014/main" val="271346414"/>
                    </a:ext>
                  </a:extLst>
                </a:gridCol>
              </a:tblGrid>
              <a:tr h="402003">
                <a:tc>
                  <a:txBody>
                    <a:bodyPr/>
                    <a:lstStyle/>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Total account capacity</a:t>
                      </a:r>
                      <a:endParaRPr lang="en-US" sz="1800" dirty="0">
                        <a:effectLst/>
                        <a:latin typeface="Calibri" panose="020F0502020204030204" pitchFamily="34" charset="0"/>
                        <a:ea typeface="Calibri" panose="020F0502020204030204" pitchFamily="34" charset="0"/>
                      </a:endParaRPr>
                    </a:p>
                  </a:txBody>
                  <a:tcPr marL="7144" marR="7144" marT="7144" marB="7144" anchor="ctr">
                    <a:lnL>
                      <a:noFill/>
                    </a:lnL>
                    <a:lnR>
                      <a:noFill/>
                    </a:lnR>
                    <a:lnT>
                      <a:noFill/>
                    </a:lnT>
                    <a:lnB>
                      <a:noFill/>
                    </a:lnB>
                  </a:tcPr>
                </a:tc>
                <a:tc>
                  <a:txBody>
                    <a:bodyPr/>
                    <a:lstStyle/>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Total bandwidth </a:t>
                      </a:r>
                      <a:r>
                        <a:rPr lang="en-US" sz="1400" b="1" dirty="0">
                          <a:solidFill>
                            <a:srgbClr val="222222"/>
                          </a:solidFill>
                          <a:effectLst/>
                          <a:latin typeface="segoe-ui_normal"/>
                          <a:ea typeface="Times New Roman" panose="02020603050405020304" pitchFamily="18" charset="0"/>
                        </a:rPr>
                        <a:t>Locally redundant storage account</a:t>
                      </a:r>
                      <a:endParaRPr lang="en-US" sz="1400" dirty="0">
                        <a:effectLst/>
                        <a:latin typeface="Calibri" panose="020F0502020204030204" pitchFamily="34" charset="0"/>
                        <a:ea typeface="Calibri" panose="020F0502020204030204" pitchFamily="34" charset="0"/>
                      </a:endParaRPr>
                    </a:p>
                  </a:txBody>
                  <a:tcPr marL="7144" marR="7144" marT="7144" marB="7144" anchor="ctr">
                    <a:lnL>
                      <a:noFill/>
                    </a:lnL>
                    <a:lnR>
                      <a:noFill/>
                    </a:lnR>
                    <a:lnT>
                      <a:noFill/>
                    </a:lnT>
                    <a:lnB>
                      <a:noFill/>
                    </a:lnB>
                  </a:tcPr>
                </a:tc>
                <a:extLst>
                  <a:ext uri="{0D108BD9-81ED-4DB2-BD59-A6C34878D82A}">
                    <a16:rowId xmlns:a16="http://schemas.microsoft.com/office/drawing/2014/main" val="3466142781"/>
                  </a:ext>
                </a:extLst>
              </a:tr>
              <a:tr h="1111568">
                <a:tc>
                  <a:txBody>
                    <a:bodyPr/>
                    <a:lstStyle/>
                    <a:p>
                      <a:pPr marL="0" marR="0">
                        <a:lnSpc>
                          <a:spcPct val="160000"/>
                        </a:lnSpc>
                        <a:spcBef>
                          <a:spcPts val="0"/>
                        </a:spcBef>
                        <a:spcAft>
                          <a:spcPts val="0"/>
                        </a:spcAft>
                      </a:pPr>
                      <a:r>
                        <a:rPr lang="en-US" sz="1800" dirty="0">
                          <a:solidFill>
                            <a:srgbClr val="222222"/>
                          </a:solidFill>
                          <a:effectLst/>
                          <a:latin typeface="segoe-ui_normal"/>
                          <a:ea typeface="Times New Roman" panose="02020603050405020304" pitchFamily="18" charset="0"/>
                        </a:rPr>
                        <a:t>Disk capacity: 35 TB </a:t>
                      </a:r>
                      <a:br>
                        <a:rPr lang="en-US" sz="1800" dirty="0">
                          <a:solidFill>
                            <a:srgbClr val="222222"/>
                          </a:solidFill>
                          <a:effectLst/>
                          <a:latin typeface="segoe-ui_normal"/>
                          <a:ea typeface="Times New Roman" panose="02020603050405020304" pitchFamily="18" charset="0"/>
                        </a:rPr>
                      </a:br>
                      <a:r>
                        <a:rPr lang="en-US" sz="1800" dirty="0">
                          <a:solidFill>
                            <a:srgbClr val="222222"/>
                          </a:solidFill>
                          <a:effectLst/>
                          <a:latin typeface="segoe-ui_normal"/>
                          <a:ea typeface="Times New Roman" panose="02020603050405020304" pitchFamily="18" charset="0"/>
                        </a:rPr>
                        <a:t>Snapshot capacity: 10 TB</a:t>
                      </a:r>
                      <a:endParaRPr lang="en-US" sz="1800" dirty="0">
                        <a:effectLst/>
                        <a:latin typeface="Calibri" panose="020F0502020204030204" pitchFamily="34" charset="0"/>
                        <a:ea typeface="Calibri" panose="020F0502020204030204" pitchFamily="34" charset="0"/>
                      </a:endParaRPr>
                    </a:p>
                  </a:txBody>
                  <a:tcPr marL="7144" marR="7144" marT="7144" marB="7144" anchor="ctr">
                    <a:lnL>
                      <a:noFill/>
                    </a:lnL>
                    <a:lnR>
                      <a:noFill/>
                    </a:lnR>
                    <a:lnT>
                      <a:noFill/>
                    </a:lnT>
                    <a:lnB>
                      <a:noFill/>
                    </a:lnB>
                  </a:tcPr>
                </a:tc>
                <a:tc>
                  <a:txBody>
                    <a:bodyPr/>
                    <a:lstStyle/>
                    <a:p>
                      <a:pPr marL="0" marR="0">
                        <a:lnSpc>
                          <a:spcPct val="100000"/>
                        </a:lnSpc>
                        <a:spcBef>
                          <a:spcPts val="0"/>
                        </a:spcBef>
                        <a:spcAft>
                          <a:spcPts val="0"/>
                        </a:spcAft>
                      </a:pPr>
                      <a:r>
                        <a:rPr lang="en-US" sz="1800" b="1" dirty="0">
                          <a:solidFill>
                            <a:srgbClr val="222222"/>
                          </a:solidFill>
                          <a:effectLst/>
                          <a:latin typeface="segoe-ui_normal"/>
                          <a:ea typeface="Times New Roman" panose="02020603050405020304" pitchFamily="18" charset="0"/>
                        </a:rPr>
                        <a:t>Up to 50 gigabits per second</a:t>
                      </a:r>
                      <a:br>
                        <a:rPr lang="en-US" sz="1800" dirty="0">
                          <a:solidFill>
                            <a:srgbClr val="222222"/>
                          </a:solidFill>
                          <a:effectLst/>
                          <a:latin typeface="segoe-ui_normal"/>
                          <a:ea typeface="Times New Roman" panose="02020603050405020304" pitchFamily="18" charset="0"/>
                        </a:rPr>
                      </a:br>
                      <a:r>
                        <a:rPr lang="en-US" sz="1800" dirty="0">
                          <a:solidFill>
                            <a:srgbClr val="222222"/>
                          </a:solidFill>
                          <a:effectLst/>
                          <a:latin typeface="segoe-ui_normal"/>
                          <a:ea typeface="Times New Roman" panose="02020603050405020304" pitchFamily="18" charset="0"/>
                        </a:rPr>
                        <a:t>for </a:t>
                      </a:r>
                      <a:r>
                        <a:rPr lang="en-US" sz="1800" b="1" dirty="0">
                          <a:solidFill>
                            <a:srgbClr val="222222"/>
                          </a:solidFill>
                          <a:effectLst/>
                          <a:latin typeface="segoe-ui_normal"/>
                          <a:ea typeface="Times New Roman" panose="02020603050405020304" pitchFamily="18" charset="0"/>
                        </a:rPr>
                        <a:t>inbound</a:t>
                      </a:r>
                      <a:r>
                        <a:rPr lang="en-US" sz="1800" b="1" baseline="30000" dirty="0">
                          <a:solidFill>
                            <a:srgbClr val="222222"/>
                          </a:solidFill>
                          <a:effectLst/>
                          <a:latin typeface="segoe-ui_normal"/>
                          <a:ea typeface="Times New Roman" panose="02020603050405020304" pitchFamily="18" charset="0"/>
                        </a:rPr>
                        <a:t>1</a:t>
                      </a:r>
                      <a:r>
                        <a:rPr lang="en-US" sz="1800" b="1" dirty="0">
                          <a:solidFill>
                            <a:srgbClr val="222222"/>
                          </a:solidFill>
                          <a:effectLst/>
                          <a:latin typeface="segoe-ui_normal"/>
                          <a:ea typeface="Times New Roman" panose="02020603050405020304" pitchFamily="18" charset="0"/>
                        </a:rPr>
                        <a:t> </a:t>
                      </a:r>
                      <a:r>
                        <a:rPr lang="en-US" sz="2700" b="1" dirty="0">
                          <a:solidFill>
                            <a:srgbClr val="222222"/>
                          </a:solidFill>
                          <a:effectLst/>
                          <a:latin typeface="segoe-ui_normal"/>
                          <a:ea typeface="Times New Roman" panose="02020603050405020304" pitchFamily="18" charset="0"/>
                        </a:rPr>
                        <a:t>+</a:t>
                      </a:r>
                      <a:r>
                        <a:rPr lang="en-US" sz="1800" b="1" dirty="0">
                          <a:solidFill>
                            <a:srgbClr val="222222"/>
                          </a:solidFill>
                          <a:effectLst/>
                          <a:latin typeface="segoe-ui_normal"/>
                          <a:ea typeface="Times New Roman" panose="02020603050405020304" pitchFamily="18" charset="0"/>
                        </a:rPr>
                        <a:t> outbound</a:t>
                      </a:r>
                      <a:r>
                        <a:rPr lang="en-US" sz="18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30000" dirty="0">
                          <a:solidFill>
                            <a:schemeClr val="tx1"/>
                          </a:solidFill>
                          <a:effectLst/>
                          <a:latin typeface="+mn-lt"/>
                          <a:ea typeface="+mn-ea"/>
                          <a:cs typeface="+mn-cs"/>
                        </a:rPr>
                        <a:t>1</a:t>
                      </a:r>
                      <a:r>
                        <a:rPr lang="en-US" sz="14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30000" dirty="0">
                          <a:solidFill>
                            <a:schemeClr val="tx1"/>
                          </a:solidFill>
                          <a:effectLst/>
                          <a:latin typeface="+mn-lt"/>
                          <a:ea typeface="+mn-ea"/>
                          <a:cs typeface="+mn-cs"/>
                        </a:rPr>
                        <a:t>2</a:t>
                      </a:r>
                      <a:r>
                        <a:rPr lang="en-US" sz="1400" kern="1200" dirty="0">
                          <a:solidFill>
                            <a:schemeClr val="tx1"/>
                          </a:solidFill>
                          <a:effectLst/>
                          <a:latin typeface="+mn-lt"/>
                          <a:ea typeface="+mn-ea"/>
                          <a:cs typeface="+mn-cs"/>
                        </a:rPr>
                        <a:t> All data (responses) that are received from a storage account</a:t>
                      </a:r>
                    </a:p>
                  </a:txBody>
                  <a:tcPr marL="7144" marR="7144" marT="7144" marB="7144"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2644140" y="1118155"/>
            <a:ext cx="6206783" cy="692498"/>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100" dirty="0"/>
              <a:t>If you stripe premium storage data disks by using </a:t>
            </a:r>
            <a:r>
              <a:rPr lang="en-US" sz="2100" dirty="0">
                <a:hlinkClick r:id="rId3"/>
              </a:rPr>
              <a:t>Storage Spaces</a:t>
            </a:r>
            <a:r>
              <a:rPr lang="en-US" sz="2100"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100" dirty="0">
                <a:hlinkClick r:id="rId4"/>
              </a:rPr>
              <a:t>New-</a:t>
            </a:r>
            <a:r>
              <a:rPr lang="en-US" sz="2100" dirty="0" err="1">
                <a:hlinkClick r:id="rId4"/>
              </a:rPr>
              <a:t>VirtualDisk</a:t>
            </a:r>
            <a:r>
              <a:rPr lang="en-US" sz="2100" dirty="0"/>
              <a:t> PowerShell cmdlet, use the </a:t>
            </a:r>
            <a:r>
              <a:rPr lang="en-US" sz="2100" i="1" dirty="0" err="1"/>
              <a:t>NumberOfColumns</a:t>
            </a:r>
            <a:r>
              <a:rPr lang="en-US" sz="2100" dirty="0"/>
              <a:t> parameter. For more information, see </a:t>
            </a:r>
            <a:r>
              <a:rPr lang="en-US" sz="2100" dirty="0">
                <a:hlinkClick r:id="rId3"/>
              </a:rPr>
              <a:t>Storage Spaces Overview</a:t>
            </a:r>
            <a:r>
              <a:rPr lang="en-US" sz="2100" dirty="0"/>
              <a:t> and </a:t>
            </a:r>
            <a:r>
              <a:rPr lang="en-US" sz="2100" dirty="0">
                <a:hlinkClick r:id="rId5"/>
              </a:rPr>
              <a:t>Storage Spaces FAQs</a:t>
            </a:r>
            <a:r>
              <a:rPr lang="en-US" sz="2100" dirty="0"/>
              <a:t>.</a:t>
            </a:r>
          </a:p>
          <a:p>
            <a:endParaRPr lang="en-US" sz="2100"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Samples</a:t>
            </a:r>
          </a:p>
        </p:txBody>
      </p:sp>
      <p:sp>
        <p:nvSpPr>
          <p:cNvPr id="3" name="Content Placeholder 2"/>
          <p:cNvSpPr>
            <a:spLocks noGrp="1"/>
          </p:cNvSpPr>
          <p:nvPr>
            <p:ph type="body" idx="1"/>
          </p:nvPr>
        </p:nvSpPr>
        <p:spPr/>
        <p:txBody>
          <a:bodyPr/>
          <a:lstStyle/>
          <a:p>
            <a:r>
              <a:rPr lang="en-US" dirty="0">
                <a:hlinkClick r:id="rId3"/>
              </a:rPr>
              <a:t>https://azure.microsoft.com/en-us/resources/samples/?service=storage</a:t>
            </a:r>
            <a:r>
              <a:rPr lang="en-US" dirty="0"/>
              <a:t> </a:t>
            </a:r>
          </a:p>
        </p:txBody>
      </p:sp>
    </p:spTree>
    <p:extLst>
      <p:ext uri="{BB962C8B-B14F-4D97-AF65-F5344CB8AC3E}">
        <p14:creationId xmlns:p14="http://schemas.microsoft.com/office/powerpoint/2010/main" val="25712057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Labs for .NET</a:t>
            </a:r>
          </a:p>
        </p:txBody>
      </p:sp>
      <p:sp>
        <p:nvSpPr>
          <p:cNvPr id="3" name="Content Placeholder 2"/>
          <p:cNvSpPr>
            <a:spLocks noGrp="1"/>
          </p:cNvSpPr>
          <p:nvPr>
            <p:ph type="body" idx="1"/>
          </p:nvPr>
        </p:nvSpPr>
        <p:spPr/>
        <p:txBody>
          <a:bodyPr>
            <a:normAutofit/>
          </a:bodyPr>
          <a:lstStyle/>
          <a:p>
            <a:r>
              <a:rPr lang="en-US" sz="2100" dirty="0">
                <a:hlinkClick r:id="rId3"/>
              </a:rPr>
              <a:t>https://github.com/Azure-Samples/storage-table-dotnet-getting-started</a:t>
            </a:r>
            <a:r>
              <a:rPr lang="en-US" sz="2100" dirty="0"/>
              <a:t> </a:t>
            </a:r>
          </a:p>
        </p:txBody>
      </p:sp>
    </p:spTree>
    <p:extLst>
      <p:ext uri="{BB962C8B-B14F-4D97-AF65-F5344CB8AC3E}">
        <p14:creationId xmlns:p14="http://schemas.microsoft.com/office/powerpoint/2010/main" val="17715588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Labs for .NET</a:t>
            </a:r>
          </a:p>
        </p:txBody>
      </p:sp>
      <p:sp>
        <p:nvSpPr>
          <p:cNvPr id="3" name="Content Placeholder 2"/>
          <p:cNvSpPr>
            <a:spLocks noGrp="1"/>
          </p:cNvSpPr>
          <p:nvPr>
            <p:ph type="body" idx="1"/>
          </p:nvPr>
        </p:nvSpPr>
        <p:spPr/>
        <p:txBody>
          <a:bodyPr>
            <a:normAutofit/>
          </a:bodyPr>
          <a:lstStyle/>
          <a:p>
            <a:r>
              <a:rPr lang="en-US" sz="1500" dirty="0">
                <a:hlinkClick r:id="rId3"/>
              </a:rPr>
              <a:t>https://azure.microsoft.com/en-us/resources/samples/storage-blob-dotnet-getting-started/</a:t>
            </a:r>
            <a:endParaRPr lang="en-US" sz="1500" dirty="0"/>
          </a:p>
          <a:p>
            <a:endParaRPr lang="en-US" sz="1500" dirty="0"/>
          </a:p>
          <a:p>
            <a:r>
              <a:rPr lang="en-US" sz="1500" dirty="0">
                <a:hlinkClick r:id="rId4"/>
              </a:rPr>
              <a:t>https://github.com/Azure-Samples/storage-blob-dotnet-getting-started</a:t>
            </a:r>
            <a:endParaRPr lang="en-US" sz="1500" dirty="0"/>
          </a:p>
        </p:txBody>
      </p:sp>
    </p:spTree>
    <p:extLst>
      <p:ext uri="{BB962C8B-B14F-4D97-AF65-F5344CB8AC3E}">
        <p14:creationId xmlns:p14="http://schemas.microsoft.com/office/powerpoint/2010/main" val="13756745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S Labs</a:t>
            </a:r>
          </a:p>
        </p:txBody>
      </p:sp>
      <p:sp>
        <p:nvSpPr>
          <p:cNvPr id="3" name="Content Placeholder 2"/>
          <p:cNvSpPr>
            <a:spLocks noGrp="1"/>
          </p:cNvSpPr>
          <p:nvPr>
            <p:ph type="body" idx="1"/>
          </p:nvPr>
        </p:nvSpPr>
        <p:spPr/>
        <p:txBody>
          <a:bodyPr/>
          <a:lstStyle/>
          <a:p>
            <a:r>
              <a:rPr lang="en-US" dirty="0">
                <a:hlinkClick r:id="rId3"/>
              </a:rPr>
              <a:t>https://azure.microsoft.com/en-us/resources/samples/storage-dotnet-sas-getting-started/</a:t>
            </a:r>
            <a:r>
              <a:rPr lang="en-US" dirty="0"/>
              <a:t> </a:t>
            </a:r>
          </a:p>
          <a:p>
            <a:endParaRPr lang="en-US" dirty="0"/>
          </a:p>
        </p:txBody>
      </p:sp>
    </p:spTree>
    <p:extLst>
      <p:ext uri="{BB962C8B-B14F-4D97-AF65-F5344CB8AC3E}">
        <p14:creationId xmlns:p14="http://schemas.microsoft.com/office/powerpoint/2010/main" val="288375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a:t>
            </a:r>
            <a:r>
              <a:rPr lang="en-US" dirty="0" err="1"/>
              <a:t>KeyWords</a:t>
            </a:r>
            <a:endParaRPr lang="en-US" dirty="0"/>
          </a:p>
        </p:txBody>
      </p:sp>
      <p:sp>
        <p:nvSpPr>
          <p:cNvPr id="3" name="Content Placeholder 2"/>
          <p:cNvSpPr>
            <a:spLocks noGrp="1"/>
          </p:cNvSpPr>
          <p:nvPr>
            <p:ph idx="1"/>
          </p:nvPr>
        </p:nvSpPr>
        <p:spPr>
          <a:xfrm>
            <a:off x="151193" y="1781177"/>
            <a:ext cx="4061579" cy="3972732"/>
          </a:xfrm>
        </p:spPr>
        <p:txBody>
          <a:bodyPr>
            <a:normAutofit fontScale="92500" lnSpcReduction="10000"/>
          </a:bodyPr>
          <a:lstStyle/>
          <a:p>
            <a:pPr marL="428625" indent="-428625">
              <a:buFont typeface="Arial" panose="020B0604020202020204" pitchFamily="34" charset="0"/>
              <a:buChar char="•"/>
            </a:pPr>
            <a:r>
              <a:rPr lang="en-US" dirty="0"/>
              <a:t>General Purpose account</a:t>
            </a:r>
          </a:p>
          <a:p>
            <a:pPr marL="428625" indent="-428625">
              <a:buFont typeface="Arial" panose="020B0604020202020204" pitchFamily="34" charset="0"/>
              <a:buChar char="•"/>
            </a:pPr>
            <a:r>
              <a:rPr lang="en-US" dirty="0"/>
              <a:t>Blob Account</a:t>
            </a:r>
          </a:p>
          <a:p>
            <a:pPr marL="428625" indent="-428625">
              <a:buFont typeface="Arial" panose="020B0604020202020204" pitchFamily="34" charset="0"/>
              <a:buChar char="•"/>
            </a:pPr>
            <a:r>
              <a:rPr lang="en-US" dirty="0"/>
              <a:t>Premium</a:t>
            </a:r>
          </a:p>
          <a:p>
            <a:pPr marL="428625" indent="-428625">
              <a:buFont typeface="Arial" panose="020B0604020202020204" pitchFamily="34" charset="0"/>
              <a:buChar char="•"/>
            </a:pPr>
            <a:r>
              <a:rPr lang="en-US" dirty="0"/>
              <a:t>Standard</a:t>
            </a:r>
          </a:p>
          <a:p>
            <a:pPr marL="428625" indent="-428625">
              <a:buFont typeface="Arial" panose="020B0604020202020204" pitchFamily="34" charset="0"/>
              <a:buChar char="•"/>
            </a:pPr>
            <a:r>
              <a:rPr lang="en-US" dirty="0"/>
              <a:t>SSE ( Server Side Encryption)</a:t>
            </a:r>
          </a:p>
          <a:p>
            <a:pPr marL="428625" indent="-428625">
              <a:buFont typeface="Arial" panose="020B0604020202020204" pitchFamily="34" charset="0"/>
              <a:buChar char="•"/>
            </a:pPr>
            <a:r>
              <a:rPr lang="en-US" dirty="0"/>
              <a:t>Hot, Cool, Archive</a:t>
            </a:r>
          </a:p>
          <a:p>
            <a:pPr marL="428625" indent="-428625">
              <a:buFont typeface="Arial" panose="020B0604020202020204" pitchFamily="34" charset="0"/>
              <a:buChar char="•"/>
            </a:pPr>
            <a:r>
              <a:rPr lang="en-US" dirty="0"/>
              <a:t>Block, Append, Page blob</a:t>
            </a:r>
          </a:p>
          <a:p>
            <a:pPr marL="428625" indent="-428625">
              <a:buFont typeface="Arial" panose="020B0604020202020204" pitchFamily="34" charset="0"/>
              <a:buChar char="•"/>
            </a:pPr>
            <a:r>
              <a:rPr lang="en-US" dirty="0"/>
              <a:t>Azure File, Queue, Table, blob</a:t>
            </a:r>
          </a:p>
        </p:txBody>
      </p:sp>
      <p:sp>
        <p:nvSpPr>
          <p:cNvPr id="4" name="Content Placeholder 2"/>
          <p:cNvSpPr txBox="1">
            <a:spLocks/>
          </p:cNvSpPr>
          <p:nvPr/>
        </p:nvSpPr>
        <p:spPr>
          <a:xfrm>
            <a:off x="4212772" y="1781176"/>
            <a:ext cx="4061579" cy="3717470"/>
          </a:xfrm>
          <a:prstGeom prst="rect">
            <a:avLst/>
          </a:prstGeom>
        </p:spPr>
        <p:txBody>
          <a:bodyPr vert="horz" lIns="68580" tIns="34290" rIns="68580" bIns="34290" rtlCol="0">
            <a:normAutofit fontScale="85000" lnSpcReduction="2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SAS(Shared Access Signature)</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Storage Key</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Container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Entity</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Message</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Managed Disk</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IOP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LRS, ZRS, GRS, RA-GR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Storage Explorer</a:t>
            </a:r>
          </a:p>
          <a:p>
            <a:pPr marL="428625" indent="-428625" defTabSz="685800" fontAlgn="auto">
              <a:spcBef>
                <a:spcPts val="750"/>
              </a:spcBef>
              <a:spcAft>
                <a:spcPts val="0"/>
              </a:spcAft>
              <a:buFont typeface="Arial" panose="020B0604020202020204" pitchFamily="34" charset="0"/>
              <a:buChar char="•"/>
              <a:defRPr/>
            </a:pPr>
            <a:r>
              <a:rPr lang="en-US" sz="2700" b="0" dirty="0" err="1">
                <a:solidFill>
                  <a:prstClr val="black"/>
                </a:solidFill>
                <a:latin typeface="Calibri" panose="020F0502020204030204"/>
              </a:rPr>
              <a:t>Azcopy</a:t>
            </a:r>
            <a:endParaRPr lang="en-US" sz="2700" b="0" dirty="0">
              <a:solidFill>
                <a:prstClr val="black"/>
              </a:solidFill>
              <a:latin typeface="Calibri" panose="020F0502020204030204"/>
            </a:endParaRPr>
          </a:p>
          <a:p>
            <a:pPr marL="428625" indent="-428625" defTabSz="685800" fontAlgn="auto">
              <a:spcBef>
                <a:spcPts val="750"/>
              </a:spcBef>
              <a:spcAft>
                <a:spcPts val="0"/>
              </a:spcAft>
              <a:buFont typeface="Arial" panose="020B0604020202020204" pitchFamily="34" charset="0"/>
              <a:buChar char="•"/>
              <a:defRPr/>
            </a:pPr>
            <a:endParaRPr lang="en-US" sz="2700" b="0" dirty="0">
              <a:solidFill>
                <a:prstClr val="black"/>
              </a:solidFill>
              <a:latin typeface="Calibri" panose="020F0502020204030204"/>
            </a:endParaRPr>
          </a:p>
          <a:p>
            <a:pPr marL="428625" indent="-428625" defTabSz="685800" fontAlgn="auto">
              <a:spcBef>
                <a:spcPts val="750"/>
              </a:spcBef>
              <a:spcAft>
                <a:spcPts val="0"/>
              </a:spcAft>
              <a:buFont typeface="Arial" panose="020B0604020202020204" pitchFamily="34" charset="0"/>
              <a:buChar char="•"/>
              <a:defRPr/>
            </a:pPr>
            <a:endParaRPr lang="en-US" sz="2700" b="0" dirty="0">
              <a:solidFill>
                <a:prstClr val="black"/>
              </a:solidFill>
              <a:latin typeface="Calibri" panose="020F0502020204030204"/>
            </a:endParaRPr>
          </a:p>
        </p:txBody>
      </p:sp>
    </p:spTree>
    <p:extLst>
      <p:ext uri="{BB962C8B-B14F-4D97-AF65-F5344CB8AC3E}">
        <p14:creationId xmlns:p14="http://schemas.microsoft.com/office/powerpoint/2010/main" val="9227754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 name="Title 5"/>
          <p:cNvSpPr>
            <a:spLocks noGrp="1"/>
          </p:cNvSpPr>
          <p:nvPr>
            <p:ph type="title"/>
          </p:nvPr>
        </p:nvSpPr>
        <p:spPr>
          <a:xfrm>
            <a:off x="1" y="1074384"/>
            <a:ext cx="9143996" cy="674749"/>
          </a:xfrm>
        </p:spPr>
        <p:txBody>
          <a:bodyPr/>
          <a:lstStyle/>
          <a:p>
            <a:pPr algn="ctr"/>
            <a:r>
              <a:rPr lang="en-US" sz="3600" dirty="0"/>
              <a:t>Azure Data Services</a:t>
            </a:r>
            <a:endParaRPr lang="en-US" dirty="0"/>
          </a:p>
        </p:txBody>
      </p:sp>
      <p:sp>
        <p:nvSpPr>
          <p:cNvPr id="343" name="Rectangle 342"/>
          <p:cNvSpPr/>
          <p:nvPr/>
        </p:nvSpPr>
        <p:spPr bwMode="auto">
          <a:xfrm>
            <a:off x="5468448" y="4367118"/>
            <a:ext cx="1314531" cy="787128"/>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shboards &amp; Visualizations</a:t>
            </a:r>
          </a:p>
        </p:txBody>
      </p:sp>
      <p:sp>
        <p:nvSpPr>
          <p:cNvPr id="344" name="Rectangle 343"/>
          <p:cNvSpPr/>
          <p:nvPr/>
        </p:nvSpPr>
        <p:spPr bwMode="auto">
          <a:xfrm>
            <a:off x="1382267" y="2076396"/>
            <a:ext cx="1314531" cy="3077850"/>
          </a:xfrm>
          <a:prstGeom prst="rect">
            <a:avLst/>
          </a:prstGeom>
          <a:solidFill>
            <a:srgbClr val="0078D7"/>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formation Management</a:t>
            </a:r>
          </a:p>
        </p:txBody>
      </p:sp>
      <p:sp>
        <p:nvSpPr>
          <p:cNvPr id="345" name="Rectangle 344"/>
          <p:cNvSpPr/>
          <p:nvPr/>
        </p:nvSpPr>
        <p:spPr bwMode="auto">
          <a:xfrm>
            <a:off x="2744327" y="2076396"/>
            <a:ext cx="1314531" cy="3077850"/>
          </a:xfrm>
          <a:prstGeom prst="rect">
            <a:avLst/>
          </a:prstGeom>
          <a:solidFill>
            <a:schemeClr val="accent2"/>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ta Store (small/big/all)</a:t>
            </a:r>
          </a:p>
        </p:txBody>
      </p:sp>
      <p:sp>
        <p:nvSpPr>
          <p:cNvPr id="346" name="Rectangle 345"/>
          <p:cNvSpPr/>
          <p:nvPr/>
        </p:nvSpPr>
        <p:spPr bwMode="auto">
          <a:xfrm>
            <a:off x="4106387" y="2076396"/>
            <a:ext cx="1314531" cy="3077850"/>
          </a:xfrm>
          <a:prstGeom prst="rect">
            <a:avLst/>
          </a:prstGeom>
          <a:solidFill>
            <a:schemeClr val="accent3"/>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chine Learning</a:t>
            </a:r>
            <a:b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and Analytics</a:t>
            </a:r>
          </a:p>
        </p:txBody>
      </p:sp>
      <p:sp>
        <p:nvSpPr>
          <p:cNvPr id="351" name="Rectangle 350"/>
          <p:cNvSpPr/>
          <p:nvPr/>
        </p:nvSpPr>
        <p:spPr>
          <a:xfrm>
            <a:off x="1779808" y="3626711"/>
            <a:ext cx="780170"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Event Hub</a:t>
            </a:r>
          </a:p>
        </p:txBody>
      </p:sp>
      <p:sp>
        <p:nvSpPr>
          <p:cNvPr id="352" name="Rectangle 351"/>
          <p:cNvSpPr/>
          <p:nvPr/>
        </p:nvSpPr>
        <p:spPr>
          <a:xfrm>
            <a:off x="4536787" y="3510074"/>
            <a:ext cx="768959" cy="372603"/>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HDInsight </a:t>
            </a:r>
          </a:p>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Hadoop and Spark)</a:t>
            </a:r>
          </a:p>
        </p:txBody>
      </p:sp>
      <p:sp>
        <p:nvSpPr>
          <p:cNvPr id="353" name="Rectangle 352"/>
          <p:cNvSpPr/>
          <p:nvPr/>
        </p:nvSpPr>
        <p:spPr>
          <a:xfrm>
            <a:off x="4536787" y="4046154"/>
            <a:ext cx="768959"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Stream Analytics</a:t>
            </a:r>
          </a:p>
        </p:txBody>
      </p:sp>
      <p:sp>
        <p:nvSpPr>
          <p:cNvPr id="355" name="TextBox 354"/>
          <p:cNvSpPr txBox="1"/>
          <p:nvPr/>
        </p:nvSpPr>
        <p:spPr>
          <a:xfrm>
            <a:off x="315891" y="2579875"/>
            <a:ext cx="747696" cy="285131"/>
          </a:xfrm>
          <a:prstGeom prst="rect">
            <a:avLst/>
          </a:prstGeom>
          <a:noFill/>
        </p:spPr>
        <p:txBody>
          <a:bodyPr wrap="none" lIns="0" tIns="0" rIns="0" bIns="0" rtlCol="0" anchor="ctr">
            <a:noAutofit/>
          </a:bodyPr>
          <a:lstStyle/>
          <a:p>
            <a:pPr algn="ctr" defTabSz="685437" fontAlgn="auto">
              <a:lnSpc>
                <a:spcPct val="90000"/>
              </a:lnSpc>
              <a:spcBef>
                <a:spcPts val="0"/>
              </a:spcBef>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Data Sources</a:t>
            </a:r>
          </a:p>
        </p:txBody>
      </p:sp>
      <p:sp>
        <p:nvSpPr>
          <p:cNvPr id="356" name="TextBox 355"/>
          <p:cNvSpPr txBox="1"/>
          <p:nvPr/>
        </p:nvSpPr>
        <p:spPr>
          <a:xfrm>
            <a:off x="551016" y="3790780"/>
            <a:ext cx="277447" cy="142565"/>
          </a:xfrm>
          <a:prstGeom prst="rect">
            <a:avLst/>
          </a:prstGeom>
          <a:noFill/>
        </p:spPr>
        <p:txBody>
          <a:bodyPr wrap="none" lIns="0" tIns="0" rIns="0" bIns="0" rtlCol="0" anchor="ctr">
            <a:no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pps</a:t>
            </a:r>
          </a:p>
        </p:txBody>
      </p:sp>
      <p:sp>
        <p:nvSpPr>
          <p:cNvPr id="358" name="TextBox 357"/>
          <p:cNvSpPr txBox="1"/>
          <p:nvPr/>
        </p:nvSpPr>
        <p:spPr>
          <a:xfrm>
            <a:off x="371158" y="4854064"/>
            <a:ext cx="637162" cy="285131"/>
          </a:xfrm>
          <a:prstGeom prst="rect">
            <a:avLst/>
          </a:prstGeom>
          <a:noFill/>
        </p:spPr>
        <p:txBody>
          <a:bodyPr wrap="none" lIns="0" tIns="0" rIns="0" bIns="0" rtlCol="0" anchor="ctr">
            <a:no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Sensors</a:t>
            </a:r>
            <a:b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b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nd devices</a:t>
            </a:r>
          </a:p>
        </p:txBody>
      </p:sp>
      <p:sp>
        <p:nvSpPr>
          <p:cNvPr id="359" name="Rectangle 358"/>
          <p:cNvSpPr/>
          <p:nvPr/>
        </p:nvSpPr>
        <p:spPr>
          <a:xfrm>
            <a:off x="390494" y="5334059"/>
            <a:ext cx="686219" cy="236049"/>
          </a:xfrm>
          <a:prstGeom prst="rect">
            <a:avLst/>
          </a:prstGeom>
        </p:spPr>
        <p:txBody>
          <a:bodyPr wrap="none" lIns="0" tIns="0" rIns="0" bIns="0" anchor="ctr">
            <a:noAutofit/>
          </a:bodyPr>
          <a:lstStyle/>
          <a:p>
            <a:pPr algn="ctr" defTabSz="685594" fontAlgn="auto">
              <a:lnSpc>
                <a:spcPct val="90000"/>
              </a:lnSpc>
              <a:spcBef>
                <a:spcPts val="0"/>
              </a:spcBef>
              <a:spcAft>
                <a:spcPts val="0"/>
              </a:spcAft>
              <a:defRPr/>
            </a:pPr>
            <a:r>
              <a:rPr lang="en-US" sz="1765" b="0" kern="0" dirty="0">
                <a:solidFill>
                  <a:srgbClr val="353535"/>
                </a:solidFill>
                <a:latin typeface="Segoe UI Light"/>
                <a:ea typeface="MS PGothic" panose="020B0600070205080204" pitchFamily="34" charset="-128"/>
                <a:cs typeface="+mn-cs"/>
              </a:rPr>
              <a:t>Data</a:t>
            </a:r>
          </a:p>
        </p:txBody>
      </p:sp>
      <p:sp>
        <p:nvSpPr>
          <p:cNvPr id="360" name="Rectangle 359"/>
          <p:cNvSpPr/>
          <p:nvPr/>
        </p:nvSpPr>
        <p:spPr>
          <a:xfrm>
            <a:off x="3609672" y="5316277"/>
            <a:ext cx="1070807" cy="271613"/>
          </a:xfrm>
          <a:prstGeom prst="rect">
            <a:avLst/>
          </a:prstGeom>
        </p:spPr>
        <p:txBody>
          <a:bodyPr wrap="none" lIns="0" tIns="0" rIns="0" bIns="0" anchor="ctr">
            <a:spAutoFit/>
          </a:bodyPr>
          <a:lstStyle/>
          <a:p>
            <a:pPr algn="ctr" defTabSz="532887" fontAlgn="auto">
              <a:spcAft>
                <a:spcPct val="35000"/>
              </a:spcAft>
              <a:defRPr/>
            </a:pPr>
            <a:r>
              <a:rPr lang="en-US" sz="1765" b="0" kern="0" dirty="0">
                <a:solidFill>
                  <a:srgbClr val="353535"/>
                </a:solidFill>
                <a:latin typeface="Segoe UI Light"/>
                <a:ea typeface="MS PGothic" panose="020B0600070205080204" pitchFamily="34" charset="-128"/>
                <a:cs typeface="+mn-cs"/>
              </a:rPr>
              <a:t>Intelligence</a:t>
            </a:r>
            <a:endParaRPr lang="en-US" sz="1350" kern="0" spc="-22" dirty="0">
              <a:solidFill>
                <a:srgbClr val="353535"/>
              </a:solidFill>
              <a:latin typeface="Segoe UI Light"/>
              <a:ea typeface="MS PGothic" panose="020B0600070205080204" pitchFamily="34" charset="-128"/>
              <a:cs typeface="Segoe UI Semilight" panose="020B0402040204020203" pitchFamily="34" charset="0"/>
            </a:endParaRPr>
          </a:p>
        </p:txBody>
      </p:sp>
      <p:cxnSp>
        <p:nvCxnSpPr>
          <p:cNvPr id="361" name="Straight Connector 360"/>
          <p:cNvCxnSpPr/>
          <p:nvPr/>
        </p:nvCxnSpPr>
        <p:spPr>
          <a:xfrm>
            <a:off x="1476384" y="5452083"/>
            <a:ext cx="1747483"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2" name="Group 361"/>
          <p:cNvGrpSpPr/>
          <p:nvPr/>
        </p:nvGrpSpPr>
        <p:grpSpPr>
          <a:xfrm rot="13500000">
            <a:off x="3092341" y="5386378"/>
            <a:ext cx="133406" cy="131412"/>
            <a:chOff x="402446" y="5872915"/>
            <a:chExt cx="292608" cy="288235"/>
          </a:xfrm>
          <a:solidFill>
            <a:srgbClr val="FFFFFF">
              <a:lumMod val="85000"/>
            </a:srgbClr>
          </a:solidFill>
        </p:grpSpPr>
        <p:cxnSp>
          <p:nvCxnSpPr>
            <p:cNvPr id="363" name="Straight Connector 362"/>
            <p:cNvCxnSpPr/>
            <p:nvPr/>
          </p:nvCxnSpPr>
          <p:spPr>
            <a:xfrm>
              <a:off x="412598" y="5872915"/>
              <a:ext cx="0" cy="288235"/>
            </a:xfrm>
            <a:prstGeom prst="line">
              <a:avLst/>
            </a:prstGeom>
            <a:grpFill/>
            <a:ln w="28575" cap="flat" cmpd="sng" algn="ctr">
              <a:solidFill>
                <a:schemeClr val="tx1"/>
              </a:solidFill>
              <a:prstDash val="solid"/>
              <a:headEnd type="none"/>
              <a:tailEnd type="none"/>
            </a:ln>
            <a:effectLst/>
          </p:spPr>
        </p:cxnSp>
        <p:cxnSp>
          <p:nvCxnSpPr>
            <p:cNvPr id="364" name="Straight Connector 363"/>
            <p:cNvCxnSpPr/>
            <p:nvPr/>
          </p:nvCxnSpPr>
          <p:spPr>
            <a:xfrm>
              <a:off x="402446" y="6148978"/>
              <a:ext cx="292608" cy="0"/>
            </a:xfrm>
            <a:prstGeom prst="line">
              <a:avLst/>
            </a:prstGeom>
            <a:grpFill/>
            <a:ln w="28575" cap="flat" cmpd="sng" algn="ctr">
              <a:solidFill>
                <a:schemeClr val="tx1"/>
              </a:solidFill>
              <a:prstDash val="solid"/>
              <a:headEnd type="none"/>
              <a:tailEnd type="none"/>
            </a:ln>
            <a:effectLst/>
          </p:spPr>
        </p:cxnSp>
      </p:grpSp>
      <p:sp>
        <p:nvSpPr>
          <p:cNvPr id="369" name="Rectangle 368"/>
          <p:cNvSpPr/>
          <p:nvPr/>
        </p:nvSpPr>
        <p:spPr>
          <a:xfrm>
            <a:off x="7521990" y="5331571"/>
            <a:ext cx="1102987" cy="241025"/>
          </a:xfrm>
          <a:prstGeom prst="rect">
            <a:avLst/>
          </a:prstGeom>
        </p:spPr>
        <p:txBody>
          <a:bodyPr wrap="none" lIns="0" tIns="0" rIns="0" bIns="0" anchor="ctr">
            <a:noAutofit/>
          </a:bodyPr>
          <a:lstStyle/>
          <a:p>
            <a:pPr algn="ctr" defTabSz="685594" fontAlgn="auto">
              <a:lnSpc>
                <a:spcPct val="90000"/>
              </a:lnSpc>
              <a:spcBef>
                <a:spcPts val="0"/>
              </a:spcBef>
              <a:spcAft>
                <a:spcPts val="0"/>
              </a:spcAft>
              <a:defRPr/>
            </a:pPr>
            <a:r>
              <a:rPr lang="en-US" sz="1765" b="0" kern="0" dirty="0">
                <a:solidFill>
                  <a:srgbClr val="353535"/>
                </a:solidFill>
                <a:latin typeface="Segoe UI Light"/>
                <a:ea typeface="MS PGothic" panose="020B0600070205080204" pitchFamily="34" charset="-128"/>
                <a:cs typeface="+mn-cs"/>
              </a:rPr>
              <a:t>Action</a:t>
            </a:r>
          </a:p>
        </p:txBody>
      </p:sp>
      <p:grpSp>
        <p:nvGrpSpPr>
          <p:cNvPr id="374" name="Group 373"/>
          <p:cNvGrpSpPr/>
          <p:nvPr/>
        </p:nvGrpSpPr>
        <p:grpSpPr>
          <a:xfrm>
            <a:off x="1090461" y="2083118"/>
            <a:ext cx="226736" cy="3086502"/>
            <a:chOff x="1776319" y="1369399"/>
            <a:chExt cx="308472" cy="3830198"/>
          </a:xfrm>
        </p:grpSpPr>
        <p:sp>
          <p:nvSpPr>
            <p:cNvPr id="375" name="Freeform 37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cxnSp>
          <p:nvCxnSpPr>
            <p:cNvPr id="376" name="Straight Connector 375"/>
            <p:cNvCxnSpPr/>
            <p:nvPr/>
          </p:nvCxnSpPr>
          <p:spPr>
            <a:xfrm>
              <a:off x="1776319" y="3284498"/>
              <a:ext cx="308472" cy="0"/>
            </a:xfrm>
            <a:prstGeom prst="line">
              <a:avLst/>
            </a:prstGeom>
            <a:noFill/>
            <a:ln w="12700" cap="flat" cmpd="sng" algn="ctr">
              <a:solidFill>
                <a:schemeClr val="bg1">
                  <a:lumMod val="65000"/>
                </a:schemeClr>
              </a:solidFill>
              <a:prstDash val="solid"/>
              <a:headEnd type="none"/>
              <a:tailEnd type="none"/>
            </a:ln>
            <a:effectLst/>
          </p:spPr>
        </p:cxnSp>
      </p:grpSp>
      <p:grpSp>
        <p:nvGrpSpPr>
          <p:cNvPr id="97" name="Group 96">
            <a:extLst>
              <a:ext uri="{FF2B5EF4-FFF2-40B4-BE49-F238E27FC236}">
                <a16:creationId xmlns:a16="http://schemas.microsoft.com/office/drawing/2014/main" id="{EB3EDC8B-3B02-46E4-9234-8F731CE2E8CD}"/>
              </a:ext>
            </a:extLst>
          </p:cNvPr>
          <p:cNvGrpSpPr/>
          <p:nvPr/>
        </p:nvGrpSpPr>
        <p:grpSpPr>
          <a:xfrm>
            <a:off x="5050753" y="5385381"/>
            <a:ext cx="1748366" cy="133406"/>
            <a:chOff x="7316413" y="6025994"/>
            <a:chExt cx="2377899" cy="181441"/>
          </a:xfrm>
        </p:grpSpPr>
        <p:cxnSp>
          <p:nvCxnSpPr>
            <p:cNvPr id="365" name="Straight Connector 364"/>
            <p:cNvCxnSpPr/>
            <p:nvPr/>
          </p:nvCxnSpPr>
          <p:spPr>
            <a:xfrm>
              <a:off x="7316413" y="6117326"/>
              <a:ext cx="237669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6" name="Group 365"/>
            <p:cNvGrpSpPr/>
            <p:nvPr/>
          </p:nvGrpSpPr>
          <p:grpSpPr>
            <a:xfrm rot="13500000">
              <a:off x="9514227" y="6027350"/>
              <a:ext cx="181441" cy="178729"/>
              <a:chOff x="402446" y="5872915"/>
              <a:chExt cx="292608" cy="288235"/>
            </a:xfrm>
            <a:solidFill>
              <a:srgbClr val="FFFFFF">
                <a:lumMod val="85000"/>
              </a:srgbClr>
            </a:solidFill>
          </p:grpSpPr>
          <p:cxnSp>
            <p:nvCxnSpPr>
              <p:cNvPr id="367" name="Straight Connector 366"/>
              <p:cNvCxnSpPr/>
              <p:nvPr/>
            </p:nvCxnSpPr>
            <p:spPr>
              <a:xfrm>
                <a:off x="412598" y="5872915"/>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368" name="Straight Connector 367"/>
              <p:cNvCxnSpPr/>
              <p:nvPr/>
            </p:nvCxnSpPr>
            <p:spPr>
              <a:xfrm>
                <a:off x="402446" y="614897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grpSp>
      <p:grpSp>
        <p:nvGrpSpPr>
          <p:cNvPr id="96" name="Group 95">
            <a:extLst>
              <a:ext uri="{FF2B5EF4-FFF2-40B4-BE49-F238E27FC236}">
                <a16:creationId xmlns:a16="http://schemas.microsoft.com/office/drawing/2014/main" id="{08F15936-0791-4B56-A450-FD38C221E13D}"/>
              </a:ext>
            </a:extLst>
          </p:cNvPr>
          <p:cNvGrpSpPr/>
          <p:nvPr/>
        </p:nvGrpSpPr>
        <p:grpSpPr>
          <a:xfrm>
            <a:off x="6823452" y="2083118"/>
            <a:ext cx="384686" cy="3086502"/>
            <a:chOff x="9587665" y="1666769"/>
            <a:chExt cx="523200" cy="4197857"/>
          </a:xfrm>
        </p:grpSpPr>
        <p:sp>
          <p:nvSpPr>
            <p:cNvPr id="377" name="Freeform 376"/>
            <p:cNvSpPr/>
            <p:nvPr/>
          </p:nvSpPr>
          <p:spPr bwMode="auto">
            <a:xfrm flipH="1">
              <a:off x="9587665" y="1666769"/>
              <a:ext cx="123819" cy="4197857"/>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cxnSp>
          <p:nvCxnSpPr>
            <p:cNvPr id="378" name="Straight Connector 377"/>
            <p:cNvCxnSpPr>
              <a:cxnSpLocks/>
            </p:cNvCxnSpPr>
            <p:nvPr/>
          </p:nvCxnSpPr>
          <p:spPr>
            <a:xfrm flipH="1">
              <a:off x="9587665" y="3765693"/>
              <a:ext cx="523200" cy="0"/>
            </a:xfrm>
            <a:prstGeom prst="line">
              <a:avLst/>
            </a:prstGeom>
            <a:noFill/>
            <a:ln w="12700" cap="flat" cmpd="sng" algn="ctr">
              <a:solidFill>
                <a:schemeClr val="bg1">
                  <a:lumMod val="65000"/>
                </a:schemeClr>
              </a:solidFill>
              <a:prstDash val="solid"/>
              <a:headEnd type="none"/>
              <a:tailEnd type="none"/>
            </a:ln>
            <a:effectLst/>
          </p:spPr>
        </p:cxnSp>
      </p:grpSp>
      <p:sp>
        <p:nvSpPr>
          <p:cNvPr id="379" name="TextBox 378"/>
          <p:cNvSpPr txBox="1"/>
          <p:nvPr/>
        </p:nvSpPr>
        <p:spPr>
          <a:xfrm>
            <a:off x="7139081" y="2722440"/>
            <a:ext cx="542818" cy="142540"/>
          </a:xfrm>
          <a:prstGeom prst="rect">
            <a:avLst/>
          </a:prstGeom>
          <a:noFill/>
        </p:spPr>
        <p:txBody>
          <a:bodyPr wrap="square" lIns="0" tIns="0" rIns="0" bIns="0" rtlCol="0">
            <a:sp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People</a:t>
            </a:r>
          </a:p>
        </p:txBody>
      </p:sp>
      <p:sp>
        <p:nvSpPr>
          <p:cNvPr id="380" name="TextBox 379"/>
          <p:cNvSpPr txBox="1"/>
          <p:nvPr/>
        </p:nvSpPr>
        <p:spPr>
          <a:xfrm>
            <a:off x="7091388" y="4854063"/>
            <a:ext cx="638203" cy="285078"/>
          </a:xfrm>
          <a:prstGeom prst="rect">
            <a:avLst/>
          </a:prstGeom>
          <a:noFill/>
        </p:spPr>
        <p:txBody>
          <a:bodyPr wrap="square" lIns="0" tIns="0" rIns="0" bIns="0" rtlCol="0">
            <a:sp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utomated </a:t>
            </a:r>
            <a:b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b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Systems</a:t>
            </a:r>
          </a:p>
        </p:txBody>
      </p:sp>
      <p:grpSp>
        <p:nvGrpSpPr>
          <p:cNvPr id="381" name="Group 380"/>
          <p:cNvGrpSpPr/>
          <p:nvPr/>
        </p:nvGrpSpPr>
        <p:grpSpPr>
          <a:xfrm>
            <a:off x="7271853" y="2340912"/>
            <a:ext cx="277273" cy="283234"/>
            <a:chOff x="6112510" y="6954657"/>
            <a:chExt cx="1181100" cy="1206500"/>
          </a:xfrm>
          <a:solidFill>
            <a:schemeClr val="tx1"/>
          </a:solidFill>
        </p:grpSpPr>
        <p:sp>
          <p:nvSpPr>
            <p:cNvPr id="38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grpSp>
      <p:grpSp>
        <p:nvGrpSpPr>
          <p:cNvPr id="386" name="Group 385"/>
          <p:cNvGrpSpPr/>
          <p:nvPr/>
        </p:nvGrpSpPr>
        <p:grpSpPr>
          <a:xfrm>
            <a:off x="7268723" y="4435962"/>
            <a:ext cx="283536" cy="354421"/>
            <a:chOff x="2954338" y="6831013"/>
            <a:chExt cx="1041400" cy="1301750"/>
          </a:xfrm>
          <a:solidFill>
            <a:schemeClr val="tx1"/>
          </a:solidFill>
        </p:grpSpPr>
        <p:sp>
          <p:nvSpPr>
            <p:cNvPr id="38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8"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grpSp>
      <p:sp>
        <p:nvSpPr>
          <p:cNvPr id="390" name="TextBox 389"/>
          <p:cNvSpPr txBox="1"/>
          <p:nvPr/>
        </p:nvSpPr>
        <p:spPr>
          <a:xfrm>
            <a:off x="7193893" y="3790780"/>
            <a:ext cx="433195" cy="142540"/>
          </a:xfrm>
          <a:prstGeom prst="rect">
            <a:avLst/>
          </a:prstGeom>
          <a:noFill/>
        </p:spPr>
        <p:txBody>
          <a:bodyPr wrap="square" lIns="0" tIns="0" rIns="0" bIns="0" rtlCol="0">
            <a:sp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pps</a:t>
            </a:r>
          </a:p>
        </p:txBody>
      </p:sp>
      <p:grpSp>
        <p:nvGrpSpPr>
          <p:cNvPr id="391" name="Group 390"/>
          <p:cNvGrpSpPr/>
          <p:nvPr/>
        </p:nvGrpSpPr>
        <p:grpSpPr>
          <a:xfrm>
            <a:off x="7240554" y="3463751"/>
            <a:ext cx="339873" cy="262896"/>
            <a:chOff x="5007615" y="2323753"/>
            <a:chExt cx="649029" cy="502032"/>
          </a:xfrm>
          <a:solidFill>
            <a:srgbClr val="0078D7"/>
          </a:solidFill>
        </p:grpSpPr>
        <p:sp>
          <p:nvSpPr>
            <p:cNvPr id="408" name="Freeform 40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sp>
          <p:nvSpPr>
            <p:cNvPr id="409" name="Freeform 40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grpSp>
      <p:sp>
        <p:nvSpPr>
          <p:cNvPr id="393" name="Rectangle 392"/>
          <p:cNvSpPr/>
          <p:nvPr/>
        </p:nvSpPr>
        <p:spPr bwMode="auto">
          <a:xfrm>
            <a:off x="7913794" y="3023363"/>
            <a:ext cx="884270" cy="1303819"/>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a:lnSpc>
                <a:spcPct val="90000"/>
              </a:lnSpc>
              <a:defRPr/>
            </a:pPr>
            <a:endParaRPr lang="en-US" sz="1765" b="0" kern="0" dirty="0">
              <a:solidFill>
                <a:srgbClr val="FFFFFF"/>
              </a:solidFill>
              <a:latin typeface="Segoe UI Semilight"/>
              <a:ea typeface="Segoe UI" pitchFamily="34" charset="0"/>
              <a:cs typeface="Segoe UI" pitchFamily="34" charset="0"/>
            </a:endParaRPr>
          </a:p>
        </p:txBody>
      </p:sp>
      <p:sp>
        <p:nvSpPr>
          <p:cNvPr id="394" name="TextBox 393"/>
          <p:cNvSpPr txBox="1"/>
          <p:nvPr/>
        </p:nvSpPr>
        <p:spPr>
          <a:xfrm>
            <a:off x="8277841" y="3181273"/>
            <a:ext cx="347954" cy="135743"/>
          </a:xfrm>
          <a:prstGeom prst="rect">
            <a:avLst/>
          </a:prstGeom>
          <a:noFill/>
        </p:spPr>
        <p:txBody>
          <a:bodyPr wrap="square" lIns="0" tIns="0" rIns="0" bIns="0" rtlCol="0">
            <a:spAutoFit/>
          </a:bodyPr>
          <a:lstStyle/>
          <a:p>
            <a:pPr defTabSz="685437" fontAlgn="auto">
              <a:spcAft>
                <a:spcPts val="441"/>
              </a:spcAft>
              <a:defRPr/>
            </a:pPr>
            <a:r>
              <a:rPr lang="en-US" sz="882" b="0" kern="0" dirty="0">
                <a:solidFill>
                  <a:srgbClr val="353535"/>
                </a:solidFill>
                <a:latin typeface="Segoe UI Semilight"/>
                <a:ea typeface="MS PGothic" panose="020B0600070205080204" pitchFamily="34" charset="-128"/>
                <a:cs typeface="Segoe UI Semilight" panose="020B0402040204020203" pitchFamily="34" charset="0"/>
              </a:rPr>
              <a:t>Web</a:t>
            </a:r>
          </a:p>
        </p:txBody>
      </p:sp>
      <p:sp>
        <p:nvSpPr>
          <p:cNvPr id="395" name="TextBox 394"/>
          <p:cNvSpPr txBox="1"/>
          <p:nvPr/>
        </p:nvSpPr>
        <p:spPr>
          <a:xfrm>
            <a:off x="8277841" y="3585266"/>
            <a:ext cx="347954" cy="135743"/>
          </a:xfrm>
          <a:prstGeom prst="rect">
            <a:avLst/>
          </a:prstGeom>
          <a:noFill/>
        </p:spPr>
        <p:txBody>
          <a:bodyPr wrap="square" lIns="0" tIns="0" rIns="0" bIns="0" rtlCol="0">
            <a:spAutoFit/>
          </a:bodyPr>
          <a:lstStyle/>
          <a:p>
            <a:pPr defTabSz="685437" fontAlgn="auto">
              <a:spcAft>
                <a:spcPts val="441"/>
              </a:spcAft>
              <a:defRPr/>
            </a:pPr>
            <a:r>
              <a:rPr lang="en-US" sz="882" b="0" kern="0" dirty="0">
                <a:solidFill>
                  <a:srgbClr val="353535"/>
                </a:solidFill>
                <a:latin typeface="Segoe UI Semilight"/>
                <a:ea typeface="MS PGothic" panose="020B0600070205080204" pitchFamily="34" charset="-128"/>
                <a:cs typeface="Segoe UI Semilight" panose="020B0402040204020203" pitchFamily="34" charset="0"/>
              </a:rPr>
              <a:t>Mobile</a:t>
            </a:r>
          </a:p>
        </p:txBody>
      </p:sp>
      <p:sp>
        <p:nvSpPr>
          <p:cNvPr id="396" name="TextBox 395"/>
          <p:cNvSpPr txBox="1"/>
          <p:nvPr/>
        </p:nvSpPr>
        <p:spPr>
          <a:xfrm>
            <a:off x="8277841" y="4017623"/>
            <a:ext cx="347954" cy="135743"/>
          </a:xfrm>
          <a:prstGeom prst="rect">
            <a:avLst/>
          </a:prstGeom>
          <a:noFill/>
        </p:spPr>
        <p:txBody>
          <a:bodyPr wrap="square" lIns="0" tIns="0" rIns="0" bIns="0" rtlCol="0">
            <a:spAutoFit/>
          </a:bodyPr>
          <a:lstStyle/>
          <a:p>
            <a:pPr defTabSz="685437" fontAlgn="auto">
              <a:spcAft>
                <a:spcPts val="441"/>
              </a:spcAft>
              <a:defRPr/>
            </a:pPr>
            <a:r>
              <a:rPr lang="en-US" sz="882" b="0" kern="0" dirty="0">
                <a:solidFill>
                  <a:srgbClr val="353535"/>
                </a:solidFill>
                <a:latin typeface="Segoe UI Semilight"/>
                <a:ea typeface="MS PGothic" panose="020B0600070205080204" pitchFamily="34" charset="-128"/>
                <a:cs typeface="Segoe UI Semilight" panose="020B0402040204020203" pitchFamily="34" charset="0"/>
              </a:rPr>
              <a:t>Bots</a:t>
            </a:r>
          </a:p>
        </p:txBody>
      </p:sp>
      <p:sp>
        <p:nvSpPr>
          <p:cNvPr id="397" name="Freeform 396"/>
          <p:cNvSpPr>
            <a:spLocks noChangeArrowheads="1"/>
          </p:cNvSpPr>
          <p:nvPr/>
        </p:nvSpPr>
        <p:spPr bwMode="auto">
          <a:xfrm>
            <a:off x="7999126" y="3170398"/>
            <a:ext cx="157337" cy="157336"/>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98" name="Freeform 397"/>
          <p:cNvSpPr>
            <a:spLocks/>
          </p:cNvSpPr>
          <p:nvPr/>
        </p:nvSpPr>
        <p:spPr bwMode="auto">
          <a:xfrm>
            <a:off x="8022439" y="3576622"/>
            <a:ext cx="110003" cy="19766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06" name="Freeform 405"/>
          <p:cNvSpPr/>
          <p:nvPr/>
        </p:nvSpPr>
        <p:spPr bwMode="auto">
          <a:xfrm>
            <a:off x="7979066" y="4013993"/>
            <a:ext cx="208253" cy="117525"/>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chemeClr val="tx1"/>
          </a:solidFill>
          <a:ln w="3175" cap="flat" cmpd="sng" algn="ctr">
            <a:solidFill>
              <a:schemeClr val="tx1"/>
            </a:solidFill>
            <a:prstDash val="solid"/>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a:lnSpc>
                <a:spcPct val="90000"/>
              </a:lnSpc>
              <a:defRPr/>
            </a:pPr>
            <a:endParaRPr lang="en-US" sz="1765" b="0" kern="0" dirty="0">
              <a:solidFill>
                <a:srgbClr val="FFFFFF"/>
              </a:solidFill>
              <a:latin typeface="Segoe UI Semilight"/>
              <a:ea typeface="Segoe UI" pitchFamily="34" charset="0"/>
              <a:cs typeface="Segoe UI" pitchFamily="34" charset="0"/>
            </a:endParaRPr>
          </a:p>
        </p:txBody>
      </p:sp>
      <p:cxnSp>
        <p:nvCxnSpPr>
          <p:cNvPr id="407" name="Straight Connector 406"/>
          <p:cNvCxnSpPr/>
          <p:nvPr/>
        </p:nvCxnSpPr>
        <p:spPr>
          <a:xfrm flipH="1">
            <a:off x="7681510" y="3609747"/>
            <a:ext cx="226736" cy="0"/>
          </a:xfrm>
          <a:prstGeom prst="line">
            <a:avLst/>
          </a:prstGeom>
          <a:noFill/>
          <a:ln w="9525" cap="flat" cmpd="sng" algn="ctr">
            <a:solidFill>
              <a:srgbClr val="FFFFFF">
                <a:lumMod val="65000"/>
              </a:srgbClr>
            </a:solidFill>
            <a:prstDash val="solid"/>
            <a:headEnd type="none" w="med" len="med"/>
            <a:tailEnd type="none" w="med" len="med"/>
          </a:ln>
          <a:effectLst/>
        </p:spPr>
      </p:cxnSp>
      <p:sp>
        <p:nvSpPr>
          <p:cNvPr id="411" name="Rectangle 410"/>
          <p:cNvSpPr/>
          <p:nvPr/>
        </p:nvSpPr>
        <p:spPr>
          <a:xfrm>
            <a:off x="3153024" y="3182641"/>
            <a:ext cx="934231" cy="2484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SQL Data </a:t>
            </a:r>
          </a:p>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Warehouse</a:t>
            </a:r>
          </a:p>
        </p:txBody>
      </p:sp>
      <p:sp>
        <p:nvSpPr>
          <p:cNvPr id="412" name="Rectangle 411"/>
          <p:cNvSpPr/>
          <p:nvPr/>
        </p:nvSpPr>
        <p:spPr>
          <a:xfrm>
            <a:off x="1779808" y="3196637"/>
            <a:ext cx="780170"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Catalog</a:t>
            </a:r>
          </a:p>
        </p:txBody>
      </p:sp>
      <p:sp>
        <p:nvSpPr>
          <p:cNvPr id="417" name="Rectangle 416"/>
          <p:cNvSpPr/>
          <p:nvPr/>
        </p:nvSpPr>
        <p:spPr>
          <a:xfrm>
            <a:off x="4536787" y="3076476"/>
            <a:ext cx="768959" cy="2484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Lake Analytics</a:t>
            </a:r>
          </a:p>
        </p:txBody>
      </p:sp>
      <p:grpSp>
        <p:nvGrpSpPr>
          <p:cNvPr id="418" name="Group 417"/>
          <p:cNvGrpSpPr/>
          <p:nvPr/>
        </p:nvGrpSpPr>
        <p:grpSpPr>
          <a:xfrm>
            <a:off x="4219776" y="3094602"/>
            <a:ext cx="162178" cy="212147"/>
            <a:chOff x="3473450" y="4579938"/>
            <a:chExt cx="1741488" cy="2278062"/>
          </a:xfrm>
          <a:solidFill>
            <a:srgbClr val="FFFFFF"/>
          </a:solidFill>
        </p:grpSpPr>
        <p:sp>
          <p:nvSpPr>
            <p:cNvPr id="419"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sp>
          <p:nvSpPr>
            <p:cNvPr id="420"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sp>
          <p:nvSpPr>
            <p:cNvPr id="421"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grpSp>
      <p:sp>
        <p:nvSpPr>
          <p:cNvPr id="422" name="Rectangle 421"/>
          <p:cNvSpPr/>
          <p:nvPr/>
        </p:nvSpPr>
        <p:spPr>
          <a:xfrm>
            <a:off x="1779808" y="2720237"/>
            <a:ext cx="780170"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Factory </a:t>
            </a:r>
          </a:p>
        </p:txBody>
      </p:sp>
      <p:sp>
        <p:nvSpPr>
          <p:cNvPr id="423" name="Rectangle 422"/>
          <p:cNvSpPr/>
          <p:nvPr/>
        </p:nvSpPr>
        <p:spPr>
          <a:xfrm>
            <a:off x="4536787" y="2626380"/>
            <a:ext cx="768959" cy="2484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Machine Learning</a:t>
            </a:r>
          </a:p>
        </p:txBody>
      </p:sp>
      <p:sp>
        <p:nvSpPr>
          <p:cNvPr id="424" name="Rectangle 423"/>
          <p:cNvSpPr/>
          <p:nvPr/>
        </p:nvSpPr>
        <p:spPr>
          <a:xfrm>
            <a:off x="3153023" y="2805789"/>
            <a:ext cx="816192"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Lake</a:t>
            </a:r>
          </a:p>
        </p:txBody>
      </p:sp>
      <p:grpSp>
        <p:nvGrpSpPr>
          <p:cNvPr id="425" name="Group 424"/>
          <p:cNvGrpSpPr/>
          <p:nvPr/>
        </p:nvGrpSpPr>
        <p:grpSpPr>
          <a:xfrm>
            <a:off x="2874353" y="2741780"/>
            <a:ext cx="144675" cy="152100"/>
            <a:chOff x="4106551" y="3401141"/>
            <a:chExt cx="254631" cy="267699"/>
          </a:xfrm>
        </p:grpSpPr>
        <p:sp>
          <p:nvSpPr>
            <p:cNvPr id="427" name="Rectangle 426"/>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8" name="Rectangle 427"/>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9" name="Oval 428"/>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0" name="Oval 429"/>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1" name="Rectangle 430"/>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2" name="Rectangle 431"/>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3" name="Oval 432"/>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4" name="Oval 433"/>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5" name="Rectangle 434"/>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6" name="Rectangle 435"/>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7" name="Oval 436"/>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8" name="Oval 437"/>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9" name="Rectangle 438"/>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0" name="Rectangle 439"/>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1" name="Oval 440"/>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2" name="Oval 441"/>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7" name="Rectangle 446"/>
          <p:cNvSpPr/>
          <p:nvPr/>
        </p:nvSpPr>
        <p:spPr>
          <a:xfrm>
            <a:off x="5904366" y="4785735"/>
            <a:ext cx="743282" cy="124521"/>
          </a:xfrm>
          <a:prstGeom prst="rect">
            <a:avLst/>
          </a:prstGeom>
        </p:spPr>
        <p:txBody>
          <a:bodyPr wrap="square" lIns="0" tIns="0" rIns="0" bIns="0">
            <a:spAutoFit/>
          </a:bodyPr>
          <a:lstStyle/>
          <a:p>
            <a:pPr defTabSz="685594" fontAlgn="auto">
              <a:spcBef>
                <a:spcPts val="0"/>
              </a:spcBef>
              <a:spcAft>
                <a:spcPts val="0"/>
              </a:spcAft>
              <a:defRPr/>
            </a:pPr>
            <a:r>
              <a:rPr lang="en-US" sz="809" b="0" kern="0" dirty="0">
                <a:solidFill>
                  <a:srgbClr val="FFFFFF"/>
                </a:solidFill>
                <a:latin typeface="Segoe UI Semilight"/>
                <a:ea typeface="MS PGothic" panose="020B0600070205080204" pitchFamily="34" charset="-128"/>
                <a:cs typeface="Segoe UI Semilight" panose="020B0402040204020203" pitchFamily="34" charset="0"/>
              </a:rPr>
              <a:t>Power BI</a:t>
            </a:r>
          </a:p>
        </p:txBody>
      </p:sp>
      <p:grpSp>
        <p:nvGrpSpPr>
          <p:cNvPr id="455" name="Group 454"/>
          <p:cNvGrpSpPr/>
          <p:nvPr/>
        </p:nvGrpSpPr>
        <p:grpSpPr>
          <a:xfrm>
            <a:off x="4172937" y="4008692"/>
            <a:ext cx="259212" cy="199122"/>
            <a:chOff x="1260022" y="5196402"/>
            <a:chExt cx="3273425" cy="2514600"/>
          </a:xfrm>
          <a:solidFill>
            <a:srgbClr val="FFFFFF"/>
          </a:solidFill>
        </p:grpSpPr>
        <p:sp>
          <p:nvSpPr>
            <p:cNvPr id="456" name="Freeform 4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sp>
          <p:nvSpPr>
            <p:cNvPr id="457" name="Freeform 4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sp>
          <p:nvSpPr>
            <p:cNvPr id="458" name="Freeform 4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sp>
          <p:nvSpPr>
            <p:cNvPr id="459" name="Freeform 4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grpSp>
      <p:sp>
        <p:nvSpPr>
          <p:cNvPr id="462" name="Freeform 461"/>
          <p:cNvSpPr/>
          <p:nvPr/>
        </p:nvSpPr>
        <p:spPr bwMode="auto">
          <a:xfrm>
            <a:off x="1505824" y="3599750"/>
            <a:ext cx="170213" cy="178122"/>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a:defRPr/>
            </a:pPr>
            <a:endParaRPr lang="en-US" sz="1765" b="0" kern="0" dirty="0">
              <a:solidFill>
                <a:srgbClr val="FFFFFF"/>
              </a:solidFill>
              <a:latin typeface="Segoe UI"/>
              <a:ea typeface="Segoe UI" pitchFamily="34" charset="0"/>
              <a:cs typeface="Segoe UI" pitchFamily="34" charset="0"/>
            </a:endParaRPr>
          </a:p>
        </p:txBody>
      </p:sp>
      <p:sp>
        <p:nvSpPr>
          <p:cNvPr id="463" name="Freeform 462"/>
          <p:cNvSpPr/>
          <p:nvPr/>
        </p:nvSpPr>
        <p:spPr bwMode="auto">
          <a:xfrm flipH="1">
            <a:off x="4205692" y="2646641"/>
            <a:ext cx="196439" cy="20788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a:defRPr/>
            </a:pPr>
            <a:endParaRPr lang="en-US" sz="1765" b="0" kern="0" dirty="0">
              <a:solidFill>
                <a:srgbClr val="FFFFFF"/>
              </a:solidFill>
              <a:latin typeface="Segoe UI"/>
              <a:ea typeface="Segoe UI" pitchFamily="34" charset="0"/>
              <a:cs typeface="Segoe UI" pitchFamily="34" charset="0"/>
            </a:endParaRPr>
          </a:p>
        </p:txBody>
      </p:sp>
      <p:grpSp>
        <p:nvGrpSpPr>
          <p:cNvPr id="468" name="Group 467"/>
          <p:cNvGrpSpPr/>
          <p:nvPr/>
        </p:nvGrpSpPr>
        <p:grpSpPr>
          <a:xfrm>
            <a:off x="497882" y="3328483"/>
            <a:ext cx="383714" cy="392173"/>
            <a:chOff x="2308225" y="7734300"/>
            <a:chExt cx="1368425" cy="1398588"/>
          </a:xfrm>
          <a:solidFill>
            <a:schemeClr val="tx1"/>
          </a:solidFill>
        </p:grpSpPr>
        <p:sp>
          <p:nvSpPr>
            <p:cNvPr id="469"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0"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1"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2"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3"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4"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5"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6"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7"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8"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9"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grpSp>
      <p:sp>
        <p:nvSpPr>
          <p:cNvPr id="480" name="Freeform 479"/>
          <p:cNvSpPr>
            <a:spLocks noChangeAspect="1"/>
          </p:cNvSpPr>
          <p:nvPr/>
        </p:nvSpPr>
        <p:spPr bwMode="auto">
          <a:xfrm>
            <a:off x="541045" y="4362222"/>
            <a:ext cx="252512" cy="428161"/>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175" b="0" kern="0" dirty="0">
              <a:solidFill>
                <a:srgbClr val="FFFFFF"/>
              </a:solidFill>
              <a:latin typeface="Segoe UI Semilight"/>
              <a:ea typeface="MS PGothic" panose="020B0600070205080204" pitchFamily="34" charset="-128"/>
              <a:cs typeface="+mn-cs"/>
            </a:endParaRPr>
          </a:p>
        </p:txBody>
      </p:sp>
      <p:sp>
        <p:nvSpPr>
          <p:cNvPr id="127" name="Rectangle 126"/>
          <p:cNvSpPr/>
          <p:nvPr/>
        </p:nvSpPr>
        <p:spPr bwMode="auto">
          <a:xfrm>
            <a:off x="5468448" y="2076547"/>
            <a:ext cx="1314531" cy="1170041"/>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telligence</a:t>
            </a:r>
          </a:p>
        </p:txBody>
      </p:sp>
      <p:sp>
        <p:nvSpPr>
          <p:cNvPr id="128" name="Rectangle 127"/>
          <p:cNvSpPr/>
          <p:nvPr/>
        </p:nvSpPr>
        <p:spPr>
          <a:xfrm>
            <a:off x="5904367" y="3015784"/>
            <a:ext cx="741943" cy="124521"/>
          </a:xfrm>
          <a:prstGeom prst="rect">
            <a:avLst/>
          </a:prstGeom>
        </p:spPr>
        <p:txBody>
          <a:bodyPr wrap="square" lIns="0" tIns="0" rIns="0" bIns="0">
            <a:spAutoFit/>
          </a:bodyPr>
          <a:lstStyle/>
          <a:p>
            <a:pPr defTabSz="672097" fontAlgn="auto">
              <a:spcBef>
                <a:spcPts val="0"/>
              </a:spcBef>
              <a:spcAft>
                <a:spcPts val="0"/>
              </a:spcAft>
              <a:defRPr/>
            </a:pPr>
            <a:r>
              <a:rPr lang="en-US" sz="809" b="0" kern="0" dirty="0">
                <a:solidFill>
                  <a:srgbClr val="FFFFFF"/>
                </a:solidFill>
                <a:latin typeface="Segoe UI Semilight"/>
                <a:cs typeface="Segoe UI Semilight" panose="020B0402040204020203" pitchFamily="34" charset="0"/>
              </a:rPr>
              <a:t>Cortana</a:t>
            </a:r>
          </a:p>
        </p:txBody>
      </p:sp>
      <p:grpSp>
        <p:nvGrpSpPr>
          <p:cNvPr id="129" name="Group 128"/>
          <p:cNvGrpSpPr/>
          <p:nvPr/>
        </p:nvGrpSpPr>
        <p:grpSpPr>
          <a:xfrm>
            <a:off x="5584165" y="2969817"/>
            <a:ext cx="216302" cy="216302"/>
            <a:chOff x="3236100" y="589298"/>
            <a:chExt cx="5641200" cy="5641200"/>
          </a:xfrm>
        </p:grpSpPr>
        <p:sp>
          <p:nvSpPr>
            <p:cNvPr id="130" name="Freeform 34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fontAlgn="auto">
                <a:spcBef>
                  <a:spcPts val="0"/>
                </a:spcBef>
                <a:spcAft>
                  <a:spcPts val="0"/>
                </a:spcAft>
                <a:defRPr/>
              </a:pPr>
              <a:endParaRPr lang="en-US" sz="2646" b="0" kern="0" dirty="0">
                <a:solidFill>
                  <a:srgbClr val="FFFFFF"/>
                </a:solidFill>
                <a:latin typeface="Segoe UI"/>
                <a:ea typeface="Segoe UI" pitchFamily="34" charset="0"/>
                <a:cs typeface="Segoe UI" pitchFamily="34" charset="0"/>
              </a:endParaRPr>
            </a:p>
          </p:txBody>
        </p:sp>
        <p:sp>
          <p:nvSpPr>
            <p:cNvPr id="131" name="Freeform 34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fontAlgn="auto">
                <a:spcBef>
                  <a:spcPts val="0"/>
                </a:spcBef>
                <a:spcAft>
                  <a:spcPts val="0"/>
                </a:spcAft>
                <a:defRPr/>
              </a:pPr>
              <a:endParaRPr lang="en-US" sz="2646" b="0" kern="0" dirty="0">
                <a:solidFill>
                  <a:srgbClr val="FFFFFF"/>
                </a:solidFill>
                <a:latin typeface="Segoe UI"/>
                <a:ea typeface="Segoe UI" pitchFamily="34" charset="0"/>
                <a:cs typeface="Segoe UI" pitchFamily="34" charset="0"/>
              </a:endParaRPr>
            </a:p>
          </p:txBody>
        </p:sp>
      </p:grpSp>
      <p:grpSp>
        <p:nvGrpSpPr>
          <p:cNvPr id="132" name="Group 131"/>
          <p:cNvGrpSpPr/>
          <p:nvPr/>
        </p:nvGrpSpPr>
        <p:grpSpPr>
          <a:xfrm>
            <a:off x="5545915" y="2384095"/>
            <a:ext cx="292799" cy="187748"/>
            <a:chOff x="7822816" y="2717080"/>
            <a:chExt cx="427431" cy="274077"/>
          </a:xfrm>
        </p:grpSpPr>
        <p:sp>
          <p:nvSpPr>
            <p:cNvPr id="133" name="Freeform 44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67203" tIns="33602" rIns="67203" bIns="33602" numCol="1" anchor="t" anchorCtr="0" compatLnSpc="1">
              <a:prstTxWarp prst="textNoShape">
                <a:avLst/>
              </a:prstTxWarp>
              <a:noAutofit/>
            </a:bodyPr>
            <a:lstStyle/>
            <a:p>
              <a:pPr defTabSz="672097" fontAlgn="auto">
                <a:spcBef>
                  <a:spcPts val="0"/>
                </a:spcBef>
                <a:spcAft>
                  <a:spcPts val="0"/>
                </a:spcAft>
                <a:defRPr/>
              </a:pPr>
              <a:endParaRPr lang="en-US" sz="1325" b="0" kern="0" dirty="0">
                <a:solidFill>
                  <a:srgbClr val="FFFFFF"/>
                </a:solidFill>
                <a:latin typeface="Segoe UI"/>
                <a:cs typeface="+mn-cs"/>
              </a:endParaRPr>
            </a:p>
          </p:txBody>
        </p:sp>
        <p:sp>
          <p:nvSpPr>
            <p:cNvPr id="13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67203" tIns="33602" rIns="67203" bIns="33602" numCol="1" anchor="t" anchorCtr="0" compatLnSpc="1">
              <a:prstTxWarp prst="textNoShape">
                <a:avLst/>
              </a:prstTxWarp>
            </a:bodyPr>
            <a:lstStyle/>
            <a:p>
              <a:pPr defTabSz="672097" fontAlgn="auto">
                <a:spcBef>
                  <a:spcPts val="0"/>
                </a:spcBef>
                <a:spcAft>
                  <a:spcPts val="0"/>
                </a:spcAft>
                <a:defRPr/>
              </a:pPr>
              <a:endParaRPr lang="en-US" sz="1325" b="0" kern="0" dirty="0">
                <a:solidFill>
                  <a:srgbClr val="FFFFFF"/>
                </a:solidFill>
                <a:latin typeface="Segoe UI"/>
                <a:cs typeface="+mn-cs"/>
              </a:endParaRPr>
            </a:p>
          </p:txBody>
        </p:sp>
      </p:grpSp>
      <p:sp>
        <p:nvSpPr>
          <p:cNvPr id="135" name="Freeform 453"/>
          <p:cNvSpPr/>
          <p:nvPr/>
        </p:nvSpPr>
        <p:spPr bwMode="auto">
          <a:xfrm>
            <a:off x="5564436" y="2705172"/>
            <a:ext cx="255759" cy="17385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03" tIns="33602" rIns="67203" bIns="33602" numCol="1" spcCol="0" rtlCol="0" fromWordArt="0" anchor="ctr" anchorCtr="0" forceAA="0" compatLnSpc="1">
            <a:prstTxWarp prst="textNoShape">
              <a:avLst/>
            </a:prstTxWarp>
            <a:noAutofit/>
          </a:bodyPr>
          <a:lstStyle/>
          <a:p>
            <a:pPr algn="ctr" defTabSz="685381" fontAlgn="auto">
              <a:spcBef>
                <a:spcPts val="0"/>
              </a:spcBef>
              <a:spcAft>
                <a:spcPts val="0"/>
              </a:spcAft>
              <a:defRPr/>
            </a:pPr>
            <a:endParaRPr lang="en-US" sz="1765" b="0" kern="0" dirty="0">
              <a:solidFill>
                <a:srgbClr val="FFFFFF"/>
              </a:solidFill>
              <a:latin typeface="Segoe UI"/>
              <a:ea typeface="Segoe UI" pitchFamily="34" charset="0"/>
              <a:cs typeface="Segoe UI" pitchFamily="34" charset="0"/>
            </a:endParaRPr>
          </a:p>
        </p:txBody>
      </p:sp>
      <p:sp>
        <p:nvSpPr>
          <p:cNvPr id="136" name="Rectangle 135"/>
          <p:cNvSpPr/>
          <p:nvPr/>
        </p:nvSpPr>
        <p:spPr bwMode="auto">
          <a:xfrm>
            <a:off x="5468448" y="3268997"/>
            <a:ext cx="1314531" cy="1075710"/>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Business Scenarios</a:t>
            </a:r>
          </a:p>
        </p:txBody>
      </p:sp>
      <p:sp>
        <p:nvSpPr>
          <p:cNvPr id="138" name="Rectangle 137"/>
          <p:cNvSpPr/>
          <p:nvPr/>
        </p:nvSpPr>
        <p:spPr>
          <a:xfrm>
            <a:off x="5904366" y="3685373"/>
            <a:ext cx="800176" cy="373564"/>
          </a:xfrm>
          <a:prstGeom prst="rect">
            <a:avLst/>
          </a:prstGeom>
        </p:spPr>
        <p:txBody>
          <a:bodyPr wrap="square" lIns="0" tIns="0" rIns="0" bIns="0">
            <a:spAutoFit/>
          </a:bodyPr>
          <a:lstStyle/>
          <a:p>
            <a:pPr defTabSz="685316" fontAlgn="auto">
              <a:spcBef>
                <a:spcPts val="0"/>
              </a:spcBef>
              <a:spcAft>
                <a:spcPts val="0"/>
              </a:spcAft>
              <a:defRPr/>
            </a:pPr>
            <a:r>
              <a:rPr lang="en-US" sz="809" b="0" kern="0" spc="-22" dirty="0">
                <a:solidFill>
                  <a:srgbClr val="FFFFFF"/>
                </a:solidFill>
                <a:latin typeface="Segoe UI Semilight"/>
                <a:cs typeface="Segoe UI Semilight" panose="020B0402040204020203" pitchFamily="34" charset="0"/>
              </a:rPr>
              <a:t>Recommendations,</a:t>
            </a:r>
          </a:p>
          <a:p>
            <a:pPr defTabSz="685316" fontAlgn="auto">
              <a:spcBef>
                <a:spcPts val="0"/>
              </a:spcBef>
              <a:spcAft>
                <a:spcPts val="0"/>
              </a:spcAft>
              <a:defRPr/>
            </a:pPr>
            <a:r>
              <a:rPr lang="en-US" sz="809" b="0" kern="0" spc="-22" dirty="0">
                <a:solidFill>
                  <a:srgbClr val="FFFFFF"/>
                </a:solidFill>
                <a:latin typeface="Segoe UI Semilight"/>
                <a:cs typeface="Segoe UI Semilight" panose="020B0402040204020203" pitchFamily="34" charset="0"/>
              </a:rPr>
              <a:t>customer churn,</a:t>
            </a:r>
          </a:p>
          <a:p>
            <a:pPr defTabSz="685316" fontAlgn="auto">
              <a:spcBef>
                <a:spcPts val="0"/>
              </a:spcBef>
              <a:spcAft>
                <a:spcPts val="0"/>
              </a:spcAft>
              <a:defRPr/>
            </a:pPr>
            <a:r>
              <a:rPr lang="en-US" sz="809" b="0" kern="0" spc="-22" dirty="0">
                <a:solidFill>
                  <a:srgbClr val="FFFFFF"/>
                </a:solidFill>
                <a:latin typeface="Segoe UI Semilight"/>
                <a:cs typeface="Segoe UI Semilight" panose="020B0402040204020203" pitchFamily="34" charset="0"/>
              </a:rPr>
              <a:t>forecasting, etc.</a:t>
            </a:r>
          </a:p>
        </p:txBody>
      </p:sp>
      <p:sp>
        <p:nvSpPr>
          <p:cNvPr id="146" name="Rectangle 145"/>
          <p:cNvSpPr/>
          <p:nvPr/>
        </p:nvSpPr>
        <p:spPr>
          <a:xfrm>
            <a:off x="5904367" y="2667579"/>
            <a:ext cx="741943" cy="249043"/>
          </a:xfrm>
          <a:prstGeom prst="rect">
            <a:avLst/>
          </a:prstGeom>
        </p:spPr>
        <p:txBody>
          <a:bodyPr wrap="square" lIns="0" tIns="0" rIns="0" bIns="0" anchor="ctr">
            <a:spAutoFit/>
          </a:bodyPr>
          <a:lstStyle/>
          <a:p>
            <a:pPr defTabSz="672097" fontAlgn="auto">
              <a:spcBef>
                <a:spcPts val="0"/>
              </a:spcBef>
              <a:spcAft>
                <a:spcPts val="0"/>
              </a:spcAft>
              <a:defRPr/>
            </a:pPr>
            <a:r>
              <a:rPr lang="en-US" sz="809" b="0" kern="0" dirty="0">
                <a:solidFill>
                  <a:srgbClr val="FFFFFF"/>
                </a:solidFill>
                <a:latin typeface="Segoe UI Semilight"/>
                <a:cs typeface="Segoe UI Semilight" panose="020B0402040204020203" pitchFamily="34" charset="0"/>
              </a:rPr>
              <a:t>Bot </a:t>
            </a:r>
            <a:br>
              <a:rPr lang="en-US" sz="809" b="0" kern="0" dirty="0">
                <a:solidFill>
                  <a:srgbClr val="FFFFFF"/>
                </a:solidFill>
                <a:latin typeface="Segoe UI Semilight"/>
                <a:cs typeface="Segoe UI Semilight" panose="020B0402040204020203" pitchFamily="34" charset="0"/>
              </a:rPr>
            </a:br>
            <a:r>
              <a:rPr lang="en-US" sz="809" b="0" kern="0" dirty="0">
                <a:solidFill>
                  <a:srgbClr val="FFFFFF"/>
                </a:solidFill>
                <a:latin typeface="Segoe UI Semilight"/>
                <a:cs typeface="Segoe UI Semilight" panose="020B0402040204020203" pitchFamily="34" charset="0"/>
              </a:rPr>
              <a:t>Framework</a:t>
            </a:r>
          </a:p>
        </p:txBody>
      </p:sp>
      <p:sp>
        <p:nvSpPr>
          <p:cNvPr id="147" name="Rectangle 146"/>
          <p:cNvSpPr/>
          <p:nvPr/>
        </p:nvSpPr>
        <p:spPr>
          <a:xfrm>
            <a:off x="5904367" y="2353507"/>
            <a:ext cx="741943" cy="249043"/>
          </a:xfrm>
          <a:prstGeom prst="rect">
            <a:avLst/>
          </a:prstGeom>
        </p:spPr>
        <p:txBody>
          <a:bodyPr wrap="square" lIns="0" tIns="0" rIns="0" bIns="0">
            <a:spAutoFit/>
          </a:bodyPr>
          <a:lstStyle/>
          <a:p>
            <a:pPr defTabSz="672097" fontAlgn="auto">
              <a:spcBef>
                <a:spcPts val="0"/>
              </a:spcBef>
              <a:spcAft>
                <a:spcPts val="0"/>
              </a:spcAft>
              <a:defRPr/>
            </a:pPr>
            <a:r>
              <a:rPr lang="en-US" sz="809" b="0" kern="0" dirty="0">
                <a:solidFill>
                  <a:srgbClr val="FFFFFF"/>
                </a:solidFill>
                <a:latin typeface="Segoe UI Semilight"/>
                <a:cs typeface="Segoe UI Semilight" panose="020B0402040204020203" pitchFamily="34" charset="0"/>
              </a:rPr>
              <a:t>Cognitive</a:t>
            </a:r>
            <a:br>
              <a:rPr lang="en-US" sz="809" b="0" kern="0" dirty="0">
                <a:solidFill>
                  <a:srgbClr val="FFFFFF"/>
                </a:solidFill>
                <a:latin typeface="Segoe UI Semilight"/>
                <a:cs typeface="Segoe UI Semilight" panose="020B0402040204020203" pitchFamily="34" charset="0"/>
              </a:rPr>
            </a:br>
            <a:r>
              <a:rPr lang="en-US" sz="809" b="0" kern="0" dirty="0">
                <a:solidFill>
                  <a:srgbClr val="FFFFFF"/>
                </a:solidFill>
                <a:latin typeface="Segoe UI Semilight"/>
                <a:cs typeface="Segoe UI Semilight" panose="020B0402040204020203" pitchFamily="34" charset="0"/>
              </a:rPr>
              <a:t>Services</a:t>
            </a:r>
          </a:p>
        </p:txBody>
      </p:sp>
      <p:pic>
        <p:nvPicPr>
          <p:cNvPr id="149" name="Picture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7967" y="3149931"/>
            <a:ext cx="313820" cy="313820"/>
          </a:xfrm>
          <a:prstGeom prst="rect">
            <a:avLst/>
          </a:prstGeom>
        </p:spPr>
      </p:pic>
      <p:pic>
        <p:nvPicPr>
          <p:cNvPr id="150" name="Picture 1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05986" y="2738202"/>
            <a:ext cx="259376" cy="259376"/>
          </a:xfrm>
          <a:prstGeom prst="rect">
            <a:avLst/>
          </a:prstGeom>
        </p:spPr>
      </p:pic>
      <p:grpSp>
        <p:nvGrpSpPr>
          <p:cNvPr id="98" name="Group 97">
            <a:extLst>
              <a:ext uri="{FF2B5EF4-FFF2-40B4-BE49-F238E27FC236}">
                <a16:creationId xmlns:a16="http://schemas.microsoft.com/office/drawing/2014/main" id="{1A18EBB6-969A-436E-AC6F-22CD10609163}"/>
              </a:ext>
            </a:extLst>
          </p:cNvPr>
          <p:cNvGrpSpPr/>
          <p:nvPr/>
        </p:nvGrpSpPr>
        <p:grpSpPr>
          <a:xfrm>
            <a:off x="2791723" y="3587986"/>
            <a:ext cx="1226827" cy="287902"/>
            <a:chOff x="4104234" y="3713494"/>
            <a:chExt cx="1668570" cy="391566"/>
          </a:xfrm>
        </p:grpSpPr>
        <p:sp>
          <p:nvSpPr>
            <p:cNvPr id="148" name="Rectangle 147"/>
            <p:cNvSpPr/>
            <p:nvPr/>
          </p:nvSpPr>
          <p:spPr>
            <a:xfrm>
              <a:off x="4502185" y="3755390"/>
              <a:ext cx="1270619" cy="294501"/>
            </a:xfrm>
            <a:prstGeom prst="rect">
              <a:avLst/>
            </a:prstGeom>
          </p:spPr>
          <p:txBody>
            <a:bodyPr wrap="square">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Cosmos DB</a:t>
              </a:r>
            </a:p>
          </p:txBody>
        </p:sp>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04234" y="3713494"/>
              <a:ext cx="391566" cy="391566"/>
            </a:xfrm>
            <a:prstGeom prst="rect">
              <a:avLst/>
            </a:prstGeom>
          </p:spPr>
        </p:pic>
      </p:grpSp>
      <p:pic>
        <p:nvPicPr>
          <p:cNvPr id="155" name="Picture 154" descr="http://www.algebraixdata.com/wp-content/uploads/2016/09/spark_logo1.png?c82824">
            <a:extLst>
              <a:ext uri="{FF2B5EF4-FFF2-40B4-BE49-F238E27FC236}">
                <a16:creationId xmlns:a16="http://schemas.microsoft.com/office/drawing/2014/main" id="{5098192B-12D3-422F-953F-51ABC0943EC8}"/>
              </a:ext>
            </a:extLst>
          </p:cNvPr>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189678" y="3574352"/>
            <a:ext cx="244049" cy="244048"/>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4">
            <a:extLst>
              <a:ext uri="{FF2B5EF4-FFF2-40B4-BE49-F238E27FC236}">
                <a16:creationId xmlns:a16="http://schemas.microsoft.com/office/drawing/2014/main" id="{4F0C2CD8-0562-4FC7-A9D7-059DAE8AA0D1}"/>
              </a:ext>
            </a:extLst>
          </p:cNvPr>
          <p:cNvGrpSpPr>
            <a:grpSpLocks noChangeAspect="1"/>
          </p:cNvGrpSpPr>
          <p:nvPr/>
        </p:nvGrpSpPr>
        <p:grpSpPr bwMode="auto">
          <a:xfrm>
            <a:off x="529228" y="2219421"/>
            <a:ext cx="280862" cy="337033"/>
            <a:chOff x="3856" y="2127"/>
            <a:chExt cx="125" cy="150"/>
          </a:xfrm>
        </p:grpSpPr>
        <p:sp>
          <p:nvSpPr>
            <p:cNvPr id="12" name="Line 5">
              <a:extLst>
                <a:ext uri="{FF2B5EF4-FFF2-40B4-BE49-F238E27FC236}">
                  <a16:creationId xmlns:a16="http://schemas.microsoft.com/office/drawing/2014/main" id="{DF679969-4A2D-4391-BF14-1864EA7FF217}"/>
                </a:ext>
              </a:extLst>
            </p:cNvPr>
            <p:cNvSpPr>
              <a:spLocks noChangeShapeType="1"/>
            </p:cNvSpPr>
            <p:nvPr/>
          </p:nvSpPr>
          <p:spPr bwMode="auto">
            <a:xfrm flipV="1">
              <a:off x="3856" y="2221"/>
              <a:ext cx="0" cy="56"/>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3" name="Line 6">
              <a:extLst>
                <a:ext uri="{FF2B5EF4-FFF2-40B4-BE49-F238E27FC236}">
                  <a16:creationId xmlns:a16="http://schemas.microsoft.com/office/drawing/2014/main" id="{20A26795-CA46-41EB-A8EA-BF805341D7A5}"/>
                </a:ext>
              </a:extLst>
            </p:cNvPr>
            <p:cNvSpPr>
              <a:spLocks noChangeShapeType="1"/>
            </p:cNvSpPr>
            <p:nvPr/>
          </p:nvSpPr>
          <p:spPr bwMode="auto">
            <a:xfrm flipV="1">
              <a:off x="3898" y="2185"/>
              <a:ext cx="0" cy="92"/>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4" name="Line 7">
              <a:extLst>
                <a:ext uri="{FF2B5EF4-FFF2-40B4-BE49-F238E27FC236}">
                  <a16:creationId xmlns:a16="http://schemas.microsoft.com/office/drawing/2014/main" id="{24585801-51F5-45AF-A566-BF0337A49842}"/>
                </a:ext>
              </a:extLst>
            </p:cNvPr>
            <p:cNvSpPr>
              <a:spLocks noChangeShapeType="1"/>
            </p:cNvSpPr>
            <p:nvPr/>
          </p:nvSpPr>
          <p:spPr bwMode="auto">
            <a:xfrm flipV="1">
              <a:off x="3939" y="2196"/>
              <a:ext cx="0" cy="81"/>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5" name="Line 8">
              <a:extLst>
                <a:ext uri="{FF2B5EF4-FFF2-40B4-BE49-F238E27FC236}">
                  <a16:creationId xmlns:a16="http://schemas.microsoft.com/office/drawing/2014/main" id="{EF6706FC-5643-4910-B7E5-7EB056982B67}"/>
                </a:ext>
              </a:extLst>
            </p:cNvPr>
            <p:cNvSpPr>
              <a:spLocks noChangeShapeType="1"/>
            </p:cNvSpPr>
            <p:nvPr/>
          </p:nvSpPr>
          <p:spPr bwMode="auto">
            <a:xfrm flipV="1">
              <a:off x="3981" y="2157"/>
              <a:ext cx="0" cy="120"/>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6" name="Freeform 9">
              <a:extLst>
                <a:ext uri="{FF2B5EF4-FFF2-40B4-BE49-F238E27FC236}">
                  <a16:creationId xmlns:a16="http://schemas.microsoft.com/office/drawing/2014/main" id="{4133673E-65FD-4903-98AC-61C103B76935}"/>
                </a:ext>
              </a:extLst>
            </p:cNvPr>
            <p:cNvSpPr>
              <a:spLocks/>
            </p:cNvSpPr>
            <p:nvPr/>
          </p:nvSpPr>
          <p:spPr bwMode="auto">
            <a:xfrm>
              <a:off x="3856" y="2141"/>
              <a:ext cx="113" cy="62"/>
            </a:xfrm>
            <a:custGeom>
              <a:avLst/>
              <a:gdLst>
                <a:gd name="T0" fmla="*/ 0 w 113"/>
                <a:gd name="T1" fmla="*/ 62 h 62"/>
                <a:gd name="T2" fmla="*/ 41 w 113"/>
                <a:gd name="T3" fmla="*/ 19 h 62"/>
                <a:gd name="T4" fmla="*/ 83 w 113"/>
                <a:gd name="T5" fmla="*/ 40 h 62"/>
                <a:gd name="T6" fmla="*/ 113 w 113"/>
                <a:gd name="T7" fmla="*/ 0 h 62"/>
              </a:gdLst>
              <a:ahLst/>
              <a:cxnLst>
                <a:cxn ang="0">
                  <a:pos x="T0" y="T1"/>
                </a:cxn>
                <a:cxn ang="0">
                  <a:pos x="T2" y="T3"/>
                </a:cxn>
                <a:cxn ang="0">
                  <a:pos x="T4" y="T5"/>
                </a:cxn>
                <a:cxn ang="0">
                  <a:pos x="T6" y="T7"/>
                </a:cxn>
              </a:cxnLst>
              <a:rect l="0" t="0" r="r" b="b"/>
              <a:pathLst>
                <a:path w="113" h="62">
                  <a:moveTo>
                    <a:pt x="0" y="62"/>
                  </a:moveTo>
                  <a:lnTo>
                    <a:pt x="41" y="19"/>
                  </a:lnTo>
                  <a:lnTo>
                    <a:pt x="83" y="40"/>
                  </a:lnTo>
                  <a:lnTo>
                    <a:pt x="113" y="0"/>
                  </a:lnTo>
                </a:path>
              </a:pathLst>
            </a:custGeom>
            <a:noFill/>
            <a:ln w="15240">
              <a:solidFill>
                <a:schemeClr val="tx1"/>
              </a:solidFill>
            </a:ln>
            <a:extLst>
              <a:ext uri="{909E8E84-426E-40DD-AFC4-6F175D3DCCD1}">
                <a14:hiddenFill xmlns:a14="http://schemas.microsoft.com/office/drawing/2010/main">
                  <a:solidFill>
                    <a:srgbClr val="FFFFFF"/>
                  </a:solid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7" name="Freeform 10">
              <a:extLst>
                <a:ext uri="{FF2B5EF4-FFF2-40B4-BE49-F238E27FC236}">
                  <a16:creationId xmlns:a16="http://schemas.microsoft.com/office/drawing/2014/main" id="{B062782F-2A1F-45BC-86CA-50D29AD27C81}"/>
                </a:ext>
              </a:extLst>
            </p:cNvPr>
            <p:cNvSpPr>
              <a:spLocks/>
            </p:cNvSpPr>
            <p:nvPr/>
          </p:nvSpPr>
          <p:spPr bwMode="auto">
            <a:xfrm>
              <a:off x="3957" y="2127"/>
              <a:ext cx="24" cy="25"/>
            </a:xfrm>
            <a:custGeom>
              <a:avLst/>
              <a:gdLst>
                <a:gd name="T0" fmla="*/ 19 w 24"/>
                <a:gd name="T1" fmla="*/ 25 h 25"/>
                <a:gd name="T2" fmla="*/ 24 w 24"/>
                <a:gd name="T3" fmla="*/ 0 h 25"/>
                <a:gd name="T4" fmla="*/ 0 w 24"/>
                <a:gd name="T5" fmla="*/ 9 h 25"/>
                <a:gd name="T6" fmla="*/ 19 w 24"/>
                <a:gd name="T7" fmla="*/ 25 h 25"/>
              </a:gdLst>
              <a:ahLst/>
              <a:cxnLst>
                <a:cxn ang="0">
                  <a:pos x="T0" y="T1"/>
                </a:cxn>
                <a:cxn ang="0">
                  <a:pos x="T2" y="T3"/>
                </a:cxn>
                <a:cxn ang="0">
                  <a:pos x="T4" y="T5"/>
                </a:cxn>
                <a:cxn ang="0">
                  <a:pos x="T6" y="T7"/>
                </a:cxn>
              </a:cxnLst>
              <a:rect l="0" t="0" r="r" b="b"/>
              <a:pathLst>
                <a:path w="24" h="25">
                  <a:moveTo>
                    <a:pt x="19" y="25"/>
                  </a:moveTo>
                  <a:lnTo>
                    <a:pt x="24" y="0"/>
                  </a:lnTo>
                  <a:lnTo>
                    <a:pt x="0" y="9"/>
                  </a:lnTo>
                  <a:lnTo>
                    <a:pt x="19" y="25"/>
                  </a:lnTo>
                  <a:close/>
                </a:path>
              </a:pathLst>
            </a:custGeom>
            <a:solidFill>
              <a:schemeClr val="tx1"/>
            </a:solidFill>
            <a:ln w="9525">
              <a:noFill/>
              <a:round/>
              <a:headEnd/>
              <a:tailEnd/>
            </a:ln>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grpSp>
      <p:grpSp>
        <p:nvGrpSpPr>
          <p:cNvPr id="466" name="Group 27">
            <a:extLst>
              <a:ext uri="{FF2B5EF4-FFF2-40B4-BE49-F238E27FC236}">
                <a16:creationId xmlns:a16="http://schemas.microsoft.com/office/drawing/2014/main" id="{EE5C82E0-8F9E-41B1-BD4C-F39C2CED704B}"/>
              </a:ext>
            </a:extLst>
          </p:cNvPr>
          <p:cNvGrpSpPr>
            <a:grpSpLocks noChangeAspect="1"/>
          </p:cNvGrpSpPr>
          <p:nvPr/>
        </p:nvGrpSpPr>
        <p:grpSpPr bwMode="auto">
          <a:xfrm>
            <a:off x="5556261" y="3740064"/>
            <a:ext cx="272110" cy="264003"/>
            <a:chOff x="4904" y="2372"/>
            <a:chExt cx="235" cy="228"/>
          </a:xfrm>
          <a:solidFill>
            <a:schemeClr val="bg1"/>
          </a:solidFill>
        </p:grpSpPr>
        <p:sp>
          <p:nvSpPr>
            <p:cNvPr id="482" name="Freeform 28">
              <a:extLst>
                <a:ext uri="{FF2B5EF4-FFF2-40B4-BE49-F238E27FC236}">
                  <a16:creationId xmlns:a16="http://schemas.microsoft.com/office/drawing/2014/main" id="{2E1576D0-27CF-4DA4-9147-48DAB18DBF13}"/>
                </a:ext>
              </a:extLst>
            </p:cNvPr>
            <p:cNvSpPr>
              <a:spLocks noEditPoints="1"/>
            </p:cNvSpPr>
            <p:nvPr/>
          </p:nvSpPr>
          <p:spPr bwMode="auto">
            <a:xfrm>
              <a:off x="5037" y="2420"/>
              <a:ext cx="84" cy="84"/>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4 h 42"/>
                <a:gd name="T12" fmla="*/ 4 w 42"/>
                <a:gd name="T13" fmla="*/ 21 h 42"/>
                <a:gd name="T14" fmla="*/ 21 w 42"/>
                <a:gd name="T15" fmla="*/ 38 h 42"/>
                <a:gd name="T16" fmla="*/ 38 w 42"/>
                <a:gd name="T17" fmla="*/ 21 h 42"/>
                <a:gd name="T18" fmla="*/ 21 w 42"/>
                <a:gd name="T1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42"/>
                  </a:moveTo>
                  <a:cubicBezTo>
                    <a:pt x="9" y="42"/>
                    <a:pt x="0" y="33"/>
                    <a:pt x="0" y="21"/>
                  </a:cubicBezTo>
                  <a:cubicBezTo>
                    <a:pt x="0" y="10"/>
                    <a:pt x="9" y="0"/>
                    <a:pt x="21" y="0"/>
                  </a:cubicBezTo>
                  <a:cubicBezTo>
                    <a:pt x="33" y="0"/>
                    <a:pt x="42" y="10"/>
                    <a:pt x="42" y="21"/>
                  </a:cubicBezTo>
                  <a:cubicBezTo>
                    <a:pt x="42" y="33"/>
                    <a:pt x="33" y="42"/>
                    <a:pt x="21" y="42"/>
                  </a:cubicBezTo>
                  <a:close/>
                  <a:moveTo>
                    <a:pt x="21" y="4"/>
                  </a:moveTo>
                  <a:cubicBezTo>
                    <a:pt x="12" y="4"/>
                    <a:pt x="4" y="12"/>
                    <a:pt x="4" y="21"/>
                  </a:cubicBezTo>
                  <a:cubicBezTo>
                    <a:pt x="4" y="31"/>
                    <a:pt x="12" y="38"/>
                    <a:pt x="21" y="38"/>
                  </a:cubicBezTo>
                  <a:cubicBezTo>
                    <a:pt x="30" y="38"/>
                    <a:pt x="38" y="31"/>
                    <a:pt x="38" y="21"/>
                  </a:cubicBezTo>
                  <a:cubicBezTo>
                    <a:pt x="38" y="12"/>
                    <a:pt x="30"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3" name="Freeform 29">
              <a:extLst>
                <a:ext uri="{FF2B5EF4-FFF2-40B4-BE49-F238E27FC236}">
                  <a16:creationId xmlns:a16="http://schemas.microsoft.com/office/drawing/2014/main" id="{42705E25-A088-4552-A063-4D66B1BC90C8}"/>
                </a:ext>
              </a:extLst>
            </p:cNvPr>
            <p:cNvSpPr>
              <a:spLocks noEditPoints="1"/>
            </p:cNvSpPr>
            <p:nvPr/>
          </p:nvSpPr>
          <p:spPr bwMode="auto">
            <a:xfrm>
              <a:off x="4904" y="2372"/>
              <a:ext cx="235" cy="162"/>
            </a:xfrm>
            <a:custGeom>
              <a:avLst/>
              <a:gdLst>
                <a:gd name="T0" fmla="*/ 115 w 117"/>
                <a:gd name="T1" fmla="*/ 81 h 81"/>
                <a:gd name="T2" fmla="*/ 2 w 117"/>
                <a:gd name="T3" fmla="*/ 81 h 81"/>
                <a:gd name="T4" fmla="*/ 0 w 117"/>
                <a:gd name="T5" fmla="*/ 79 h 81"/>
                <a:gd name="T6" fmla="*/ 0 w 117"/>
                <a:gd name="T7" fmla="*/ 2 h 81"/>
                <a:gd name="T8" fmla="*/ 2 w 117"/>
                <a:gd name="T9" fmla="*/ 0 h 81"/>
                <a:gd name="T10" fmla="*/ 115 w 117"/>
                <a:gd name="T11" fmla="*/ 0 h 81"/>
                <a:gd name="T12" fmla="*/ 117 w 117"/>
                <a:gd name="T13" fmla="*/ 2 h 81"/>
                <a:gd name="T14" fmla="*/ 117 w 117"/>
                <a:gd name="T15" fmla="*/ 79 h 81"/>
                <a:gd name="T16" fmla="*/ 115 w 117"/>
                <a:gd name="T17" fmla="*/ 81 h 81"/>
                <a:gd name="T18" fmla="*/ 4 w 117"/>
                <a:gd name="T19" fmla="*/ 77 h 81"/>
                <a:gd name="T20" fmla="*/ 113 w 117"/>
                <a:gd name="T21" fmla="*/ 77 h 81"/>
                <a:gd name="T22" fmla="*/ 113 w 117"/>
                <a:gd name="T23" fmla="*/ 4 h 81"/>
                <a:gd name="T24" fmla="*/ 4 w 117"/>
                <a:gd name="T25" fmla="*/ 4 h 81"/>
                <a:gd name="T26" fmla="*/ 4 w 117"/>
                <a:gd name="T27" fmla="*/ 7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81">
                  <a:moveTo>
                    <a:pt x="115" y="81"/>
                  </a:moveTo>
                  <a:cubicBezTo>
                    <a:pt x="2" y="81"/>
                    <a:pt x="2" y="81"/>
                    <a:pt x="2" y="81"/>
                  </a:cubicBezTo>
                  <a:cubicBezTo>
                    <a:pt x="1" y="81"/>
                    <a:pt x="0" y="80"/>
                    <a:pt x="0" y="79"/>
                  </a:cubicBezTo>
                  <a:cubicBezTo>
                    <a:pt x="0" y="2"/>
                    <a:pt x="0" y="2"/>
                    <a:pt x="0" y="2"/>
                  </a:cubicBezTo>
                  <a:cubicBezTo>
                    <a:pt x="0" y="1"/>
                    <a:pt x="1" y="0"/>
                    <a:pt x="2" y="0"/>
                  </a:cubicBezTo>
                  <a:cubicBezTo>
                    <a:pt x="115" y="0"/>
                    <a:pt x="115" y="0"/>
                    <a:pt x="115" y="0"/>
                  </a:cubicBezTo>
                  <a:cubicBezTo>
                    <a:pt x="116" y="0"/>
                    <a:pt x="117" y="1"/>
                    <a:pt x="117" y="2"/>
                  </a:cubicBezTo>
                  <a:cubicBezTo>
                    <a:pt x="117" y="79"/>
                    <a:pt x="117" y="79"/>
                    <a:pt x="117" y="79"/>
                  </a:cubicBezTo>
                  <a:cubicBezTo>
                    <a:pt x="117" y="80"/>
                    <a:pt x="116" y="81"/>
                    <a:pt x="115" y="81"/>
                  </a:cubicBezTo>
                  <a:close/>
                  <a:moveTo>
                    <a:pt x="4" y="77"/>
                  </a:moveTo>
                  <a:cubicBezTo>
                    <a:pt x="113" y="77"/>
                    <a:pt x="113" y="77"/>
                    <a:pt x="113" y="77"/>
                  </a:cubicBezTo>
                  <a:cubicBezTo>
                    <a:pt x="113" y="4"/>
                    <a:pt x="113" y="4"/>
                    <a:pt x="113" y="4"/>
                  </a:cubicBezTo>
                  <a:cubicBezTo>
                    <a:pt x="4" y="4"/>
                    <a:pt x="4" y="4"/>
                    <a:pt x="4" y="4"/>
                  </a:cubicBezTo>
                  <a:lnTo>
                    <a:pt x="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4" name="Freeform 30">
              <a:extLst>
                <a:ext uri="{FF2B5EF4-FFF2-40B4-BE49-F238E27FC236}">
                  <a16:creationId xmlns:a16="http://schemas.microsoft.com/office/drawing/2014/main" id="{3D0951F4-66C6-422B-975C-4073B1BA4EB5}"/>
                </a:ext>
              </a:extLst>
            </p:cNvPr>
            <p:cNvSpPr>
              <a:spLocks/>
            </p:cNvSpPr>
            <p:nvPr/>
          </p:nvSpPr>
          <p:spPr bwMode="auto">
            <a:xfrm>
              <a:off x="5016" y="2526"/>
              <a:ext cx="11" cy="74"/>
            </a:xfrm>
            <a:custGeom>
              <a:avLst/>
              <a:gdLst>
                <a:gd name="T0" fmla="*/ 3 w 5"/>
                <a:gd name="T1" fmla="*/ 37 h 37"/>
                <a:gd name="T2" fmla="*/ 0 w 5"/>
                <a:gd name="T3" fmla="*/ 35 h 37"/>
                <a:gd name="T4" fmla="*/ 0 w 5"/>
                <a:gd name="T5" fmla="*/ 2 h 37"/>
                <a:gd name="T6" fmla="*/ 3 w 5"/>
                <a:gd name="T7" fmla="*/ 0 h 37"/>
                <a:gd name="T8" fmla="*/ 5 w 5"/>
                <a:gd name="T9" fmla="*/ 2 h 37"/>
                <a:gd name="T10" fmla="*/ 5 w 5"/>
                <a:gd name="T11" fmla="*/ 35 h 37"/>
                <a:gd name="T12" fmla="*/ 3 w 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5" h="37">
                  <a:moveTo>
                    <a:pt x="3" y="37"/>
                  </a:moveTo>
                  <a:cubicBezTo>
                    <a:pt x="1" y="37"/>
                    <a:pt x="0" y="36"/>
                    <a:pt x="0" y="35"/>
                  </a:cubicBezTo>
                  <a:cubicBezTo>
                    <a:pt x="0" y="2"/>
                    <a:pt x="0" y="2"/>
                    <a:pt x="0" y="2"/>
                  </a:cubicBezTo>
                  <a:cubicBezTo>
                    <a:pt x="0" y="1"/>
                    <a:pt x="1" y="0"/>
                    <a:pt x="3" y="0"/>
                  </a:cubicBezTo>
                  <a:cubicBezTo>
                    <a:pt x="4" y="0"/>
                    <a:pt x="5" y="1"/>
                    <a:pt x="5" y="2"/>
                  </a:cubicBezTo>
                  <a:cubicBezTo>
                    <a:pt x="5" y="35"/>
                    <a:pt x="5" y="35"/>
                    <a:pt x="5" y="35"/>
                  </a:cubicBezTo>
                  <a:cubicBezTo>
                    <a:pt x="5" y="36"/>
                    <a:pt x="4" y="37"/>
                    <a:pt x="3"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5" name="Freeform 31">
              <a:extLst>
                <a:ext uri="{FF2B5EF4-FFF2-40B4-BE49-F238E27FC236}">
                  <a16:creationId xmlns:a16="http://schemas.microsoft.com/office/drawing/2014/main" id="{D732D217-903B-487C-8A73-44F02E5F38A7}"/>
                </a:ext>
              </a:extLst>
            </p:cNvPr>
            <p:cNvSpPr>
              <a:spLocks/>
            </p:cNvSpPr>
            <p:nvPr/>
          </p:nvSpPr>
          <p:spPr bwMode="auto">
            <a:xfrm>
              <a:off x="4990" y="2592"/>
              <a:ext cx="69" cy="8"/>
            </a:xfrm>
            <a:custGeom>
              <a:avLst/>
              <a:gdLst>
                <a:gd name="T0" fmla="*/ 32 w 34"/>
                <a:gd name="T1" fmla="*/ 4 h 4"/>
                <a:gd name="T2" fmla="*/ 2 w 34"/>
                <a:gd name="T3" fmla="*/ 4 h 4"/>
                <a:gd name="T4" fmla="*/ 0 w 34"/>
                <a:gd name="T5" fmla="*/ 2 h 4"/>
                <a:gd name="T6" fmla="*/ 2 w 34"/>
                <a:gd name="T7" fmla="*/ 0 h 4"/>
                <a:gd name="T8" fmla="*/ 32 w 34"/>
                <a:gd name="T9" fmla="*/ 0 h 4"/>
                <a:gd name="T10" fmla="*/ 34 w 34"/>
                <a:gd name="T11" fmla="*/ 2 h 4"/>
                <a:gd name="T12" fmla="*/ 32 w 3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4"/>
                  </a:moveTo>
                  <a:cubicBezTo>
                    <a:pt x="2" y="4"/>
                    <a:pt x="2" y="4"/>
                    <a:pt x="2" y="4"/>
                  </a:cubicBezTo>
                  <a:cubicBezTo>
                    <a:pt x="1" y="4"/>
                    <a:pt x="0" y="3"/>
                    <a:pt x="0" y="2"/>
                  </a:cubicBezTo>
                  <a:cubicBezTo>
                    <a:pt x="0" y="1"/>
                    <a:pt x="1" y="0"/>
                    <a:pt x="2" y="0"/>
                  </a:cubicBezTo>
                  <a:cubicBezTo>
                    <a:pt x="32" y="0"/>
                    <a:pt x="32" y="0"/>
                    <a:pt x="32" y="0"/>
                  </a:cubicBezTo>
                  <a:cubicBezTo>
                    <a:pt x="33" y="0"/>
                    <a:pt x="34" y="1"/>
                    <a:pt x="34" y="2"/>
                  </a:cubicBezTo>
                  <a:cubicBezTo>
                    <a:pt x="34" y="3"/>
                    <a:pt x="33"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6" name="Freeform 32">
              <a:extLst>
                <a:ext uri="{FF2B5EF4-FFF2-40B4-BE49-F238E27FC236}">
                  <a16:creationId xmlns:a16="http://schemas.microsoft.com/office/drawing/2014/main" id="{8CAC905B-2AF5-445B-B23D-1081F6D8773D}"/>
                </a:ext>
              </a:extLst>
            </p:cNvPr>
            <p:cNvSpPr>
              <a:spLocks/>
            </p:cNvSpPr>
            <p:nvPr/>
          </p:nvSpPr>
          <p:spPr bwMode="auto">
            <a:xfrm>
              <a:off x="4920" y="2400"/>
              <a:ext cx="102" cy="114"/>
            </a:xfrm>
            <a:custGeom>
              <a:avLst/>
              <a:gdLst>
                <a:gd name="T0" fmla="*/ 49 w 51"/>
                <a:gd name="T1" fmla="*/ 57 h 57"/>
                <a:gd name="T2" fmla="*/ 2 w 51"/>
                <a:gd name="T3" fmla="*/ 57 h 57"/>
                <a:gd name="T4" fmla="*/ 0 w 51"/>
                <a:gd name="T5" fmla="*/ 55 h 57"/>
                <a:gd name="T6" fmla="*/ 0 w 51"/>
                <a:gd name="T7" fmla="*/ 2 h 57"/>
                <a:gd name="T8" fmla="*/ 2 w 51"/>
                <a:gd name="T9" fmla="*/ 0 h 57"/>
                <a:gd name="T10" fmla="*/ 4 w 51"/>
                <a:gd name="T11" fmla="*/ 2 h 57"/>
                <a:gd name="T12" fmla="*/ 4 w 51"/>
                <a:gd name="T13" fmla="*/ 53 h 57"/>
                <a:gd name="T14" fmla="*/ 49 w 51"/>
                <a:gd name="T15" fmla="*/ 53 h 57"/>
                <a:gd name="T16" fmla="*/ 51 w 51"/>
                <a:gd name="T17" fmla="*/ 55 h 57"/>
                <a:gd name="T18" fmla="*/ 49 w 51"/>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7">
                  <a:moveTo>
                    <a:pt x="49" y="57"/>
                  </a:moveTo>
                  <a:cubicBezTo>
                    <a:pt x="2" y="57"/>
                    <a:pt x="2" y="57"/>
                    <a:pt x="2" y="57"/>
                  </a:cubicBezTo>
                  <a:cubicBezTo>
                    <a:pt x="1" y="57"/>
                    <a:pt x="0" y="56"/>
                    <a:pt x="0" y="55"/>
                  </a:cubicBezTo>
                  <a:cubicBezTo>
                    <a:pt x="0" y="2"/>
                    <a:pt x="0" y="2"/>
                    <a:pt x="0" y="2"/>
                  </a:cubicBezTo>
                  <a:cubicBezTo>
                    <a:pt x="0" y="1"/>
                    <a:pt x="1" y="0"/>
                    <a:pt x="2" y="0"/>
                  </a:cubicBezTo>
                  <a:cubicBezTo>
                    <a:pt x="3" y="0"/>
                    <a:pt x="4" y="1"/>
                    <a:pt x="4" y="2"/>
                  </a:cubicBezTo>
                  <a:cubicBezTo>
                    <a:pt x="4" y="53"/>
                    <a:pt x="4" y="53"/>
                    <a:pt x="4" y="53"/>
                  </a:cubicBezTo>
                  <a:cubicBezTo>
                    <a:pt x="49" y="53"/>
                    <a:pt x="49" y="53"/>
                    <a:pt x="49" y="53"/>
                  </a:cubicBezTo>
                  <a:cubicBezTo>
                    <a:pt x="50" y="53"/>
                    <a:pt x="51" y="54"/>
                    <a:pt x="51" y="55"/>
                  </a:cubicBezTo>
                  <a:cubicBezTo>
                    <a:pt x="51" y="56"/>
                    <a:pt x="50" y="57"/>
                    <a:pt x="4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7" name="Freeform 33">
              <a:extLst>
                <a:ext uri="{FF2B5EF4-FFF2-40B4-BE49-F238E27FC236}">
                  <a16:creationId xmlns:a16="http://schemas.microsoft.com/office/drawing/2014/main" id="{2E14C892-3CC1-4B0D-A31C-938BD76A56D0}"/>
                </a:ext>
              </a:extLst>
            </p:cNvPr>
            <p:cNvSpPr>
              <a:spLocks/>
            </p:cNvSpPr>
            <p:nvPr/>
          </p:nvSpPr>
          <p:spPr bwMode="auto">
            <a:xfrm>
              <a:off x="4958" y="2426"/>
              <a:ext cx="8" cy="78"/>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8" name="Freeform 34">
              <a:extLst>
                <a:ext uri="{FF2B5EF4-FFF2-40B4-BE49-F238E27FC236}">
                  <a16:creationId xmlns:a16="http://schemas.microsoft.com/office/drawing/2014/main" id="{CDFC27CD-3E46-4D39-8285-0A96EBBDAD5E}"/>
                </a:ext>
              </a:extLst>
            </p:cNvPr>
            <p:cNvSpPr>
              <a:spLocks/>
            </p:cNvSpPr>
            <p:nvPr/>
          </p:nvSpPr>
          <p:spPr bwMode="auto">
            <a:xfrm>
              <a:off x="4978" y="2450"/>
              <a:ext cx="10" cy="54"/>
            </a:xfrm>
            <a:custGeom>
              <a:avLst/>
              <a:gdLst>
                <a:gd name="T0" fmla="*/ 2 w 5"/>
                <a:gd name="T1" fmla="*/ 27 h 27"/>
                <a:gd name="T2" fmla="*/ 0 w 5"/>
                <a:gd name="T3" fmla="*/ 25 h 27"/>
                <a:gd name="T4" fmla="*/ 0 w 5"/>
                <a:gd name="T5" fmla="*/ 3 h 27"/>
                <a:gd name="T6" fmla="*/ 2 w 5"/>
                <a:gd name="T7" fmla="*/ 0 h 27"/>
                <a:gd name="T8" fmla="*/ 5 w 5"/>
                <a:gd name="T9" fmla="*/ 3 h 27"/>
                <a:gd name="T10" fmla="*/ 5 w 5"/>
                <a:gd name="T11" fmla="*/ 25 h 27"/>
                <a:gd name="T12" fmla="*/ 2 w 5"/>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 h="27">
                  <a:moveTo>
                    <a:pt x="2" y="27"/>
                  </a:moveTo>
                  <a:cubicBezTo>
                    <a:pt x="1" y="27"/>
                    <a:pt x="0" y="26"/>
                    <a:pt x="0" y="25"/>
                  </a:cubicBezTo>
                  <a:cubicBezTo>
                    <a:pt x="0" y="3"/>
                    <a:pt x="0" y="3"/>
                    <a:pt x="0" y="3"/>
                  </a:cubicBezTo>
                  <a:cubicBezTo>
                    <a:pt x="0" y="1"/>
                    <a:pt x="1" y="0"/>
                    <a:pt x="2" y="0"/>
                  </a:cubicBezTo>
                  <a:cubicBezTo>
                    <a:pt x="4" y="0"/>
                    <a:pt x="5" y="1"/>
                    <a:pt x="5" y="3"/>
                  </a:cubicBezTo>
                  <a:cubicBezTo>
                    <a:pt x="5" y="25"/>
                    <a:pt x="5" y="25"/>
                    <a:pt x="5" y="25"/>
                  </a:cubicBezTo>
                  <a:cubicBezTo>
                    <a:pt x="5" y="26"/>
                    <a:pt x="4"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9" name="Freeform 35">
              <a:extLst>
                <a:ext uri="{FF2B5EF4-FFF2-40B4-BE49-F238E27FC236}">
                  <a16:creationId xmlns:a16="http://schemas.microsoft.com/office/drawing/2014/main" id="{5EE02F97-2371-406E-BFFC-AF8447486E1F}"/>
                </a:ext>
              </a:extLst>
            </p:cNvPr>
            <p:cNvSpPr>
              <a:spLocks/>
            </p:cNvSpPr>
            <p:nvPr/>
          </p:nvSpPr>
          <p:spPr bwMode="auto">
            <a:xfrm>
              <a:off x="5002" y="2406"/>
              <a:ext cx="8" cy="98"/>
            </a:xfrm>
            <a:custGeom>
              <a:avLst/>
              <a:gdLst>
                <a:gd name="T0" fmla="*/ 2 w 4"/>
                <a:gd name="T1" fmla="*/ 49 h 49"/>
                <a:gd name="T2" fmla="*/ 0 w 4"/>
                <a:gd name="T3" fmla="*/ 47 h 49"/>
                <a:gd name="T4" fmla="*/ 0 w 4"/>
                <a:gd name="T5" fmla="*/ 2 h 49"/>
                <a:gd name="T6" fmla="*/ 2 w 4"/>
                <a:gd name="T7" fmla="*/ 0 h 49"/>
                <a:gd name="T8" fmla="*/ 4 w 4"/>
                <a:gd name="T9" fmla="*/ 2 h 49"/>
                <a:gd name="T10" fmla="*/ 4 w 4"/>
                <a:gd name="T11" fmla="*/ 47 h 49"/>
                <a:gd name="T12" fmla="*/ 2 w 4"/>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 h="49">
                  <a:moveTo>
                    <a:pt x="2" y="49"/>
                  </a:moveTo>
                  <a:cubicBezTo>
                    <a:pt x="1" y="49"/>
                    <a:pt x="0" y="48"/>
                    <a:pt x="0" y="47"/>
                  </a:cubicBezTo>
                  <a:cubicBezTo>
                    <a:pt x="0" y="2"/>
                    <a:pt x="0" y="2"/>
                    <a:pt x="0" y="2"/>
                  </a:cubicBezTo>
                  <a:cubicBezTo>
                    <a:pt x="0" y="1"/>
                    <a:pt x="1" y="0"/>
                    <a:pt x="2" y="0"/>
                  </a:cubicBezTo>
                  <a:cubicBezTo>
                    <a:pt x="3" y="0"/>
                    <a:pt x="4" y="1"/>
                    <a:pt x="4" y="2"/>
                  </a:cubicBezTo>
                  <a:cubicBezTo>
                    <a:pt x="4" y="47"/>
                    <a:pt x="4" y="47"/>
                    <a:pt x="4" y="47"/>
                  </a:cubicBezTo>
                  <a:cubicBezTo>
                    <a:pt x="4" y="48"/>
                    <a:pt x="3" y="49"/>
                    <a:pt x="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90" name="Freeform 36">
              <a:extLst>
                <a:ext uri="{FF2B5EF4-FFF2-40B4-BE49-F238E27FC236}">
                  <a16:creationId xmlns:a16="http://schemas.microsoft.com/office/drawing/2014/main" id="{1CB4F807-3F25-4299-8576-9014729041CE}"/>
                </a:ext>
              </a:extLst>
            </p:cNvPr>
            <p:cNvSpPr>
              <a:spLocks/>
            </p:cNvSpPr>
            <p:nvPr/>
          </p:nvSpPr>
          <p:spPr bwMode="auto">
            <a:xfrm>
              <a:off x="5073" y="2436"/>
              <a:ext cx="38" cy="30"/>
            </a:xfrm>
            <a:custGeom>
              <a:avLst/>
              <a:gdLst>
                <a:gd name="T0" fmla="*/ 2 w 19"/>
                <a:gd name="T1" fmla="*/ 15 h 15"/>
                <a:gd name="T2" fmla="*/ 1 w 19"/>
                <a:gd name="T3" fmla="*/ 15 h 15"/>
                <a:gd name="T4" fmla="*/ 1 w 19"/>
                <a:gd name="T5" fmla="*/ 12 h 15"/>
                <a:gd name="T6" fmla="*/ 16 w 19"/>
                <a:gd name="T7" fmla="*/ 1 h 15"/>
                <a:gd name="T8" fmla="*/ 19 w 19"/>
                <a:gd name="T9" fmla="*/ 1 h 15"/>
                <a:gd name="T10" fmla="*/ 18 w 19"/>
                <a:gd name="T11" fmla="*/ 4 h 15"/>
                <a:gd name="T12" fmla="*/ 4 w 19"/>
                <a:gd name="T13" fmla="*/ 15 h 15"/>
                <a:gd name="T14" fmla="*/ 2 w 1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2" y="15"/>
                  </a:moveTo>
                  <a:cubicBezTo>
                    <a:pt x="2" y="15"/>
                    <a:pt x="1" y="15"/>
                    <a:pt x="1" y="15"/>
                  </a:cubicBezTo>
                  <a:cubicBezTo>
                    <a:pt x="0" y="14"/>
                    <a:pt x="0" y="12"/>
                    <a:pt x="1" y="12"/>
                  </a:cubicBezTo>
                  <a:cubicBezTo>
                    <a:pt x="16" y="1"/>
                    <a:pt x="16" y="1"/>
                    <a:pt x="16" y="1"/>
                  </a:cubicBezTo>
                  <a:cubicBezTo>
                    <a:pt x="17" y="0"/>
                    <a:pt x="18" y="0"/>
                    <a:pt x="19" y="1"/>
                  </a:cubicBezTo>
                  <a:cubicBezTo>
                    <a:pt x="19" y="2"/>
                    <a:pt x="19" y="3"/>
                    <a:pt x="18" y="4"/>
                  </a:cubicBezTo>
                  <a:cubicBezTo>
                    <a:pt x="4" y="15"/>
                    <a:pt x="4" y="15"/>
                    <a:pt x="4" y="15"/>
                  </a:cubicBezTo>
                  <a:cubicBezTo>
                    <a:pt x="3" y="15"/>
                    <a:pt x="3"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91" name="Freeform 37">
              <a:extLst>
                <a:ext uri="{FF2B5EF4-FFF2-40B4-BE49-F238E27FC236}">
                  <a16:creationId xmlns:a16="http://schemas.microsoft.com/office/drawing/2014/main" id="{50EB116A-7386-40EC-8CFE-0896E50607E2}"/>
                </a:ext>
              </a:extLst>
            </p:cNvPr>
            <p:cNvSpPr>
              <a:spLocks/>
            </p:cNvSpPr>
            <p:nvPr/>
          </p:nvSpPr>
          <p:spPr bwMode="auto">
            <a:xfrm>
              <a:off x="5073" y="2458"/>
              <a:ext cx="38" cy="36"/>
            </a:xfrm>
            <a:custGeom>
              <a:avLst/>
              <a:gdLst>
                <a:gd name="T0" fmla="*/ 16 w 19"/>
                <a:gd name="T1" fmla="*/ 18 h 18"/>
                <a:gd name="T2" fmla="*/ 15 w 19"/>
                <a:gd name="T3" fmla="*/ 17 h 18"/>
                <a:gd name="T4" fmla="*/ 1 w 19"/>
                <a:gd name="T5" fmla="*/ 4 h 18"/>
                <a:gd name="T6" fmla="*/ 1 w 19"/>
                <a:gd name="T7" fmla="*/ 1 h 18"/>
                <a:gd name="T8" fmla="*/ 4 w 19"/>
                <a:gd name="T9" fmla="*/ 1 h 18"/>
                <a:gd name="T10" fmla="*/ 18 w 19"/>
                <a:gd name="T11" fmla="*/ 14 h 18"/>
                <a:gd name="T12" fmla="*/ 18 w 19"/>
                <a:gd name="T13" fmla="*/ 17 h 18"/>
                <a:gd name="T14" fmla="*/ 16 w 19"/>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16" y="18"/>
                  </a:moveTo>
                  <a:cubicBezTo>
                    <a:pt x="16" y="18"/>
                    <a:pt x="15" y="18"/>
                    <a:pt x="15" y="17"/>
                  </a:cubicBezTo>
                  <a:cubicBezTo>
                    <a:pt x="1" y="4"/>
                    <a:pt x="1" y="4"/>
                    <a:pt x="1" y="4"/>
                  </a:cubicBezTo>
                  <a:cubicBezTo>
                    <a:pt x="0" y="3"/>
                    <a:pt x="0" y="2"/>
                    <a:pt x="1" y="1"/>
                  </a:cubicBezTo>
                  <a:cubicBezTo>
                    <a:pt x="2" y="0"/>
                    <a:pt x="3" y="0"/>
                    <a:pt x="4" y="1"/>
                  </a:cubicBezTo>
                  <a:cubicBezTo>
                    <a:pt x="18" y="14"/>
                    <a:pt x="18" y="14"/>
                    <a:pt x="18" y="14"/>
                  </a:cubicBezTo>
                  <a:cubicBezTo>
                    <a:pt x="19" y="15"/>
                    <a:pt x="19" y="16"/>
                    <a:pt x="18" y="17"/>
                  </a:cubicBezTo>
                  <a:cubicBezTo>
                    <a:pt x="17" y="18"/>
                    <a:pt x="17" y="18"/>
                    <a:pt x="1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503" name="Group 50">
            <a:extLst>
              <a:ext uri="{FF2B5EF4-FFF2-40B4-BE49-F238E27FC236}">
                <a16:creationId xmlns:a16="http://schemas.microsoft.com/office/drawing/2014/main" id="{A95C5DCB-C1F9-4372-BB22-0A7AE8E8A9B3}"/>
              </a:ext>
            </a:extLst>
          </p:cNvPr>
          <p:cNvGrpSpPr>
            <a:grpSpLocks noChangeAspect="1"/>
          </p:cNvGrpSpPr>
          <p:nvPr/>
        </p:nvGrpSpPr>
        <p:grpSpPr bwMode="auto">
          <a:xfrm>
            <a:off x="5534506" y="4746519"/>
            <a:ext cx="315617" cy="202658"/>
            <a:chOff x="3821" y="2142"/>
            <a:chExt cx="190" cy="122"/>
          </a:xfrm>
          <a:solidFill>
            <a:schemeClr val="bg1"/>
          </a:solidFill>
        </p:grpSpPr>
        <p:sp>
          <p:nvSpPr>
            <p:cNvPr id="505" name="Freeform 51">
              <a:extLst>
                <a:ext uri="{FF2B5EF4-FFF2-40B4-BE49-F238E27FC236}">
                  <a16:creationId xmlns:a16="http://schemas.microsoft.com/office/drawing/2014/main" id="{3C3B3B39-BA70-406E-B072-879D3E2A20E1}"/>
                </a:ext>
              </a:extLst>
            </p:cNvPr>
            <p:cNvSpPr>
              <a:spLocks noEditPoints="1"/>
            </p:cNvSpPr>
            <p:nvPr/>
          </p:nvSpPr>
          <p:spPr bwMode="auto">
            <a:xfrm>
              <a:off x="3836" y="2142"/>
              <a:ext cx="161" cy="109"/>
            </a:xfrm>
            <a:custGeom>
              <a:avLst/>
              <a:gdLst>
                <a:gd name="T0" fmla="*/ 115 w 117"/>
                <a:gd name="T1" fmla="*/ 78 h 78"/>
                <a:gd name="T2" fmla="*/ 2 w 117"/>
                <a:gd name="T3" fmla="*/ 78 h 78"/>
                <a:gd name="T4" fmla="*/ 0 w 117"/>
                <a:gd name="T5" fmla="*/ 76 h 78"/>
                <a:gd name="T6" fmla="*/ 0 w 117"/>
                <a:gd name="T7" fmla="*/ 2 h 78"/>
                <a:gd name="T8" fmla="*/ 2 w 117"/>
                <a:gd name="T9" fmla="*/ 0 h 78"/>
                <a:gd name="T10" fmla="*/ 115 w 117"/>
                <a:gd name="T11" fmla="*/ 0 h 78"/>
                <a:gd name="T12" fmla="*/ 117 w 117"/>
                <a:gd name="T13" fmla="*/ 2 h 78"/>
                <a:gd name="T14" fmla="*/ 117 w 117"/>
                <a:gd name="T15" fmla="*/ 76 h 78"/>
                <a:gd name="T16" fmla="*/ 115 w 117"/>
                <a:gd name="T17" fmla="*/ 78 h 78"/>
                <a:gd name="T18" fmla="*/ 4 w 117"/>
                <a:gd name="T19" fmla="*/ 74 h 78"/>
                <a:gd name="T20" fmla="*/ 113 w 117"/>
                <a:gd name="T21" fmla="*/ 74 h 78"/>
                <a:gd name="T22" fmla="*/ 113 w 117"/>
                <a:gd name="T23" fmla="*/ 4 h 78"/>
                <a:gd name="T24" fmla="*/ 4 w 117"/>
                <a:gd name="T25" fmla="*/ 4 h 78"/>
                <a:gd name="T26" fmla="*/ 4 w 117"/>
                <a:gd name="T27"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78">
                  <a:moveTo>
                    <a:pt x="115" y="78"/>
                  </a:moveTo>
                  <a:cubicBezTo>
                    <a:pt x="2" y="78"/>
                    <a:pt x="2" y="78"/>
                    <a:pt x="2" y="78"/>
                  </a:cubicBezTo>
                  <a:cubicBezTo>
                    <a:pt x="0" y="78"/>
                    <a:pt x="0" y="78"/>
                    <a:pt x="0" y="76"/>
                  </a:cubicBezTo>
                  <a:cubicBezTo>
                    <a:pt x="0" y="2"/>
                    <a:pt x="0" y="2"/>
                    <a:pt x="0" y="2"/>
                  </a:cubicBezTo>
                  <a:cubicBezTo>
                    <a:pt x="0" y="1"/>
                    <a:pt x="0" y="0"/>
                    <a:pt x="2" y="0"/>
                  </a:cubicBezTo>
                  <a:cubicBezTo>
                    <a:pt x="115" y="0"/>
                    <a:pt x="115" y="0"/>
                    <a:pt x="115" y="0"/>
                  </a:cubicBezTo>
                  <a:cubicBezTo>
                    <a:pt x="116" y="0"/>
                    <a:pt x="117" y="1"/>
                    <a:pt x="117" y="2"/>
                  </a:cubicBezTo>
                  <a:cubicBezTo>
                    <a:pt x="117" y="76"/>
                    <a:pt x="117" y="76"/>
                    <a:pt x="117" y="76"/>
                  </a:cubicBezTo>
                  <a:cubicBezTo>
                    <a:pt x="117" y="78"/>
                    <a:pt x="116" y="78"/>
                    <a:pt x="115" y="78"/>
                  </a:cubicBezTo>
                  <a:close/>
                  <a:moveTo>
                    <a:pt x="4" y="74"/>
                  </a:moveTo>
                  <a:cubicBezTo>
                    <a:pt x="113" y="74"/>
                    <a:pt x="113" y="74"/>
                    <a:pt x="113" y="74"/>
                  </a:cubicBezTo>
                  <a:cubicBezTo>
                    <a:pt x="113" y="4"/>
                    <a:pt x="113" y="4"/>
                    <a:pt x="113" y="4"/>
                  </a:cubicBezTo>
                  <a:cubicBezTo>
                    <a:pt x="4" y="4"/>
                    <a:pt x="4" y="4"/>
                    <a:pt x="4" y="4"/>
                  </a:cubicBezTo>
                  <a:lnTo>
                    <a:pt x="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6" name="Freeform 52">
              <a:extLst>
                <a:ext uri="{FF2B5EF4-FFF2-40B4-BE49-F238E27FC236}">
                  <a16:creationId xmlns:a16="http://schemas.microsoft.com/office/drawing/2014/main" id="{FC9AB051-5FF3-4C7E-9E17-CC90076BB76B}"/>
                </a:ext>
              </a:extLst>
            </p:cNvPr>
            <p:cNvSpPr>
              <a:spLocks/>
            </p:cNvSpPr>
            <p:nvPr/>
          </p:nvSpPr>
          <p:spPr bwMode="auto">
            <a:xfrm>
              <a:off x="3888" y="2191"/>
              <a:ext cx="6"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0" y="31"/>
                    <a:pt x="0" y="30"/>
                    <a:pt x="0" y="29"/>
                  </a:cubicBezTo>
                  <a:cubicBezTo>
                    <a:pt x="0" y="2"/>
                    <a:pt x="0" y="2"/>
                    <a:pt x="0" y="2"/>
                  </a:cubicBezTo>
                  <a:cubicBezTo>
                    <a:pt x="0" y="1"/>
                    <a:pt x="0"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7" name="Freeform 53">
              <a:extLst>
                <a:ext uri="{FF2B5EF4-FFF2-40B4-BE49-F238E27FC236}">
                  <a16:creationId xmlns:a16="http://schemas.microsoft.com/office/drawing/2014/main" id="{49EA2D03-1BB2-48CC-9AC6-11CDD3D59676}"/>
                </a:ext>
              </a:extLst>
            </p:cNvPr>
            <p:cNvSpPr>
              <a:spLocks/>
            </p:cNvSpPr>
            <p:nvPr/>
          </p:nvSpPr>
          <p:spPr bwMode="auto">
            <a:xfrm>
              <a:off x="3862" y="2191"/>
              <a:ext cx="5"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1" y="31"/>
                    <a:pt x="0" y="30"/>
                    <a:pt x="0" y="29"/>
                  </a:cubicBezTo>
                  <a:cubicBezTo>
                    <a:pt x="0" y="2"/>
                    <a:pt x="0" y="2"/>
                    <a:pt x="0" y="2"/>
                  </a:cubicBezTo>
                  <a:cubicBezTo>
                    <a:pt x="0" y="1"/>
                    <a:pt x="1"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8" name="Freeform 54">
              <a:extLst>
                <a:ext uri="{FF2B5EF4-FFF2-40B4-BE49-F238E27FC236}">
                  <a16:creationId xmlns:a16="http://schemas.microsoft.com/office/drawing/2014/main" id="{930B6252-1D04-4804-98BF-0C79797EB272}"/>
                </a:ext>
              </a:extLst>
            </p:cNvPr>
            <p:cNvSpPr>
              <a:spLocks/>
            </p:cNvSpPr>
            <p:nvPr/>
          </p:nvSpPr>
          <p:spPr bwMode="auto">
            <a:xfrm>
              <a:off x="3913" y="2180"/>
              <a:ext cx="5" cy="55"/>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9" name="Freeform 55">
              <a:extLst>
                <a:ext uri="{FF2B5EF4-FFF2-40B4-BE49-F238E27FC236}">
                  <a16:creationId xmlns:a16="http://schemas.microsoft.com/office/drawing/2014/main" id="{14ECA4FD-FF3F-4C95-B6CB-429E6D712334}"/>
                </a:ext>
              </a:extLst>
            </p:cNvPr>
            <p:cNvSpPr>
              <a:spLocks/>
            </p:cNvSpPr>
            <p:nvPr/>
          </p:nvSpPr>
          <p:spPr bwMode="auto">
            <a:xfrm>
              <a:off x="3939" y="2197"/>
              <a:ext cx="6" cy="38"/>
            </a:xfrm>
            <a:custGeom>
              <a:avLst/>
              <a:gdLst>
                <a:gd name="T0" fmla="*/ 2 w 4"/>
                <a:gd name="T1" fmla="*/ 27 h 27"/>
                <a:gd name="T2" fmla="*/ 0 w 4"/>
                <a:gd name="T3" fmla="*/ 25 h 27"/>
                <a:gd name="T4" fmla="*/ 0 w 4"/>
                <a:gd name="T5" fmla="*/ 2 h 27"/>
                <a:gd name="T6" fmla="*/ 2 w 4"/>
                <a:gd name="T7" fmla="*/ 0 h 27"/>
                <a:gd name="T8" fmla="*/ 4 w 4"/>
                <a:gd name="T9" fmla="*/ 2 h 27"/>
                <a:gd name="T10" fmla="*/ 4 w 4"/>
                <a:gd name="T11" fmla="*/ 25 h 27"/>
                <a:gd name="T12" fmla="*/ 2 w 4"/>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2" y="27"/>
                  </a:moveTo>
                  <a:cubicBezTo>
                    <a:pt x="0" y="27"/>
                    <a:pt x="0" y="26"/>
                    <a:pt x="0" y="25"/>
                  </a:cubicBezTo>
                  <a:cubicBezTo>
                    <a:pt x="0" y="2"/>
                    <a:pt x="0" y="2"/>
                    <a:pt x="0" y="2"/>
                  </a:cubicBezTo>
                  <a:cubicBezTo>
                    <a:pt x="0" y="1"/>
                    <a:pt x="0" y="0"/>
                    <a:pt x="2" y="0"/>
                  </a:cubicBezTo>
                  <a:cubicBezTo>
                    <a:pt x="3" y="0"/>
                    <a:pt x="4" y="1"/>
                    <a:pt x="4" y="2"/>
                  </a:cubicBezTo>
                  <a:cubicBezTo>
                    <a:pt x="4" y="25"/>
                    <a:pt x="4" y="25"/>
                    <a:pt x="4" y="25"/>
                  </a:cubicBezTo>
                  <a:cubicBezTo>
                    <a:pt x="4" y="26"/>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10" name="Freeform 56">
              <a:extLst>
                <a:ext uri="{FF2B5EF4-FFF2-40B4-BE49-F238E27FC236}">
                  <a16:creationId xmlns:a16="http://schemas.microsoft.com/office/drawing/2014/main" id="{8F7319C5-4838-4813-AABA-A4982093F55E}"/>
                </a:ext>
              </a:extLst>
            </p:cNvPr>
            <p:cNvSpPr>
              <a:spLocks/>
            </p:cNvSpPr>
            <p:nvPr/>
          </p:nvSpPr>
          <p:spPr bwMode="auto">
            <a:xfrm>
              <a:off x="3964" y="2164"/>
              <a:ext cx="5" cy="71"/>
            </a:xfrm>
            <a:custGeom>
              <a:avLst/>
              <a:gdLst>
                <a:gd name="T0" fmla="*/ 2 w 4"/>
                <a:gd name="T1" fmla="*/ 50 h 50"/>
                <a:gd name="T2" fmla="*/ 0 w 4"/>
                <a:gd name="T3" fmla="*/ 48 h 50"/>
                <a:gd name="T4" fmla="*/ 0 w 4"/>
                <a:gd name="T5" fmla="*/ 2 h 50"/>
                <a:gd name="T6" fmla="*/ 2 w 4"/>
                <a:gd name="T7" fmla="*/ 0 h 50"/>
                <a:gd name="T8" fmla="*/ 4 w 4"/>
                <a:gd name="T9" fmla="*/ 2 h 50"/>
                <a:gd name="T10" fmla="*/ 4 w 4"/>
                <a:gd name="T11" fmla="*/ 48 h 50"/>
                <a:gd name="T12" fmla="*/ 2 w 4"/>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4" h="50">
                  <a:moveTo>
                    <a:pt x="2" y="50"/>
                  </a:moveTo>
                  <a:cubicBezTo>
                    <a:pt x="1" y="50"/>
                    <a:pt x="0" y="49"/>
                    <a:pt x="0" y="48"/>
                  </a:cubicBezTo>
                  <a:cubicBezTo>
                    <a:pt x="0" y="2"/>
                    <a:pt x="0" y="2"/>
                    <a:pt x="0" y="2"/>
                  </a:cubicBezTo>
                  <a:cubicBezTo>
                    <a:pt x="0" y="1"/>
                    <a:pt x="1" y="0"/>
                    <a:pt x="2" y="0"/>
                  </a:cubicBezTo>
                  <a:cubicBezTo>
                    <a:pt x="3" y="0"/>
                    <a:pt x="4" y="1"/>
                    <a:pt x="4" y="2"/>
                  </a:cubicBezTo>
                  <a:cubicBezTo>
                    <a:pt x="4" y="48"/>
                    <a:pt x="4" y="48"/>
                    <a:pt x="4" y="48"/>
                  </a:cubicBezTo>
                  <a:cubicBezTo>
                    <a:pt x="4" y="49"/>
                    <a:pt x="3"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11" name="Freeform 57">
              <a:extLst>
                <a:ext uri="{FF2B5EF4-FFF2-40B4-BE49-F238E27FC236}">
                  <a16:creationId xmlns:a16="http://schemas.microsoft.com/office/drawing/2014/main" id="{7A2C0DE9-385A-4FC8-A554-5452BED3DB49}"/>
                </a:ext>
              </a:extLst>
            </p:cNvPr>
            <p:cNvSpPr>
              <a:spLocks noEditPoints="1"/>
            </p:cNvSpPr>
            <p:nvPr/>
          </p:nvSpPr>
          <p:spPr bwMode="auto">
            <a:xfrm>
              <a:off x="3821" y="2246"/>
              <a:ext cx="190" cy="18"/>
            </a:xfrm>
            <a:custGeom>
              <a:avLst/>
              <a:gdLst>
                <a:gd name="T0" fmla="*/ 131 w 138"/>
                <a:gd name="T1" fmla="*/ 13 h 13"/>
                <a:gd name="T2" fmla="*/ 7 w 138"/>
                <a:gd name="T3" fmla="*/ 13 h 13"/>
                <a:gd name="T4" fmla="*/ 0 w 138"/>
                <a:gd name="T5" fmla="*/ 7 h 13"/>
                <a:gd name="T6" fmla="*/ 7 w 138"/>
                <a:gd name="T7" fmla="*/ 0 h 13"/>
                <a:gd name="T8" fmla="*/ 131 w 138"/>
                <a:gd name="T9" fmla="*/ 0 h 13"/>
                <a:gd name="T10" fmla="*/ 138 w 138"/>
                <a:gd name="T11" fmla="*/ 7 h 13"/>
                <a:gd name="T12" fmla="*/ 131 w 138"/>
                <a:gd name="T13" fmla="*/ 13 h 13"/>
                <a:gd name="T14" fmla="*/ 7 w 138"/>
                <a:gd name="T15" fmla="*/ 4 h 13"/>
                <a:gd name="T16" fmla="*/ 4 w 138"/>
                <a:gd name="T17" fmla="*/ 7 h 13"/>
                <a:gd name="T18" fmla="*/ 7 w 138"/>
                <a:gd name="T19" fmla="*/ 9 h 13"/>
                <a:gd name="T20" fmla="*/ 131 w 138"/>
                <a:gd name="T21" fmla="*/ 9 h 13"/>
                <a:gd name="T22" fmla="*/ 134 w 138"/>
                <a:gd name="T23" fmla="*/ 7 h 13"/>
                <a:gd name="T24" fmla="*/ 131 w 138"/>
                <a:gd name="T25" fmla="*/ 4 h 13"/>
                <a:gd name="T26" fmla="*/ 7 w 138"/>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13">
                  <a:moveTo>
                    <a:pt x="131" y="13"/>
                  </a:moveTo>
                  <a:cubicBezTo>
                    <a:pt x="7" y="13"/>
                    <a:pt x="7" y="13"/>
                    <a:pt x="7" y="13"/>
                  </a:cubicBezTo>
                  <a:cubicBezTo>
                    <a:pt x="3" y="13"/>
                    <a:pt x="0" y="10"/>
                    <a:pt x="0" y="7"/>
                  </a:cubicBezTo>
                  <a:cubicBezTo>
                    <a:pt x="0" y="3"/>
                    <a:pt x="3" y="0"/>
                    <a:pt x="7" y="0"/>
                  </a:cubicBezTo>
                  <a:cubicBezTo>
                    <a:pt x="131" y="0"/>
                    <a:pt x="131" y="0"/>
                    <a:pt x="131" y="0"/>
                  </a:cubicBezTo>
                  <a:cubicBezTo>
                    <a:pt x="135" y="0"/>
                    <a:pt x="138" y="3"/>
                    <a:pt x="138" y="7"/>
                  </a:cubicBezTo>
                  <a:cubicBezTo>
                    <a:pt x="138" y="10"/>
                    <a:pt x="135" y="13"/>
                    <a:pt x="131" y="13"/>
                  </a:cubicBezTo>
                  <a:close/>
                  <a:moveTo>
                    <a:pt x="7" y="4"/>
                  </a:moveTo>
                  <a:cubicBezTo>
                    <a:pt x="6" y="4"/>
                    <a:pt x="4" y="5"/>
                    <a:pt x="4" y="7"/>
                  </a:cubicBezTo>
                  <a:cubicBezTo>
                    <a:pt x="4" y="8"/>
                    <a:pt x="6" y="9"/>
                    <a:pt x="7" y="9"/>
                  </a:cubicBezTo>
                  <a:cubicBezTo>
                    <a:pt x="131" y="9"/>
                    <a:pt x="131" y="9"/>
                    <a:pt x="131" y="9"/>
                  </a:cubicBezTo>
                  <a:cubicBezTo>
                    <a:pt x="133" y="9"/>
                    <a:pt x="134" y="8"/>
                    <a:pt x="134" y="7"/>
                  </a:cubicBezTo>
                  <a:cubicBezTo>
                    <a:pt x="134" y="5"/>
                    <a:pt x="133" y="4"/>
                    <a:pt x="131"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101" name="Group 60">
            <a:extLst>
              <a:ext uri="{FF2B5EF4-FFF2-40B4-BE49-F238E27FC236}">
                <a16:creationId xmlns:a16="http://schemas.microsoft.com/office/drawing/2014/main" id="{2B9C434A-8DC3-4393-A85E-66017540A062}"/>
              </a:ext>
            </a:extLst>
          </p:cNvPr>
          <p:cNvGrpSpPr>
            <a:grpSpLocks noChangeAspect="1"/>
          </p:cNvGrpSpPr>
          <p:nvPr/>
        </p:nvGrpSpPr>
        <p:grpSpPr bwMode="auto">
          <a:xfrm>
            <a:off x="1474464" y="2636500"/>
            <a:ext cx="226675" cy="209597"/>
            <a:chOff x="3845" y="2135"/>
            <a:chExt cx="146" cy="135"/>
          </a:xfrm>
          <a:solidFill>
            <a:schemeClr val="bg1"/>
          </a:solidFill>
        </p:grpSpPr>
        <p:sp>
          <p:nvSpPr>
            <p:cNvPr id="103" name="Freeform 61">
              <a:extLst>
                <a:ext uri="{FF2B5EF4-FFF2-40B4-BE49-F238E27FC236}">
                  <a16:creationId xmlns:a16="http://schemas.microsoft.com/office/drawing/2014/main" id="{F7A5DA84-6996-42B0-9C90-296159988CB1}"/>
                </a:ext>
              </a:extLst>
            </p:cNvPr>
            <p:cNvSpPr>
              <a:spLocks noEditPoints="1"/>
            </p:cNvSpPr>
            <p:nvPr/>
          </p:nvSpPr>
          <p:spPr bwMode="auto">
            <a:xfrm>
              <a:off x="3845" y="2135"/>
              <a:ext cx="146" cy="135"/>
            </a:xfrm>
            <a:custGeom>
              <a:avLst/>
              <a:gdLst>
                <a:gd name="T0" fmla="*/ 103 w 105"/>
                <a:gd name="T1" fmla="*/ 97 h 97"/>
                <a:gd name="T2" fmla="*/ 2 w 105"/>
                <a:gd name="T3" fmla="*/ 97 h 97"/>
                <a:gd name="T4" fmla="*/ 0 w 105"/>
                <a:gd name="T5" fmla="*/ 95 h 97"/>
                <a:gd name="T6" fmla="*/ 0 w 105"/>
                <a:gd name="T7" fmla="*/ 7 h 97"/>
                <a:gd name="T8" fmla="*/ 18 w 105"/>
                <a:gd name="T9" fmla="*/ 0 h 97"/>
                <a:gd name="T10" fmla="*/ 35 w 105"/>
                <a:gd name="T11" fmla="*/ 7 h 97"/>
                <a:gd name="T12" fmla="*/ 35 w 105"/>
                <a:gd name="T13" fmla="*/ 51 h 97"/>
                <a:gd name="T14" fmla="*/ 66 w 105"/>
                <a:gd name="T15" fmla="*/ 37 h 97"/>
                <a:gd name="T16" fmla="*/ 68 w 105"/>
                <a:gd name="T17" fmla="*/ 37 h 97"/>
                <a:gd name="T18" fmla="*/ 69 w 105"/>
                <a:gd name="T19" fmla="*/ 38 h 97"/>
                <a:gd name="T20" fmla="*/ 69 w 105"/>
                <a:gd name="T21" fmla="*/ 55 h 97"/>
                <a:gd name="T22" fmla="*/ 102 w 105"/>
                <a:gd name="T23" fmla="*/ 38 h 97"/>
                <a:gd name="T24" fmla="*/ 104 w 105"/>
                <a:gd name="T25" fmla="*/ 38 h 97"/>
                <a:gd name="T26" fmla="*/ 105 w 105"/>
                <a:gd name="T27" fmla="*/ 39 h 97"/>
                <a:gd name="T28" fmla="*/ 105 w 105"/>
                <a:gd name="T29" fmla="*/ 95 h 97"/>
                <a:gd name="T30" fmla="*/ 103 w 105"/>
                <a:gd name="T31" fmla="*/ 97 h 97"/>
                <a:gd name="T32" fmla="*/ 4 w 105"/>
                <a:gd name="T33" fmla="*/ 93 h 97"/>
                <a:gd name="T34" fmla="*/ 101 w 105"/>
                <a:gd name="T35" fmla="*/ 93 h 97"/>
                <a:gd name="T36" fmla="*/ 101 w 105"/>
                <a:gd name="T37" fmla="*/ 43 h 97"/>
                <a:gd name="T38" fmla="*/ 68 w 105"/>
                <a:gd name="T39" fmla="*/ 60 h 97"/>
                <a:gd name="T40" fmla="*/ 66 w 105"/>
                <a:gd name="T41" fmla="*/ 60 h 97"/>
                <a:gd name="T42" fmla="*/ 65 w 105"/>
                <a:gd name="T43" fmla="*/ 58 h 97"/>
                <a:gd name="T44" fmla="*/ 65 w 105"/>
                <a:gd name="T45" fmla="*/ 42 h 97"/>
                <a:gd name="T46" fmla="*/ 34 w 105"/>
                <a:gd name="T47" fmla="*/ 56 h 97"/>
                <a:gd name="T48" fmla="*/ 32 w 105"/>
                <a:gd name="T49" fmla="*/ 56 h 97"/>
                <a:gd name="T50" fmla="*/ 31 w 105"/>
                <a:gd name="T51" fmla="*/ 54 h 97"/>
                <a:gd name="T52" fmla="*/ 31 w 105"/>
                <a:gd name="T53" fmla="*/ 7 h 97"/>
                <a:gd name="T54" fmla="*/ 18 w 105"/>
                <a:gd name="T55" fmla="*/ 4 h 97"/>
                <a:gd name="T56" fmla="*/ 4 w 105"/>
                <a:gd name="T57" fmla="*/ 7 h 97"/>
                <a:gd name="T58" fmla="*/ 4 w 105"/>
                <a:gd name="T59"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5" h="97">
                  <a:moveTo>
                    <a:pt x="103" y="97"/>
                  </a:moveTo>
                  <a:cubicBezTo>
                    <a:pt x="2" y="97"/>
                    <a:pt x="2" y="97"/>
                    <a:pt x="2" y="97"/>
                  </a:cubicBezTo>
                  <a:cubicBezTo>
                    <a:pt x="1" y="97"/>
                    <a:pt x="0" y="96"/>
                    <a:pt x="0" y="95"/>
                  </a:cubicBezTo>
                  <a:cubicBezTo>
                    <a:pt x="0" y="7"/>
                    <a:pt x="0" y="7"/>
                    <a:pt x="0" y="7"/>
                  </a:cubicBezTo>
                  <a:cubicBezTo>
                    <a:pt x="0" y="2"/>
                    <a:pt x="9" y="0"/>
                    <a:pt x="18" y="0"/>
                  </a:cubicBezTo>
                  <a:cubicBezTo>
                    <a:pt x="26" y="0"/>
                    <a:pt x="35" y="2"/>
                    <a:pt x="35" y="7"/>
                  </a:cubicBezTo>
                  <a:cubicBezTo>
                    <a:pt x="35" y="51"/>
                    <a:pt x="35" y="51"/>
                    <a:pt x="35" y="51"/>
                  </a:cubicBezTo>
                  <a:cubicBezTo>
                    <a:pt x="66" y="37"/>
                    <a:pt x="66" y="37"/>
                    <a:pt x="66" y="37"/>
                  </a:cubicBezTo>
                  <a:cubicBezTo>
                    <a:pt x="67" y="36"/>
                    <a:pt x="67" y="36"/>
                    <a:pt x="68" y="37"/>
                  </a:cubicBezTo>
                  <a:cubicBezTo>
                    <a:pt x="69" y="37"/>
                    <a:pt x="69" y="38"/>
                    <a:pt x="69" y="38"/>
                  </a:cubicBezTo>
                  <a:cubicBezTo>
                    <a:pt x="69" y="55"/>
                    <a:pt x="69" y="55"/>
                    <a:pt x="69" y="55"/>
                  </a:cubicBezTo>
                  <a:cubicBezTo>
                    <a:pt x="102" y="38"/>
                    <a:pt x="102" y="38"/>
                    <a:pt x="102" y="38"/>
                  </a:cubicBezTo>
                  <a:cubicBezTo>
                    <a:pt x="103" y="37"/>
                    <a:pt x="103" y="37"/>
                    <a:pt x="104" y="38"/>
                  </a:cubicBezTo>
                  <a:cubicBezTo>
                    <a:pt x="105" y="38"/>
                    <a:pt x="105" y="39"/>
                    <a:pt x="105" y="39"/>
                  </a:cubicBezTo>
                  <a:cubicBezTo>
                    <a:pt x="105" y="95"/>
                    <a:pt x="105" y="95"/>
                    <a:pt x="105" y="95"/>
                  </a:cubicBezTo>
                  <a:cubicBezTo>
                    <a:pt x="105" y="96"/>
                    <a:pt x="104" y="97"/>
                    <a:pt x="103" y="97"/>
                  </a:cubicBezTo>
                  <a:close/>
                  <a:moveTo>
                    <a:pt x="4" y="93"/>
                  </a:moveTo>
                  <a:cubicBezTo>
                    <a:pt x="101" y="93"/>
                    <a:pt x="101" y="93"/>
                    <a:pt x="101" y="93"/>
                  </a:cubicBezTo>
                  <a:cubicBezTo>
                    <a:pt x="101" y="43"/>
                    <a:pt x="101" y="43"/>
                    <a:pt x="101" y="43"/>
                  </a:cubicBezTo>
                  <a:cubicBezTo>
                    <a:pt x="68" y="60"/>
                    <a:pt x="68" y="60"/>
                    <a:pt x="68" y="60"/>
                  </a:cubicBezTo>
                  <a:cubicBezTo>
                    <a:pt x="67" y="60"/>
                    <a:pt x="66" y="60"/>
                    <a:pt x="66" y="60"/>
                  </a:cubicBezTo>
                  <a:cubicBezTo>
                    <a:pt x="65" y="60"/>
                    <a:pt x="65" y="59"/>
                    <a:pt x="65" y="58"/>
                  </a:cubicBezTo>
                  <a:cubicBezTo>
                    <a:pt x="65" y="42"/>
                    <a:pt x="65" y="42"/>
                    <a:pt x="65" y="42"/>
                  </a:cubicBezTo>
                  <a:cubicBezTo>
                    <a:pt x="34" y="56"/>
                    <a:pt x="34" y="56"/>
                    <a:pt x="34" y="56"/>
                  </a:cubicBezTo>
                  <a:cubicBezTo>
                    <a:pt x="34" y="56"/>
                    <a:pt x="33" y="56"/>
                    <a:pt x="32" y="56"/>
                  </a:cubicBezTo>
                  <a:cubicBezTo>
                    <a:pt x="32" y="55"/>
                    <a:pt x="31" y="55"/>
                    <a:pt x="31" y="54"/>
                  </a:cubicBezTo>
                  <a:cubicBezTo>
                    <a:pt x="31" y="7"/>
                    <a:pt x="31" y="7"/>
                    <a:pt x="31" y="7"/>
                  </a:cubicBezTo>
                  <a:cubicBezTo>
                    <a:pt x="31" y="6"/>
                    <a:pt x="27" y="4"/>
                    <a:pt x="18" y="4"/>
                  </a:cubicBezTo>
                  <a:cubicBezTo>
                    <a:pt x="9" y="4"/>
                    <a:pt x="4" y="6"/>
                    <a:pt x="4" y="7"/>
                  </a:cubicBezTo>
                  <a:lnTo>
                    <a:pt x="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05" name="Freeform 62">
              <a:extLst>
                <a:ext uri="{FF2B5EF4-FFF2-40B4-BE49-F238E27FC236}">
                  <a16:creationId xmlns:a16="http://schemas.microsoft.com/office/drawing/2014/main" id="{29EB2067-09FD-4578-9F70-3A86E8D65D7D}"/>
                </a:ext>
              </a:extLst>
            </p:cNvPr>
            <p:cNvSpPr>
              <a:spLocks/>
            </p:cNvSpPr>
            <p:nvPr/>
          </p:nvSpPr>
          <p:spPr bwMode="auto">
            <a:xfrm>
              <a:off x="3891"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06" name="Freeform 63">
              <a:extLst>
                <a:ext uri="{FF2B5EF4-FFF2-40B4-BE49-F238E27FC236}">
                  <a16:creationId xmlns:a16="http://schemas.microsoft.com/office/drawing/2014/main" id="{91EDECE5-E6FC-4D51-9BB5-77DB15F277D4}"/>
                </a:ext>
              </a:extLst>
            </p:cNvPr>
            <p:cNvSpPr>
              <a:spLocks/>
            </p:cNvSpPr>
            <p:nvPr/>
          </p:nvSpPr>
          <p:spPr bwMode="auto">
            <a:xfrm>
              <a:off x="3936"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108" name="Group 66">
            <a:extLst>
              <a:ext uri="{FF2B5EF4-FFF2-40B4-BE49-F238E27FC236}">
                <a16:creationId xmlns:a16="http://schemas.microsoft.com/office/drawing/2014/main" id="{071607FF-68BA-41D5-A300-DAEEBABC3755}"/>
              </a:ext>
            </a:extLst>
          </p:cNvPr>
          <p:cNvGrpSpPr>
            <a:grpSpLocks noChangeAspect="1"/>
          </p:cNvGrpSpPr>
          <p:nvPr/>
        </p:nvGrpSpPr>
        <p:grpSpPr bwMode="auto">
          <a:xfrm>
            <a:off x="1486834" y="3137434"/>
            <a:ext cx="189089" cy="201929"/>
            <a:chOff x="1069" y="1970"/>
            <a:chExt cx="162" cy="173"/>
          </a:xfrm>
          <a:solidFill>
            <a:schemeClr val="bg1"/>
          </a:solidFill>
        </p:grpSpPr>
        <p:sp>
          <p:nvSpPr>
            <p:cNvPr id="110" name="Freeform 67">
              <a:extLst>
                <a:ext uri="{FF2B5EF4-FFF2-40B4-BE49-F238E27FC236}">
                  <a16:creationId xmlns:a16="http://schemas.microsoft.com/office/drawing/2014/main" id="{2BB5AAC4-5C8A-42D1-AB14-A7DFED9AE983}"/>
                </a:ext>
              </a:extLst>
            </p:cNvPr>
            <p:cNvSpPr>
              <a:spLocks noEditPoints="1"/>
            </p:cNvSpPr>
            <p:nvPr/>
          </p:nvSpPr>
          <p:spPr bwMode="auto">
            <a:xfrm>
              <a:off x="1128" y="2049"/>
              <a:ext cx="103" cy="94"/>
            </a:xfrm>
            <a:custGeom>
              <a:avLst/>
              <a:gdLst>
                <a:gd name="T0" fmla="*/ 37 w 74"/>
                <a:gd name="T1" fmla="*/ 68 h 68"/>
                <a:gd name="T2" fmla="*/ 0 w 74"/>
                <a:gd name="T3" fmla="*/ 57 h 68"/>
                <a:gd name="T4" fmla="*/ 0 w 74"/>
                <a:gd name="T5" fmla="*/ 2 h 68"/>
                <a:gd name="T6" fmla="*/ 2 w 74"/>
                <a:gd name="T7" fmla="*/ 0 h 68"/>
                <a:gd name="T8" fmla="*/ 4 w 74"/>
                <a:gd name="T9" fmla="*/ 2 h 68"/>
                <a:gd name="T10" fmla="*/ 37 w 74"/>
                <a:gd name="T11" fmla="*/ 9 h 68"/>
                <a:gd name="T12" fmla="*/ 70 w 74"/>
                <a:gd name="T13" fmla="*/ 2 h 68"/>
                <a:gd name="T14" fmla="*/ 72 w 74"/>
                <a:gd name="T15" fmla="*/ 0 h 68"/>
                <a:gd name="T16" fmla="*/ 74 w 74"/>
                <a:gd name="T17" fmla="*/ 2 h 68"/>
                <a:gd name="T18" fmla="*/ 74 w 74"/>
                <a:gd name="T19" fmla="*/ 57 h 68"/>
                <a:gd name="T20" fmla="*/ 37 w 74"/>
                <a:gd name="T21" fmla="*/ 68 h 68"/>
                <a:gd name="T22" fmla="*/ 4 w 74"/>
                <a:gd name="T23" fmla="*/ 7 h 68"/>
                <a:gd name="T24" fmla="*/ 4 w 74"/>
                <a:gd name="T25" fmla="*/ 57 h 68"/>
                <a:gd name="T26" fmla="*/ 37 w 74"/>
                <a:gd name="T27" fmla="*/ 64 h 68"/>
                <a:gd name="T28" fmla="*/ 70 w 74"/>
                <a:gd name="T29" fmla="*/ 57 h 68"/>
                <a:gd name="T30" fmla="*/ 70 w 74"/>
                <a:gd name="T31" fmla="*/ 7 h 68"/>
                <a:gd name="T32" fmla="*/ 37 w 74"/>
                <a:gd name="T33" fmla="*/ 13 h 68"/>
                <a:gd name="T34" fmla="*/ 4 w 74"/>
                <a:gd name="T35" fmla="*/ 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68">
                  <a:moveTo>
                    <a:pt x="37" y="68"/>
                  </a:moveTo>
                  <a:cubicBezTo>
                    <a:pt x="19" y="68"/>
                    <a:pt x="0" y="65"/>
                    <a:pt x="0" y="57"/>
                  </a:cubicBezTo>
                  <a:cubicBezTo>
                    <a:pt x="0" y="2"/>
                    <a:pt x="0" y="2"/>
                    <a:pt x="0" y="2"/>
                  </a:cubicBezTo>
                  <a:cubicBezTo>
                    <a:pt x="0" y="0"/>
                    <a:pt x="1" y="0"/>
                    <a:pt x="2" y="0"/>
                  </a:cubicBezTo>
                  <a:cubicBezTo>
                    <a:pt x="3" y="0"/>
                    <a:pt x="4" y="0"/>
                    <a:pt x="4" y="2"/>
                  </a:cubicBezTo>
                  <a:cubicBezTo>
                    <a:pt x="4" y="4"/>
                    <a:pt x="15" y="9"/>
                    <a:pt x="37" y="9"/>
                  </a:cubicBezTo>
                  <a:cubicBezTo>
                    <a:pt x="59" y="9"/>
                    <a:pt x="70" y="4"/>
                    <a:pt x="70" y="2"/>
                  </a:cubicBezTo>
                  <a:cubicBezTo>
                    <a:pt x="70" y="0"/>
                    <a:pt x="71" y="0"/>
                    <a:pt x="72" y="0"/>
                  </a:cubicBezTo>
                  <a:cubicBezTo>
                    <a:pt x="73" y="0"/>
                    <a:pt x="74" y="0"/>
                    <a:pt x="74" y="2"/>
                  </a:cubicBezTo>
                  <a:cubicBezTo>
                    <a:pt x="74" y="57"/>
                    <a:pt x="74" y="57"/>
                    <a:pt x="74" y="57"/>
                  </a:cubicBezTo>
                  <a:cubicBezTo>
                    <a:pt x="74" y="65"/>
                    <a:pt x="55" y="68"/>
                    <a:pt x="37" y="68"/>
                  </a:cubicBezTo>
                  <a:close/>
                  <a:moveTo>
                    <a:pt x="4" y="7"/>
                  </a:moveTo>
                  <a:cubicBezTo>
                    <a:pt x="4" y="57"/>
                    <a:pt x="4" y="57"/>
                    <a:pt x="4" y="57"/>
                  </a:cubicBezTo>
                  <a:cubicBezTo>
                    <a:pt x="4" y="59"/>
                    <a:pt x="15" y="64"/>
                    <a:pt x="37" y="64"/>
                  </a:cubicBezTo>
                  <a:cubicBezTo>
                    <a:pt x="59" y="64"/>
                    <a:pt x="70" y="59"/>
                    <a:pt x="70" y="57"/>
                  </a:cubicBezTo>
                  <a:cubicBezTo>
                    <a:pt x="70" y="7"/>
                    <a:pt x="70" y="7"/>
                    <a:pt x="70" y="7"/>
                  </a:cubicBezTo>
                  <a:cubicBezTo>
                    <a:pt x="63" y="11"/>
                    <a:pt x="50" y="13"/>
                    <a:pt x="37" y="13"/>
                  </a:cubicBezTo>
                  <a:cubicBezTo>
                    <a:pt x="24" y="13"/>
                    <a:pt x="10" y="1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1" name="Freeform 68">
              <a:extLst>
                <a:ext uri="{FF2B5EF4-FFF2-40B4-BE49-F238E27FC236}">
                  <a16:creationId xmlns:a16="http://schemas.microsoft.com/office/drawing/2014/main" id="{403789B6-DC70-402C-AE90-7B4BCE8F96D7}"/>
                </a:ext>
              </a:extLst>
            </p:cNvPr>
            <p:cNvSpPr>
              <a:spLocks noEditPoints="1"/>
            </p:cNvSpPr>
            <p:nvPr/>
          </p:nvSpPr>
          <p:spPr bwMode="auto">
            <a:xfrm>
              <a:off x="1128" y="2036"/>
              <a:ext cx="103" cy="31"/>
            </a:xfrm>
            <a:custGeom>
              <a:avLst/>
              <a:gdLst>
                <a:gd name="T0" fmla="*/ 37 w 74"/>
                <a:gd name="T1" fmla="*/ 22 h 22"/>
                <a:gd name="T2" fmla="*/ 0 w 74"/>
                <a:gd name="T3" fmla="*/ 11 h 22"/>
                <a:gd name="T4" fmla="*/ 37 w 74"/>
                <a:gd name="T5" fmla="*/ 0 h 22"/>
                <a:gd name="T6" fmla="*/ 74 w 74"/>
                <a:gd name="T7" fmla="*/ 11 h 22"/>
                <a:gd name="T8" fmla="*/ 37 w 74"/>
                <a:gd name="T9" fmla="*/ 22 h 22"/>
                <a:gd name="T10" fmla="*/ 37 w 74"/>
                <a:gd name="T11" fmla="*/ 4 h 22"/>
                <a:gd name="T12" fmla="*/ 4 w 74"/>
                <a:gd name="T13" fmla="*/ 11 h 22"/>
                <a:gd name="T14" fmla="*/ 37 w 74"/>
                <a:gd name="T15" fmla="*/ 18 h 22"/>
                <a:gd name="T16" fmla="*/ 70 w 74"/>
                <a:gd name="T17" fmla="*/ 11 h 22"/>
                <a:gd name="T18" fmla="*/ 37 w 74"/>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2">
                  <a:moveTo>
                    <a:pt x="37" y="22"/>
                  </a:moveTo>
                  <a:cubicBezTo>
                    <a:pt x="19" y="22"/>
                    <a:pt x="0" y="18"/>
                    <a:pt x="0" y="11"/>
                  </a:cubicBezTo>
                  <a:cubicBezTo>
                    <a:pt x="0" y="3"/>
                    <a:pt x="19" y="0"/>
                    <a:pt x="37" y="0"/>
                  </a:cubicBezTo>
                  <a:cubicBezTo>
                    <a:pt x="55" y="0"/>
                    <a:pt x="74" y="3"/>
                    <a:pt x="74" y="11"/>
                  </a:cubicBezTo>
                  <a:cubicBezTo>
                    <a:pt x="74" y="18"/>
                    <a:pt x="55" y="22"/>
                    <a:pt x="37" y="22"/>
                  </a:cubicBezTo>
                  <a:close/>
                  <a:moveTo>
                    <a:pt x="37" y="4"/>
                  </a:moveTo>
                  <a:cubicBezTo>
                    <a:pt x="15" y="4"/>
                    <a:pt x="4" y="9"/>
                    <a:pt x="4" y="11"/>
                  </a:cubicBezTo>
                  <a:cubicBezTo>
                    <a:pt x="4" y="13"/>
                    <a:pt x="15" y="18"/>
                    <a:pt x="37" y="18"/>
                  </a:cubicBezTo>
                  <a:cubicBezTo>
                    <a:pt x="59" y="18"/>
                    <a:pt x="70" y="13"/>
                    <a:pt x="70" y="11"/>
                  </a:cubicBezTo>
                  <a:cubicBezTo>
                    <a:pt x="70" y="9"/>
                    <a:pt x="59" y="4"/>
                    <a:pt x="3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2" name="Freeform 69">
              <a:extLst>
                <a:ext uri="{FF2B5EF4-FFF2-40B4-BE49-F238E27FC236}">
                  <a16:creationId xmlns:a16="http://schemas.microsoft.com/office/drawing/2014/main" id="{FA8C1B16-98E2-47DA-855F-C66A04F33702}"/>
                </a:ext>
              </a:extLst>
            </p:cNvPr>
            <p:cNvSpPr>
              <a:spLocks/>
            </p:cNvSpPr>
            <p:nvPr/>
          </p:nvSpPr>
          <p:spPr bwMode="auto">
            <a:xfrm>
              <a:off x="1069" y="1970"/>
              <a:ext cx="105" cy="139"/>
            </a:xfrm>
            <a:custGeom>
              <a:avLst/>
              <a:gdLst>
                <a:gd name="T0" fmla="*/ 44 w 75"/>
                <a:gd name="T1" fmla="*/ 101 h 101"/>
                <a:gd name="T2" fmla="*/ 2 w 75"/>
                <a:gd name="T3" fmla="*/ 101 h 101"/>
                <a:gd name="T4" fmla="*/ 0 w 75"/>
                <a:gd name="T5" fmla="*/ 99 h 101"/>
                <a:gd name="T6" fmla="*/ 0 w 75"/>
                <a:gd name="T7" fmla="*/ 2 h 101"/>
                <a:gd name="T8" fmla="*/ 2 w 75"/>
                <a:gd name="T9" fmla="*/ 0 h 101"/>
                <a:gd name="T10" fmla="*/ 48 w 75"/>
                <a:gd name="T11" fmla="*/ 0 h 101"/>
                <a:gd name="T12" fmla="*/ 50 w 75"/>
                <a:gd name="T13" fmla="*/ 1 h 101"/>
                <a:gd name="T14" fmla="*/ 74 w 75"/>
                <a:gd name="T15" fmla="*/ 25 h 101"/>
                <a:gd name="T16" fmla="*/ 75 w 75"/>
                <a:gd name="T17" fmla="*/ 27 h 101"/>
                <a:gd name="T18" fmla="*/ 75 w 75"/>
                <a:gd name="T19" fmla="*/ 50 h 101"/>
                <a:gd name="T20" fmla="*/ 73 w 75"/>
                <a:gd name="T21" fmla="*/ 52 h 101"/>
                <a:gd name="T22" fmla="*/ 71 w 75"/>
                <a:gd name="T23" fmla="*/ 50 h 101"/>
                <a:gd name="T24" fmla="*/ 71 w 75"/>
                <a:gd name="T25" fmla="*/ 28 h 101"/>
                <a:gd name="T26" fmla="*/ 47 w 75"/>
                <a:gd name="T27" fmla="*/ 4 h 101"/>
                <a:gd name="T28" fmla="*/ 4 w 75"/>
                <a:gd name="T29" fmla="*/ 4 h 101"/>
                <a:gd name="T30" fmla="*/ 4 w 75"/>
                <a:gd name="T31" fmla="*/ 97 h 101"/>
                <a:gd name="T32" fmla="*/ 44 w 75"/>
                <a:gd name="T33" fmla="*/ 97 h 101"/>
                <a:gd name="T34" fmla="*/ 46 w 75"/>
                <a:gd name="T35" fmla="*/ 99 h 101"/>
                <a:gd name="T36" fmla="*/ 44 w 75"/>
                <a:gd name="T3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01">
                  <a:moveTo>
                    <a:pt x="44" y="101"/>
                  </a:moveTo>
                  <a:cubicBezTo>
                    <a:pt x="2" y="101"/>
                    <a:pt x="2" y="101"/>
                    <a:pt x="2" y="101"/>
                  </a:cubicBezTo>
                  <a:cubicBezTo>
                    <a:pt x="1" y="101"/>
                    <a:pt x="0" y="100"/>
                    <a:pt x="0" y="99"/>
                  </a:cubicBezTo>
                  <a:cubicBezTo>
                    <a:pt x="0" y="2"/>
                    <a:pt x="0" y="2"/>
                    <a:pt x="0" y="2"/>
                  </a:cubicBezTo>
                  <a:cubicBezTo>
                    <a:pt x="0" y="1"/>
                    <a:pt x="1" y="0"/>
                    <a:pt x="2" y="0"/>
                  </a:cubicBezTo>
                  <a:cubicBezTo>
                    <a:pt x="48" y="0"/>
                    <a:pt x="48" y="0"/>
                    <a:pt x="48" y="0"/>
                  </a:cubicBezTo>
                  <a:cubicBezTo>
                    <a:pt x="49" y="0"/>
                    <a:pt x="49" y="0"/>
                    <a:pt x="50" y="1"/>
                  </a:cubicBezTo>
                  <a:cubicBezTo>
                    <a:pt x="74" y="25"/>
                    <a:pt x="74" y="25"/>
                    <a:pt x="74" y="25"/>
                  </a:cubicBezTo>
                  <a:cubicBezTo>
                    <a:pt x="75" y="26"/>
                    <a:pt x="75" y="26"/>
                    <a:pt x="75" y="27"/>
                  </a:cubicBezTo>
                  <a:cubicBezTo>
                    <a:pt x="75" y="50"/>
                    <a:pt x="75" y="50"/>
                    <a:pt x="75" y="50"/>
                  </a:cubicBezTo>
                  <a:cubicBezTo>
                    <a:pt x="75" y="51"/>
                    <a:pt x="74" y="52"/>
                    <a:pt x="73" y="52"/>
                  </a:cubicBezTo>
                  <a:cubicBezTo>
                    <a:pt x="72" y="52"/>
                    <a:pt x="71" y="51"/>
                    <a:pt x="71" y="50"/>
                  </a:cubicBezTo>
                  <a:cubicBezTo>
                    <a:pt x="71" y="28"/>
                    <a:pt x="71" y="28"/>
                    <a:pt x="71" y="28"/>
                  </a:cubicBezTo>
                  <a:cubicBezTo>
                    <a:pt x="47" y="4"/>
                    <a:pt x="47" y="4"/>
                    <a:pt x="47" y="4"/>
                  </a:cubicBezTo>
                  <a:cubicBezTo>
                    <a:pt x="4" y="4"/>
                    <a:pt x="4" y="4"/>
                    <a:pt x="4" y="4"/>
                  </a:cubicBezTo>
                  <a:cubicBezTo>
                    <a:pt x="4" y="97"/>
                    <a:pt x="4" y="97"/>
                    <a:pt x="4" y="97"/>
                  </a:cubicBezTo>
                  <a:cubicBezTo>
                    <a:pt x="44" y="97"/>
                    <a:pt x="44" y="97"/>
                    <a:pt x="44" y="97"/>
                  </a:cubicBezTo>
                  <a:cubicBezTo>
                    <a:pt x="45" y="97"/>
                    <a:pt x="46" y="98"/>
                    <a:pt x="46" y="99"/>
                  </a:cubicBezTo>
                  <a:cubicBezTo>
                    <a:pt x="46" y="100"/>
                    <a:pt x="45" y="101"/>
                    <a:pt x="4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3" name="Freeform 70">
              <a:extLst>
                <a:ext uri="{FF2B5EF4-FFF2-40B4-BE49-F238E27FC236}">
                  <a16:creationId xmlns:a16="http://schemas.microsoft.com/office/drawing/2014/main" id="{A364B755-D967-46A7-8F24-679AD3CA3619}"/>
                </a:ext>
              </a:extLst>
            </p:cNvPr>
            <p:cNvSpPr>
              <a:spLocks/>
            </p:cNvSpPr>
            <p:nvPr/>
          </p:nvSpPr>
          <p:spPr bwMode="auto">
            <a:xfrm>
              <a:off x="1085" y="2006"/>
              <a:ext cx="34" cy="5"/>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4" name="Freeform 71">
              <a:extLst>
                <a:ext uri="{FF2B5EF4-FFF2-40B4-BE49-F238E27FC236}">
                  <a16:creationId xmlns:a16="http://schemas.microsoft.com/office/drawing/2014/main" id="{98BE08D9-0136-4CAF-9E22-153E391028CD}"/>
                </a:ext>
              </a:extLst>
            </p:cNvPr>
            <p:cNvSpPr>
              <a:spLocks/>
            </p:cNvSpPr>
            <p:nvPr/>
          </p:nvSpPr>
          <p:spPr bwMode="auto">
            <a:xfrm>
              <a:off x="1085" y="2024"/>
              <a:ext cx="58" cy="5"/>
            </a:xfrm>
            <a:custGeom>
              <a:avLst/>
              <a:gdLst>
                <a:gd name="T0" fmla="*/ 40 w 42"/>
                <a:gd name="T1" fmla="*/ 4 h 4"/>
                <a:gd name="T2" fmla="*/ 2 w 42"/>
                <a:gd name="T3" fmla="*/ 4 h 4"/>
                <a:gd name="T4" fmla="*/ 0 w 42"/>
                <a:gd name="T5" fmla="*/ 2 h 4"/>
                <a:gd name="T6" fmla="*/ 2 w 42"/>
                <a:gd name="T7" fmla="*/ 0 h 4"/>
                <a:gd name="T8" fmla="*/ 40 w 42"/>
                <a:gd name="T9" fmla="*/ 0 h 4"/>
                <a:gd name="T10" fmla="*/ 42 w 42"/>
                <a:gd name="T11" fmla="*/ 2 h 4"/>
                <a:gd name="T12" fmla="*/ 40 w 4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2" h="4">
                  <a:moveTo>
                    <a:pt x="40" y="4"/>
                  </a:moveTo>
                  <a:cubicBezTo>
                    <a:pt x="2" y="4"/>
                    <a:pt x="2" y="4"/>
                    <a:pt x="2" y="4"/>
                  </a:cubicBezTo>
                  <a:cubicBezTo>
                    <a:pt x="1" y="4"/>
                    <a:pt x="0" y="3"/>
                    <a:pt x="0" y="2"/>
                  </a:cubicBezTo>
                  <a:cubicBezTo>
                    <a:pt x="0" y="0"/>
                    <a:pt x="1" y="0"/>
                    <a:pt x="2" y="0"/>
                  </a:cubicBezTo>
                  <a:cubicBezTo>
                    <a:pt x="40" y="0"/>
                    <a:pt x="40" y="0"/>
                    <a:pt x="40" y="0"/>
                  </a:cubicBezTo>
                  <a:cubicBezTo>
                    <a:pt x="41" y="0"/>
                    <a:pt x="42" y="0"/>
                    <a:pt x="42" y="2"/>
                  </a:cubicBezTo>
                  <a:cubicBezTo>
                    <a:pt x="42" y="3"/>
                    <a:pt x="41" y="4"/>
                    <a:pt x="4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5" name="Freeform 72">
              <a:extLst>
                <a:ext uri="{FF2B5EF4-FFF2-40B4-BE49-F238E27FC236}">
                  <a16:creationId xmlns:a16="http://schemas.microsoft.com/office/drawing/2014/main" id="{E74451E8-256A-4B5D-87D4-A596ECFDE9BC}"/>
                </a:ext>
              </a:extLst>
            </p:cNvPr>
            <p:cNvSpPr>
              <a:spLocks/>
            </p:cNvSpPr>
            <p:nvPr/>
          </p:nvSpPr>
          <p:spPr bwMode="auto">
            <a:xfrm>
              <a:off x="1085" y="2040"/>
              <a:ext cx="40" cy="6"/>
            </a:xfrm>
            <a:custGeom>
              <a:avLst/>
              <a:gdLst>
                <a:gd name="T0" fmla="*/ 27 w 29"/>
                <a:gd name="T1" fmla="*/ 4 h 4"/>
                <a:gd name="T2" fmla="*/ 2 w 29"/>
                <a:gd name="T3" fmla="*/ 4 h 4"/>
                <a:gd name="T4" fmla="*/ 0 w 29"/>
                <a:gd name="T5" fmla="*/ 2 h 4"/>
                <a:gd name="T6" fmla="*/ 2 w 29"/>
                <a:gd name="T7" fmla="*/ 0 h 4"/>
                <a:gd name="T8" fmla="*/ 27 w 29"/>
                <a:gd name="T9" fmla="*/ 0 h 4"/>
                <a:gd name="T10" fmla="*/ 29 w 29"/>
                <a:gd name="T11" fmla="*/ 2 h 4"/>
                <a:gd name="T12" fmla="*/ 27 w 2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9" h="4">
                  <a:moveTo>
                    <a:pt x="27" y="4"/>
                  </a:moveTo>
                  <a:cubicBezTo>
                    <a:pt x="2" y="4"/>
                    <a:pt x="2" y="4"/>
                    <a:pt x="2" y="4"/>
                  </a:cubicBezTo>
                  <a:cubicBezTo>
                    <a:pt x="1" y="4"/>
                    <a:pt x="0" y="3"/>
                    <a:pt x="0" y="2"/>
                  </a:cubicBezTo>
                  <a:cubicBezTo>
                    <a:pt x="0" y="1"/>
                    <a:pt x="1" y="0"/>
                    <a:pt x="2" y="0"/>
                  </a:cubicBezTo>
                  <a:cubicBezTo>
                    <a:pt x="27" y="0"/>
                    <a:pt x="27" y="0"/>
                    <a:pt x="27" y="0"/>
                  </a:cubicBezTo>
                  <a:cubicBezTo>
                    <a:pt x="28" y="0"/>
                    <a:pt x="29" y="1"/>
                    <a:pt x="29" y="2"/>
                  </a:cubicBezTo>
                  <a:cubicBezTo>
                    <a:pt x="29" y="3"/>
                    <a:pt x="28" y="4"/>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6" name="Freeform 73">
              <a:extLst>
                <a:ext uri="{FF2B5EF4-FFF2-40B4-BE49-F238E27FC236}">
                  <a16:creationId xmlns:a16="http://schemas.microsoft.com/office/drawing/2014/main" id="{F1C8D24C-50E2-4B10-AE64-80D59874A64B}"/>
                </a:ext>
              </a:extLst>
            </p:cNvPr>
            <p:cNvSpPr>
              <a:spLocks/>
            </p:cNvSpPr>
            <p:nvPr/>
          </p:nvSpPr>
          <p:spPr bwMode="auto">
            <a:xfrm>
              <a:off x="1085" y="2058"/>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7" name="Freeform 74">
              <a:extLst>
                <a:ext uri="{FF2B5EF4-FFF2-40B4-BE49-F238E27FC236}">
                  <a16:creationId xmlns:a16="http://schemas.microsoft.com/office/drawing/2014/main" id="{8FC1FD15-1A60-476D-88DC-6F8BF4B2FA63}"/>
                </a:ext>
              </a:extLst>
            </p:cNvPr>
            <p:cNvSpPr>
              <a:spLocks/>
            </p:cNvSpPr>
            <p:nvPr/>
          </p:nvSpPr>
          <p:spPr bwMode="auto">
            <a:xfrm>
              <a:off x="1085" y="2076"/>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8" name="Freeform 75">
              <a:extLst>
                <a:ext uri="{FF2B5EF4-FFF2-40B4-BE49-F238E27FC236}">
                  <a16:creationId xmlns:a16="http://schemas.microsoft.com/office/drawing/2014/main" id="{221AABE9-4585-4614-8953-903EC289F14E}"/>
                </a:ext>
              </a:extLst>
            </p:cNvPr>
            <p:cNvSpPr>
              <a:spLocks noEditPoints="1"/>
            </p:cNvSpPr>
            <p:nvPr/>
          </p:nvSpPr>
          <p:spPr bwMode="auto">
            <a:xfrm>
              <a:off x="1133" y="1970"/>
              <a:ext cx="41" cy="40"/>
            </a:xfrm>
            <a:custGeom>
              <a:avLst/>
              <a:gdLst>
                <a:gd name="T0" fmla="*/ 27 w 29"/>
                <a:gd name="T1" fmla="*/ 29 h 29"/>
                <a:gd name="T2" fmla="*/ 2 w 29"/>
                <a:gd name="T3" fmla="*/ 29 h 29"/>
                <a:gd name="T4" fmla="*/ 0 w 29"/>
                <a:gd name="T5" fmla="*/ 27 h 29"/>
                <a:gd name="T6" fmla="*/ 0 w 29"/>
                <a:gd name="T7" fmla="*/ 2 h 29"/>
                <a:gd name="T8" fmla="*/ 1 w 29"/>
                <a:gd name="T9" fmla="*/ 0 h 29"/>
                <a:gd name="T10" fmla="*/ 4 w 29"/>
                <a:gd name="T11" fmla="*/ 1 h 29"/>
                <a:gd name="T12" fmla="*/ 28 w 29"/>
                <a:gd name="T13" fmla="*/ 25 h 29"/>
                <a:gd name="T14" fmla="*/ 29 w 29"/>
                <a:gd name="T15" fmla="*/ 28 h 29"/>
                <a:gd name="T16" fmla="*/ 27 w 29"/>
                <a:gd name="T17" fmla="*/ 29 h 29"/>
                <a:gd name="T18" fmla="*/ 4 w 29"/>
                <a:gd name="T19" fmla="*/ 25 h 29"/>
                <a:gd name="T20" fmla="*/ 22 w 29"/>
                <a:gd name="T21" fmla="*/ 25 h 29"/>
                <a:gd name="T22" fmla="*/ 4 w 29"/>
                <a:gd name="T23" fmla="*/ 7 h 29"/>
                <a:gd name="T24" fmla="*/ 4 w 29"/>
                <a:gd name="T25"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9">
                  <a:moveTo>
                    <a:pt x="27" y="29"/>
                  </a:moveTo>
                  <a:cubicBezTo>
                    <a:pt x="2" y="29"/>
                    <a:pt x="2" y="29"/>
                    <a:pt x="2" y="29"/>
                  </a:cubicBezTo>
                  <a:cubicBezTo>
                    <a:pt x="1" y="29"/>
                    <a:pt x="0" y="28"/>
                    <a:pt x="0" y="27"/>
                  </a:cubicBezTo>
                  <a:cubicBezTo>
                    <a:pt x="0" y="2"/>
                    <a:pt x="0" y="2"/>
                    <a:pt x="0" y="2"/>
                  </a:cubicBezTo>
                  <a:cubicBezTo>
                    <a:pt x="0" y="1"/>
                    <a:pt x="1" y="0"/>
                    <a:pt x="1" y="0"/>
                  </a:cubicBezTo>
                  <a:cubicBezTo>
                    <a:pt x="2" y="0"/>
                    <a:pt x="3" y="0"/>
                    <a:pt x="4" y="1"/>
                  </a:cubicBezTo>
                  <a:cubicBezTo>
                    <a:pt x="28" y="25"/>
                    <a:pt x="28" y="25"/>
                    <a:pt x="28" y="25"/>
                  </a:cubicBezTo>
                  <a:cubicBezTo>
                    <a:pt x="29" y="26"/>
                    <a:pt x="29" y="27"/>
                    <a:pt x="29" y="28"/>
                  </a:cubicBezTo>
                  <a:cubicBezTo>
                    <a:pt x="29" y="28"/>
                    <a:pt x="28" y="29"/>
                    <a:pt x="27" y="29"/>
                  </a:cubicBezTo>
                  <a:close/>
                  <a:moveTo>
                    <a:pt x="4" y="25"/>
                  </a:moveTo>
                  <a:cubicBezTo>
                    <a:pt x="22" y="25"/>
                    <a:pt x="22" y="25"/>
                    <a:pt x="22" y="25"/>
                  </a:cubicBezTo>
                  <a:cubicBezTo>
                    <a:pt x="4" y="7"/>
                    <a:pt x="4" y="7"/>
                    <a:pt x="4" y="7"/>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pic>
        <p:nvPicPr>
          <p:cNvPr id="3" name="Picture 2" descr="Screen Clipping">
            <a:extLst>
              <a:ext uri="{FF2B5EF4-FFF2-40B4-BE49-F238E27FC236}">
                <a16:creationId xmlns:a16="http://schemas.microsoft.com/office/drawing/2014/main" id="{6B36BC21-03B3-424A-A9B4-239590BC13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37842" y="3994804"/>
            <a:ext cx="268235" cy="332378"/>
          </a:xfrm>
          <a:prstGeom prst="rect">
            <a:avLst/>
          </a:prstGeom>
        </p:spPr>
      </p:pic>
      <p:sp>
        <p:nvSpPr>
          <p:cNvPr id="162" name="Rectangle 161">
            <a:extLst>
              <a:ext uri="{FF2B5EF4-FFF2-40B4-BE49-F238E27FC236}">
                <a16:creationId xmlns:a16="http://schemas.microsoft.com/office/drawing/2014/main" id="{0CB95A7A-CEC6-40CB-926B-41A5B41478FF}"/>
              </a:ext>
            </a:extLst>
          </p:cNvPr>
          <p:cNvSpPr/>
          <p:nvPr/>
        </p:nvSpPr>
        <p:spPr>
          <a:xfrm>
            <a:off x="3157164" y="4063131"/>
            <a:ext cx="934231"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SQL Database</a:t>
            </a:r>
          </a:p>
        </p:txBody>
      </p:sp>
    </p:spTree>
    <p:extLst>
      <p:ext uri="{BB962C8B-B14F-4D97-AF65-F5344CB8AC3E}">
        <p14:creationId xmlns:p14="http://schemas.microsoft.com/office/powerpoint/2010/main" val="2608934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61EC7-59F0-41E1-AA02-0306C43D2A27}"/>
              </a:ext>
            </a:extLst>
          </p:cNvPr>
          <p:cNvSpPr>
            <a:spLocks noGrp="1"/>
          </p:cNvSpPr>
          <p:nvPr>
            <p:ph type="title"/>
          </p:nvPr>
        </p:nvSpPr>
        <p:spPr/>
        <p:txBody>
          <a:bodyPr/>
          <a:lstStyle/>
          <a:p>
            <a:r>
              <a:rPr lang="en-US" dirty="0"/>
              <a:t>SQL Database</a:t>
            </a:r>
          </a:p>
        </p:txBody>
      </p:sp>
    </p:spTree>
    <p:extLst>
      <p:ext uri="{BB962C8B-B14F-4D97-AF65-F5344CB8AC3E}">
        <p14:creationId xmlns:p14="http://schemas.microsoft.com/office/powerpoint/2010/main" val="885625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855DEC-AC1E-47E3-9DD4-50C22E1CB7B7}"/>
              </a:ext>
            </a:extLst>
          </p:cNvPr>
          <p:cNvSpPr/>
          <p:nvPr/>
        </p:nvSpPr>
        <p:spPr>
          <a:xfrm>
            <a:off x="512180" y="1845811"/>
            <a:ext cx="8099385" cy="3416320"/>
          </a:xfrm>
          <a:prstGeom prst="rect">
            <a:avLst/>
          </a:prstGeom>
        </p:spPr>
        <p:txBody>
          <a:bodyPr wrap="square">
            <a:spAutoFit/>
          </a:bodyPr>
          <a:lstStyle/>
          <a:p>
            <a:pPr defTabSz="685800" fontAlgn="auto">
              <a:spcBef>
                <a:spcPts val="0"/>
              </a:spcBef>
              <a:spcAft>
                <a:spcPts val="0"/>
              </a:spcAft>
            </a:pPr>
            <a:r>
              <a:rPr lang="en-US" sz="1350" b="0" dirty="0">
                <a:solidFill>
                  <a:prstClr val="black"/>
                </a:solidFill>
                <a:latin typeface="Calibri" panose="020F0502020204030204"/>
                <a:cs typeface="+mn-cs"/>
              </a:rPr>
              <a:t>Blob Storage –Standard and Premium (SSD)—Block blob (4.7 TB)- Page blob (8 TB random access files, VHD files for VM)—append blob –append operations like logging to same blob from multiple VMs</a:t>
            </a: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File Storage—HA network shared files accessed by SMB protocol (server message block) – multiple VMS can share same file for read/write. Also use REST interface. Diagnostic logs, crash dumps etc. No AD</a:t>
            </a: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Queue Storage—store and retrieve messages--millions of messages—list of messages processed </a:t>
            </a:r>
            <a:r>
              <a:rPr lang="en-US" sz="1350" b="0" dirty="0" err="1">
                <a:solidFill>
                  <a:prstClr val="black"/>
                </a:solidFill>
                <a:latin typeface="Calibri" panose="020F0502020204030204"/>
                <a:cs typeface="+mn-cs"/>
              </a:rPr>
              <a:t>asynchrounously</a:t>
            </a:r>
            <a:endParaRPr lang="en-US" sz="1350" b="0" dirty="0">
              <a:solidFill>
                <a:prstClr val="black"/>
              </a:solidFill>
              <a:latin typeface="Calibri" panose="020F0502020204030204"/>
              <a:cs typeface="+mn-cs"/>
            </a:endParaRP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Table Storage—part of </a:t>
            </a:r>
            <a:r>
              <a:rPr lang="en-US" sz="1350" b="0" dirty="0" err="1">
                <a:solidFill>
                  <a:prstClr val="black"/>
                </a:solidFill>
                <a:latin typeface="Calibri" panose="020F0502020204030204"/>
                <a:cs typeface="+mn-cs"/>
              </a:rPr>
              <a:t>CosmosDB</a:t>
            </a:r>
            <a:r>
              <a:rPr lang="en-US" sz="1350" b="0" dirty="0">
                <a:solidFill>
                  <a:prstClr val="black"/>
                </a:solidFill>
                <a:latin typeface="Calibri" panose="020F0502020204030204"/>
                <a:cs typeface="+mn-cs"/>
              </a:rPr>
              <a:t>– Store high volume of structured NoSQL data, providing key/</a:t>
            </a:r>
            <a:r>
              <a:rPr lang="en-US" sz="1350" b="0" dirty="0" err="1">
                <a:solidFill>
                  <a:prstClr val="black"/>
                </a:solidFill>
                <a:latin typeface="Calibri" panose="020F0502020204030204"/>
                <a:cs typeface="+mn-cs"/>
              </a:rPr>
              <a:t>attrib</a:t>
            </a:r>
            <a:r>
              <a:rPr lang="en-US" sz="1350" b="0" dirty="0">
                <a:solidFill>
                  <a:prstClr val="black"/>
                </a:solidFill>
                <a:latin typeface="Calibri" panose="020F0502020204030204"/>
                <a:cs typeface="+mn-cs"/>
              </a:rPr>
              <a:t> store with </a:t>
            </a:r>
            <a:r>
              <a:rPr lang="en-US" sz="1350" b="0" dirty="0" err="1">
                <a:solidFill>
                  <a:prstClr val="black"/>
                </a:solidFill>
                <a:latin typeface="Calibri" panose="020F0502020204030204"/>
                <a:cs typeface="+mn-cs"/>
              </a:rPr>
              <a:t>schemaless</a:t>
            </a:r>
            <a:r>
              <a:rPr lang="en-US" sz="1350" b="0" dirty="0">
                <a:solidFill>
                  <a:prstClr val="black"/>
                </a:solidFill>
                <a:latin typeface="Calibri" panose="020F0502020204030204"/>
                <a:cs typeface="+mn-cs"/>
              </a:rPr>
              <a:t> design. Cheaper than traditional SQL. Data for web apps, address book, device info. Unlimited number of entities and tables in storage account</a:t>
            </a: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Blob Tiers—hot (accessed </a:t>
            </a:r>
            <a:r>
              <a:rPr lang="en-US" sz="1350" b="0" dirty="0" err="1">
                <a:solidFill>
                  <a:prstClr val="black"/>
                </a:solidFill>
                <a:latin typeface="Calibri" panose="020F0502020204030204"/>
                <a:cs typeface="+mn-cs"/>
              </a:rPr>
              <a:t>frequ</a:t>
            </a:r>
            <a:r>
              <a:rPr lang="en-US" sz="1350" b="0" dirty="0">
                <a:solidFill>
                  <a:prstClr val="black"/>
                </a:solidFill>
                <a:latin typeface="Calibri" panose="020F0502020204030204"/>
                <a:cs typeface="+mn-cs"/>
              </a:rPr>
              <a:t>), cool (at least once 30 days), archive (rarely, &gt;180)--</a:t>
            </a:r>
          </a:p>
          <a:p>
            <a:pPr defTabSz="685800" fontAlgn="auto">
              <a:spcBef>
                <a:spcPts val="0"/>
              </a:spcBef>
              <a:spcAft>
                <a:spcPts val="0"/>
              </a:spcAft>
            </a:pPr>
            <a:r>
              <a:rPr lang="en-US" sz="1350" b="0" dirty="0">
                <a:solidFill>
                  <a:prstClr val="black"/>
                </a:solidFill>
                <a:latin typeface="Calibri" panose="020F0502020204030204"/>
                <a:cs typeface="+mn-cs"/>
              </a:rPr>
              <a:t>Azure Files—can be used to completely replace or supplement traditional on-</a:t>
            </a:r>
            <a:r>
              <a:rPr lang="en-US" sz="1350" b="0" dirty="0" err="1">
                <a:solidFill>
                  <a:prstClr val="black"/>
                </a:solidFill>
                <a:latin typeface="Calibri" panose="020F0502020204030204"/>
                <a:cs typeface="+mn-cs"/>
              </a:rPr>
              <a:t>prem</a:t>
            </a:r>
            <a:r>
              <a:rPr lang="en-US" sz="1350" b="0" dirty="0">
                <a:solidFill>
                  <a:prstClr val="black"/>
                </a:solidFill>
                <a:latin typeface="Calibri" panose="020F0502020204030204"/>
                <a:cs typeface="+mn-cs"/>
              </a:rPr>
              <a:t> file </a:t>
            </a:r>
            <a:r>
              <a:rPr lang="en-US" sz="1350" b="0" dirty="0" err="1">
                <a:solidFill>
                  <a:prstClr val="black"/>
                </a:solidFill>
                <a:latin typeface="Calibri" panose="020F0502020204030204"/>
                <a:cs typeface="+mn-cs"/>
              </a:rPr>
              <a:t>serversor</a:t>
            </a:r>
            <a:r>
              <a:rPr lang="en-US" sz="1350" b="0" dirty="0">
                <a:solidFill>
                  <a:prstClr val="black"/>
                </a:solidFill>
                <a:latin typeface="Calibri" panose="020F0502020204030204"/>
                <a:cs typeface="+mn-cs"/>
              </a:rPr>
              <a:t> NAS devices--</a:t>
            </a:r>
          </a:p>
          <a:p>
            <a:pPr defTabSz="685800" fontAlgn="auto">
              <a:spcBef>
                <a:spcPts val="0"/>
              </a:spcBef>
              <a:spcAft>
                <a:spcPts val="0"/>
              </a:spcAft>
            </a:pPr>
            <a:r>
              <a:rPr lang="en-US" sz="1350" b="0" dirty="0">
                <a:solidFill>
                  <a:prstClr val="black"/>
                </a:solidFill>
                <a:latin typeface="Calibri" panose="020F0502020204030204"/>
                <a:cs typeface="+mn-cs"/>
              </a:rPr>
              <a:t>Disks—managed and unmanaged—premium (256 TB per VM, 80K </a:t>
            </a:r>
            <a:r>
              <a:rPr lang="en-US" sz="1350" b="0" dirty="0" err="1">
                <a:solidFill>
                  <a:prstClr val="black"/>
                </a:solidFill>
                <a:latin typeface="Calibri" panose="020F0502020204030204"/>
                <a:cs typeface="+mn-cs"/>
              </a:rPr>
              <a:t>iops</a:t>
            </a:r>
            <a:r>
              <a:rPr lang="en-US" sz="1350" b="0" dirty="0">
                <a:solidFill>
                  <a:prstClr val="black"/>
                </a:solidFill>
                <a:latin typeface="Calibri" panose="020F0502020204030204"/>
                <a:cs typeface="+mn-cs"/>
              </a:rPr>
              <a:t>, 2k </a:t>
            </a:r>
            <a:r>
              <a:rPr lang="en-US" sz="1350" b="0" dirty="0" err="1">
                <a:solidFill>
                  <a:prstClr val="black"/>
                </a:solidFill>
                <a:latin typeface="Calibri" panose="020F0502020204030204"/>
                <a:cs typeface="+mn-cs"/>
              </a:rPr>
              <a:t>MBps</a:t>
            </a:r>
            <a:r>
              <a:rPr lang="en-US" sz="1350" b="0" dirty="0">
                <a:solidFill>
                  <a:prstClr val="black"/>
                </a:solidFill>
                <a:latin typeface="Calibri" panose="020F0502020204030204"/>
                <a:cs typeface="+mn-cs"/>
              </a:rPr>
              <a:t> throughput) and standard--</a:t>
            </a:r>
          </a:p>
          <a:p>
            <a:pPr defTabSz="685800" fontAlgn="auto">
              <a:spcBef>
                <a:spcPts val="0"/>
              </a:spcBef>
              <a:spcAft>
                <a:spcPts val="0"/>
              </a:spcAft>
            </a:pPr>
            <a:r>
              <a:rPr lang="en-US" sz="1350" b="0" dirty="0">
                <a:solidFill>
                  <a:prstClr val="black"/>
                </a:solidFill>
                <a:latin typeface="Calibri" panose="020F0502020204030204"/>
                <a:cs typeface="+mn-cs"/>
              </a:rPr>
              <a:t>StorSimple—hybrid cloud storage , consolidate storage, DR, compliance, </a:t>
            </a:r>
          </a:p>
        </p:txBody>
      </p:sp>
      <p:sp>
        <p:nvSpPr>
          <p:cNvPr id="5" name="Rectangle 4">
            <a:extLst>
              <a:ext uri="{FF2B5EF4-FFF2-40B4-BE49-F238E27FC236}">
                <a16:creationId xmlns:a16="http://schemas.microsoft.com/office/drawing/2014/main" id="{47BA06F4-7EAE-4FFF-A0DB-D99FEEE0E710}"/>
              </a:ext>
            </a:extLst>
          </p:cNvPr>
          <p:cNvSpPr/>
          <p:nvPr/>
        </p:nvSpPr>
        <p:spPr>
          <a:xfrm>
            <a:off x="0" y="857250"/>
            <a:ext cx="9144000" cy="600164"/>
          </a:xfrm>
          <a:prstGeom prst="rect">
            <a:avLst/>
          </a:prstGeom>
        </p:spPr>
        <p:txBody>
          <a:bodyPr wrap="square">
            <a:spAutoFit/>
          </a:bodyPr>
          <a:lstStyle/>
          <a:p>
            <a:pPr algn="ctr" defTabSz="685800" fontAlgn="auto">
              <a:spcBef>
                <a:spcPts val="0"/>
              </a:spcBef>
              <a:spcAft>
                <a:spcPts val="0"/>
              </a:spcAft>
            </a:pPr>
            <a:r>
              <a:rPr lang="en-US" sz="3300" b="0" dirty="0">
                <a:solidFill>
                  <a:prstClr val="black"/>
                </a:solidFill>
                <a:latin typeface="Calibri" panose="020F0502020204030204"/>
                <a:cs typeface="+mn-cs"/>
              </a:rPr>
              <a:t>Azure Storage solutions </a:t>
            </a:r>
          </a:p>
        </p:txBody>
      </p:sp>
      <p:sp>
        <p:nvSpPr>
          <p:cNvPr id="7" name="Text Placeholder 6">
            <a:extLst>
              <a:ext uri="{FF2B5EF4-FFF2-40B4-BE49-F238E27FC236}">
                <a16:creationId xmlns:a16="http://schemas.microsoft.com/office/drawing/2014/main" id="{E5708CBD-EAAF-4F9D-91E7-EDA7051C6EEA}"/>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163685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QL Database</a:t>
            </a:r>
          </a:p>
        </p:txBody>
      </p:sp>
      <p:sp>
        <p:nvSpPr>
          <p:cNvPr id="5" name="Content Placeholder 4"/>
          <p:cNvSpPr>
            <a:spLocks noGrp="1"/>
          </p:cNvSpPr>
          <p:nvPr>
            <p:ph idx="1"/>
          </p:nvPr>
        </p:nvSpPr>
        <p:spPr>
          <a:xfrm>
            <a:off x="151194" y="1781176"/>
            <a:ext cx="4031760" cy="3897973"/>
          </a:xfrm>
        </p:spPr>
        <p:txBody>
          <a:bodyPr>
            <a:normAutofit fontScale="92500" lnSpcReduction="10000"/>
          </a:bodyPr>
          <a:lstStyle/>
          <a:p>
            <a:pPr marL="428625" indent="-428625">
              <a:buFont typeface="Arial" panose="020B0604020202020204" pitchFamily="34" charset="0"/>
              <a:buChar char="•"/>
            </a:pPr>
            <a:r>
              <a:rPr lang="en-US" dirty="0"/>
              <a:t>PaaS Offering. Database-as-a-Service</a:t>
            </a:r>
          </a:p>
          <a:p>
            <a:pPr marL="428625" indent="-428625">
              <a:buFont typeface="Arial" panose="020B0604020202020204" pitchFamily="34" charset="0"/>
              <a:buChar char="•"/>
            </a:pPr>
            <a:r>
              <a:rPr lang="en-US" dirty="0"/>
              <a:t>Relational database. </a:t>
            </a:r>
          </a:p>
          <a:p>
            <a:pPr marL="428625" indent="-428625">
              <a:buFont typeface="Arial" panose="020B0604020202020204" pitchFamily="34" charset="0"/>
              <a:buChar char="•"/>
            </a:pPr>
            <a:r>
              <a:rPr lang="en-US" dirty="0"/>
              <a:t>Service tiers:</a:t>
            </a:r>
          </a:p>
          <a:p>
            <a:pPr marL="685800" lvl="1" indent="-342900">
              <a:buFont typeface="Arial" panose="020B0604020202020204" pitchFamily="34" charset="0"/>
              <a:buChar char="•"/>
            </a:pPr>
            <a:r>
              <a:rPr lang="en-US" dirty="0"/>
              <a:t>Basic</a:t>
            </a:r>
          </a:p>
          <a:p>
            <a:pPr marL="685800" lvl="1" indent="-342900">
              <a:buFont typeface="Arial" panose="020B0604020202020204" pitchFamily="34" charset="0"/>
              <a:buChar char="•"/>
            </a:pPr>
            <a:r>
              <a:rPr lang="en-US" dirty="0"/>
              <a:t>Standard</a:t>
            </a:r>
          </a:p>
          <a:p>
            <a:pPr marL="685800" lvl="1" indent="-342900">
              <a:buFont typeface="Arial" panose="020B0604020202020204" pitchFamily="34" charset="0"/>
              <a:buChar char="•"/>
            </a:pPr>
            <a:r>
              <a:rPr lang="en-US" dirty="0"/>
              <a:t>Premium</a:t>
            </a:r>
          </a:p>
          <a:p>
            <a:pPr marL="685800" lvl="1" indent="-342900">
              <a:buFont typeface="Arial" panose="020B0604020202020204" pitchFamily="34" charset="0"/>
              <a:buChar char="•"/>
            </a:pPr>
            <a:r>
              <a:rPr lang="en-US" dirty="0"/>
              <a:t>Premium RS</a:t>
            </a:r>
          </a:p>
          <a:p>
            <a:pPr marL="342900" indent="-342900">
              <a:buFont typeface="Arial" panose="020B0604020202020204" pitchFamily="34" charset="0"/>
              <a:buChar char="•"/>
            </a:pPr>
            <a:r>
              <a:rPr lang="en-US" dirty="0"/>
              <a:t>Elastic Pools. Pooled databases delivers performance</a:t>
            </a:r>
          </a:p>
          <a:p>
            <a:endParaRPr lang="en-US" dirty="0"/>
          </a:p>
        </p:txBody>
      </p:sp>
      <p:pic>
        <p:nvPicPr>
          <p:cNvPr id="6" name="Picture 4" descr="scal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61858" y="1336775"/>
            <a:ext cx="4442792" cy="200025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7" name="Picture 6" descr="elastic pool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1859" y="3517033"/>
            <a:ext cx="4387837" cy="2222069"/>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a:xfrm>
            <a:off x="6187195" y="5782392"/>
            <a:ext cx="1684598" cy="253916"/>
          </a:xfrm>
          <a:prstGeom prst="rect">
            <a:avLst/>
          </a:prstGeom>
        </p:spPr>
        <p:txBody>
          <a:bodyPr wrap="square">
            <a:spAutoFit/>
          </a:bodyPr>
          <a:lstStyle/>
          <a:p>
            <a:pPr defTabSz="342900" fontAlgn="auto">
              <a:spcBef>
                <a:spcPts val="0"/>
              </a:spcBef>
              <a:spcAft>
                <a:spcPts val="0"/>
              </a:spcAft>
              <a:defRPr/>
            </a:pPr>
            <a:r>
              <a:rPr lang="en-US" sz="1050" b="0" dirty="0">
                <a:solidFill>
                  <a:prstClr val="black"/>
                </a:solidFill>
                <a:latin typeface="Calibri" panose="020F0502020204030204"/>
                <a:cs typeface="+mn-cs"/>
              </a:rPr>
              <a:t>Source: Microsoft</a:t>
            </a:r>
          </a:p>
        </p:txBody>
      </p:sp>
    </p:spTree>
    <p:extLst>
      <p:ext uri="{BB962C8B-B14F-4D97-AF65-F5344CB8AC3E}">
        <p14:creationId xmlns:p14="http://schemas.microsoft.com/office/powerpoint/2010/main" val="272596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Tiers</a:t>
            </a:r>
          </a:p>
        </p:txBody>
      </p:sp>
      <p:sp>
        <p:nvSpPr>
          <p:cNvPr id="3" name="Content Placeholder 2"/>
          <p:cNvSpPr>
            <a:spLocks noGrp="1"/>
          </p:cNvSpPr>
          <p:nvPr>
            <p:ph sz="half" idx="1"/>
          </p:nvPr>
        </p:nvSpPr>
        <p:spPr/>
        <p:txBody>
          <a:bodyPr>
            <a:normAutofit/>
          </a:bodyPr>
          <a:lstStyle/>
          <a:p>
            <a:r>
              <a:rPr lang="en-US" dirty="0"/>
              <a:t>Basic</a:t>
            </a:r>
          </a:p>
          <a:p>
            <a:pPr lvl="1"/>
            <a:r>
              <a:rPr lang="en-US" dirty="0"/>
              <a:t>Small size</a:t>
            </a:r>
          </a:p>
          <a:p>
            <a:pPr lvl="1"/>
            <a:r>
              <a:rPr lang="en-US" dirty="0"/>
              <a:t>Low traffic</a:t>
            </a:r>
          </a:p>
          <a:p>
            <a:pPr lvl="1"/>
            <a:r>
              <a:rPr lang="en-US" dirty="0"/>
              <a:t>Single active operation</a:t>
            </a:r>
          </a:p>
          <a:p>
            <a:endParaRPr lang="en-US" dirty="0"/>
          </a:p>
          <a:p>
            <a:r>
              <a:rPr lang="en-US" dirty="0"/>
              <a:t>Standard</a:t>
            </a:r>
          </a:p>
          <a:p>
            <a:pPr lvl="1"/>
            <a:r>
              <a:rPr lang="en-US" dirty="0"/>
              <a:t>Low to medium IO performance requirements</a:t>
            </a:r>
          </a:p>
          <a:p>
            <a:pPr lvl="1"/>
            <a:r>
              <a:rPr lang="en-US" dirty="0"/>
              <a:t>Multiple current queries</a:t>
            </a:r>
          </a:p>
          <a:p>
            <a:pPr lvl="1"/>
            <a:endParaRPr lang="en-US" dirty="0"/>
          </a:p>
        </p:txBody>
      </p:sp>
      <p:sp>
        <p:nvSpPr>
          <p:cNvPr id="4" name="Content Placeholder 3"/>
          <p:cNvSpPr>
            <a:spLocks noGrp="1"/>
          </p:cNvSpPr>
          <p:nvPr>
            <p:ph sz="half" idx="2"/>
          </p:nvPr>
        </p:nvSpPr>
        <p:spPr/>
        <p:txBody>
          <a:bodyPr>
            <a:normAutofit/>
          </a:bodyPr>
          <a:lstStyle/>
          <a:p>
            <a:r>
              <a:rPr lang="en-US" dirty="0"/>
              <a:t>Premium</a:t>
            </a:r>
          </a:p>
          <a:p>
            <a:pPr lvl="1"/>
            <a:r>
              <a:rPr lang="en-US" dirty="0"/>
              <a:t>High transaction volume</a:t>
            </a:r>
          </a:p>
          <a:p>
            <a:pPr lvl="1"/>
            <a:r>
              <a:rPr lang="en-US" dirty="0"/>
              <a:t>High IO performance requirements</a:t>
            </a:r>
          </a:p>
          <a:p>
            <a:pPr lvl="1"/>
            <a:r>
              <a:rPr lang="en-US" dirty="0"/>
              <a:t>Many concurrent users</a:t>
            </a:r>
          </a:p>
          <a:p>
            <a:pPr lvl="1"/>
            <a:r>
              <a:rPr lang="en-US" dirty="0"/>
              <a:t>High availability</a:t>
            </a:r>
          </a:p>
          <a:p>
            <a:pPr lvl="1"/>
            <a:r>
              <a:rPr lang="en-US" dirty="0"/>
              <a:t>For mission critical apps</a:t>
            </a:r>
          </a:p>
          <a:p>
            <a:endParaRPr lang="en-US" dirty="0"/>
          </a:p>
          <a:p>
            <a:r>
              <a:rPr lang="en-US" dirty="0"/>
              <a:t>Premium RS</a:t>
            </a:r>
          </a:p>
          <a:p>
            <a:pPr lvl="1"/>
            <a:r>
              <a:rPr lang="en-US" dirty="0"/>
              <a:t>IO-intensive apps</a:t>
            </a:r>
          </a:p>
          <a:p>
            <a:pPr lvl="1"/>
            <a:r>
              <a:rPr lang="en-US" dirty="0"/>
              <a:t>Does not require high availability</a:t>
            </a:r>
          </a:p>
          <a:p>
            <a:pPr lvl="1"/>
            <a:r>
              <a:rPr lang="en-US" dirty="0"/>
              <a:t>Analytical workloads</a:t>
            </a:r>
          </a:p>
        </p:txBody>
      </p:sp>
    </p:spTree>
    <p:extLst>
      <p:ext uri="{BB962C8B-B14F-4D97-AF65-F5344CB8AC3E}">
        <p14:creationId xmlns:p14="http://schemas.microsoft.com/office/powerpoint/2010/main" val="16308082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ervice Tier Attributes</a:t>
            </a:r>
          </a:p>
        </p:txBody>
      </p:sp>
      <p:graphicFrame>
        <p:nvGraphicFramePr>
          <p:cNvPr id="7" name="Content Placeholder 6"/>
          <p:cNvGraphicFramePr>
            <a:graphicFrameLocks noGrp="1"/>
          </p:cNvGraphicFramePr>
          <p:nvPr>
            <p:ph idx="1"/>
            <p:extLst/>
          </p:nvPr>
        </p:nvGraphicFramePr>
        <p:xfrm>
          <a:off x="351928" y="1727428"/>
          <a:ext cx="7853179" cy="3944497"/>
        </p:xfrm>
        <a:graphic>
          <a:graphicData uri="http://schemas.openxmlformats.org/drawingml/2006/table">
            <a:tbl>
              <a:tblPr/>
              <a:tblGrid>
                <a:gridCol w="2176960">
                  <a:extLst>
                    <a:ext uri="{9D8B030D-6E8A-4147-A177-3AD203B41FA5}">
                      <a16:colId xmlns:a16="http://schemas.microsoft.com/office/drawing/2014/main" val="1773273044"/>
                    </a:ext>
                  </a:extLst>
                </a:gridCol>
                <a:gridCol w="964312">
                  <a:extLst>
                    <a:ext uri="{9D8B030D-6E8A-4147-A177-3AD203B41FA5}">
                      <a16:colId xmlns:a16="http://schemas.microsoft.com/office/drawing/2014/main" val="451249271"/>
                    </a:ext>
                  </a:extLst>
                </a:gridCol>
                <a:gridCol w="1570636">
                  <a:extLst>
                    <a:ext uri="{9D8B030D-6E8A-4147-A177-3AD203B41FA5}">
                      <a16:colId xmlns:a16="http://schemas.microsoft.com/office/drawing/2014/main" val="1598709277"/>
                    </a:ext>
                  </a:extLst>
                </a:gridCol>
                <a:gridCol w="1570636">
                  <a:extLst>
                    <a:ext uri="{9D8B030D-6E8A-4147-A177-3AD203B41FA5}">
                      <a16:colId xmlns:a16="http://schemas.microsoft.com/office/drawing/2014/main" val="3035889657"/>
                    </a:ext>
                  </a:extLst>
                </a:gridCol>
                <a:gridCol w="1570636">
                  <a:extLst>
                    <a:ext uri="{9D8B030D-6E8A-4147-A177-3AD203B41FA5}">
                      <a16:colId xmlns:a16="http://schemas.microsoft.com/office/drawing/2014/main" val="2962121328"/>
                    </a:ext>
                  </a:extLst>
                </a:gridCol>
              </a:tblGrid>
              <a:tr h="244833">
                <a:tc>
                  <a:txBody>
                    <a:bodyPr/>
                    <a:lstStyle/>
                    <a:p>
                      <a:pPr algn="l" rtl="0"/>
                      <a:r>
                        <a:rPr lang="en-US" sz="1200" b="1" dirty="0">
                          <a:effectLst/>
                        </a:rPr>
                        <a:t>Service tier features</a:t>
                      </a:r>
                      <a:endParaRPr lang="en-US" sz="1200" dirty="0">
                        <a:effectLst/>
                      </a:endParaRPr>
                    </a:p>
                  </a:txBody>
                  <a:tcPr marL="61953" marR="61953" marT="30977" marB="30977" anchor="ctr">
                    <a:lnL>
                      <a:noFill/>
                    </a:lnL>
                    <a:lnR>
                      <a:noFill/>
                    </a:lnR>
                    <a:lnT>
                      <a:noFill/>
                    </a:lnT>
                    <a:lnB>
                      <a:noFill/>
                    </a:lnB>
                  </a:tcPr>
                </a:tc>
                <a:tc>
                  <a:txBody>
                    <a:bodyPr/>
                    <a:lstStyle/>
                    <a:p>
                      <a:pPr algn="r" rtl="0"/>
                      <a:r>
                        <a:rPr lang="en-US" sz="1200" b="1">
                          <a:effectLst/>
                        </a:rPr>
                        <a:t>Basic</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Standard</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 RS</a:t>
                      </a:r>
                      <a:endParaRPr lang="en-US" sz="120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1434106839"/>
                  </a:ext>
                </a:extLst>
              </a:tr>
              <a:tr h="412577">
                <a:tc>
                  <a:txBody>
                    <a:bodyPr/>
                    <a:lstStyle/>
                    <a:p>
                      <a:pPr algn="l" rtl="0"/>
                      <a:r>
                        <a:rPr lang="en-US" sz="1200">
                          <a:effectLst/>
                        </a:rPr>
                        <a:t>Maximum single database size</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dirty="0">
                          <a:effectLst/>
                        </a:rPr>
                        <a:t>1</a:t>
                      </a:r>
                      <a:r>
                        <a:rPr lang="en-US" sz="1200" baseline="0" dirty="0">
                          <a:effectLst/>
                        </a:rPr>
                        <a:t> TB</a:t>
                      </a:r>
                      <a:endParaRPr lang="en-US" sz="1200" dirty="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807097564"/>
                  </a:ext>
                </a:extLst>
              </a:tr>
              <a:tr h="412577">
                <a:tc>
                  <a:txBody>
                    <a:bodyPr/>
                    <a:lstStyle/>
                    <a:p>
                      <a:pPr algn="l" rtl="0"/>
                      <a:r>
                        <a:rPr lang="en-US" sz="1200">
                          <a:effectLst/>
                        </a:rPr>
                        <a:t>Maximum elastic pool size</a:t>
                      </a:r>
                    </a:p>
                  </a:txBody>
                  <a:tcPr marL="61953" marR="61953" marT="30977" marB="30977" anchor="ctr">
                    <a:lnL>
                      <a:noFill/>
                    </a:lnL>
                    <a:lnR>
                      <a:noFill/>
                    </a:lnR>
                    <a:lnT>
                      <a:noFill/>
                    </a:lnT>
                    <a:lnB>
                      <a:noFill/>
                    </a:lnB>
                  </a:tcPr>
                </a:tc>
                <a:tc>
                  <a:txBody>
                    <a:bodyPr/>
                    <a:lstStyle/>
                    <a:p>
                      <a:pPr algn="r" rtl="0"/>
                      <a:r>
                        <a:rPr lang="en-US" sz="1200">
                          <a:effectLst/>
                        </a:rPr>
                        <a:t>156 GB</a:t>
                      </a:r>
                    </a:p>
                  </a:txBody>
                  <a:tcPr marL="61953" marR="61953" marT="30977" marB="30977" anchor="ctr">
                    <a:lnL>
                      <a:noFill/>
                    </a:lnL>
                    <a:lnR>
                      <a:noFill/>
                    </a:lnR>
                    <a:lnT>
                      <a:noFill/>
                    </a:lnT>
                    <a:lnB>
                      <a:noFill/>
                    </a:lnB>
                  </a:tcPr>
                </a:tc>
                <a:tc>
                  <a:txBody>
                    <a:bodyPr/>
                    <a:lstStyle/>
                    <a:p>
                      <a:pPr algn="r" rtl="0"/>
                      <a:r>
                        <a:rPr lang="en-US" sz="1200" dirty="0">
                          <a:effectLst/>
                        </a:rPr>
                        <a:t>4</a:t>
                      </a:r>
                      <a:r>
                        <a:rPr lang="en-US" sz="1200" baseline="0" dirty="0">
                          <a:effectLst/>
                        </a:rPr>
                        <a:t> </a:t>
                      </a:r>
                      <a:r>
                        <a:rPr lang="en-US" sz="1200" dirty="0">
                          <a:effectLst/>
                        </a:rPr>
                        <a:t>T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dirty="0">
                          <a:effectLst/>
                        </a:rPr>
                        <a:t>1</a:t>
                      </a:r>
                      <a:r>
                        <a:rPr lang="en-US" sz="1200" baseline="0" dirty="0">
                          <a:effectLst/>
                        </a:rPr>
                        <a:t> TB</a:t>
                      </a:r>
                      <a:endParaRPr lang="en-US" sz="1200" dirty="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340866845"/>
                  </a:ext>
                </a:extLst>
              </a:tr>
              <a:tr h="427713">
                <a:tc>
                  <a:txBody>
                    <a:bodyPr/>
                    <a:lstStyle/>
                    <a:p>
                      <a:pPr algn="l" rtl="0"/>
                      <a:r>
                        <a:rPr lang="en-US" sz="1200">
                          <a:effectLst/>
                        </a:rPr>
                        <a:t>Maximum database size in an elastic pool</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extLst>
                  <a:ext uri="{0D108BD9-81ED-4DB2-BD59-A6C34878D82A}">
                    <a16:rowId xmlns:a16="http://schemas.microsoft.com/office/drawing/2014/main" val="1203225735"/>
                  </a:ext>
                </a:extLst>
              </a:tr>
              <a:tr h="589397">
                <a:tc>
                  <a:txBody>
                    <a:bodyPr/>
                    <a:lstStyle/>
                    <a:p>
                      <a:pPr algn="l" rtl="0"/>
                      <a:r>
                        <a:rPr lang="en-US" sz="1200">
                          <a:effectLst/>
                        </a:rPr>
                        <a:t>Maximum number of databases per pool</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extLst>
                  <a:ext uri="{0D108BD9-81ED-4DB2-BD59-A6C34878D82A}">
                    <a16:rowId xmlns:a16="http://schemas.microsoft.com/office/drawing/2014/main" val="2898354803"/>
                  </a:ext>
                </a:extLst>
              </a:tr>
              <a:tr h="412577">
                <a:tc>
                  <a:txBody>
                    <a:bodyPr/>
                    <a:lstStyle/>
                    <a:p>
                      <a:pPr algn="l" rtl="0"/>
                      <a:r>
                        <a:rPr lang="en-US" sz="1200">
                          <a:effectLst/>
                        </a:rPr>
                        <a:t>Maximum single database DTUs</a:t>
                      </a:r>
                    </a:p>
                  </a:txBody>
                  <a:tcPr marL="61953" marR="61953" marT="30977" marB="30977" anchor="ctr">
                    <a:lnL>
                      <a:noFill/>
                    </a:lnL>
                    <a:lnR>
                      <a:noFill/>
                    </a:lnR>
                    <a:lnT>
                      <a:noFill/>
                    </a:lnT>
                    <a:lnB>
                      <a:noFill/>
                    </a:lnB>
                  </a:tcPr>
                </a:tc>
                <a:tc>
                  <a:txBody>
                    <a:bodyPr/>
                    <a:lstStyle/>
                    <a:p>
                      <a:pPr algn="r" rtl="0"/>
                      <a:r>
                        <a:rPr lang="en-US" sz="1200">
                          <a:effectLst/>
                        </a:rPr>
                        <a:t>5</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237750747"/>
                  </a:ext>
                </a:extLst>
              </a:tr>
              <a:tr h="589397">
                <a:tc>
                  <a:txBody>
                    <a:bodyPr/>
                    <a:lstStyle/>
                    <a:p>
                      <a:pPr algn="l" rtl="0"/>
                      <a:r>
                        <a:rPr lang="en-US" sz="1200">
                          <a:effectLst/>
                        </a:rPr>
                        <a:t>Maximum DTUs per database in an elastic pool</a:t>
                      </a:r>
                    </a:p>
                  </a:txBody>
                  <a:tcPr marL="61953" marR="61953" marT="30977" marB="30977" anchor="ctr">
                    <a:lnL>
                      <a:noFill/>
                    </a:lnL>
                    <a:lnR>
                      <a:noFill/>
                    </a:lnR>
                    <a:lnT>
                      <a:noFill/>
                    </a:lnT>
                    <a:lnB>
                      <a:noFill/>
                    </a:lnB>
                  </a:tcPr>
                </a:tc>
                <a:tc>
                  <a:txBody>
                    <a:bodyPr/>
                    <a:lstStyle/>
                    <a:p>
                      <a:pPr algn="r" rtl="0"/>
                      <a:r>
                        <a:rPr lang="en-US" sz="1200" dirty="0">
                          <a:effectLst/>
                        </a:rPr>
                        <a:t>5</a:t>
                      </a:r>
                    </a:p>
                  </a:txBody>
                  <a:tcPr marL="61953" marR="61953" marT="30977" marB="30977" anchor="ctr">
                    <a:lnL>
                      <a:noFill/>
                    </a:lnL>
                    <a:lnR>
                      <a:noFill/>
                    </a:lnR>
                    <a:lnT>
                      <a:noFill/>
                    </a:lnT>
                    <a:lnB>
                      <a:noFill/>
                    </a:lnB>
                  </a:tcPr>
                </a:tc>
                <a:tc>
                  <a:txBody>
                    <a:bodyPr/>
                    <a:lstStyle/>
                    <a:p>
                      <a:pPr algn="r" rtl="0"/>
                      <a:r>
                        <a:rPr lang="en-US" sz="1200">
                          <a:effectLst/>
                        </a:rPr>
                        <a:t>30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88765514"/>
                  </a:ext>
                </a:extLst>
              </a:tr>
              <a:tr h="427713">
                <a:tc>
                  <a:txBody>
                    <a:bodyPr/>
                    <a:lstStyle/>
                    <a:p>
                      <a:pPr algn="l" rtl="0"/>
                      <a:r>
                        <a:rPr lang="en-US" sz="1200">
                          <a:effectLst/>
                        </a:rPr>
                        <a:t>Database backup retention period</a:t>
                      </a:r>
                    </a:p>
                  </a:txBody>
                  <a:tcPr marL="61953" marR="61953" marT="30977" marB="30977" anchor="ctr">
                    <a:lnL>
                      <a:noFill/>
                    </a:lnL>
                    <a:lnR>
                      <a:noFill/>
                    </a:lnR>
                    <a:lnT>
                      <a:noFill/>
                    </a:lnT>
                    <a:lnB>
                      <a:noFill/>
                    </a:lnB>
                  </a:tcPr>
                </a:tc>
                <a:tc>
                  <a:txBody>
                    <a:bodyPr/>
                    <a:lstStyle/>
                    <a:p>
                      <a:pPr algn="r" rtl="0"/>
                      <a:r>
                        <a:rPr lang="en-US" sz="1200">
                          <a:effectLst/>
                        </a:rPr>
                        <a:t>7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dirty="0">
                          <a:effectLst/>
                        </a:rPr>
                        <a:t>35 days</a:t>
                      </a:r>
                    </a:p>
                  </a:txBody>
                  <a:tcPr marL="61953" marR="61953" marT="30977" marB="30977" anchor="ctr">
                    <a:lnL>
                      <a:noFill/>
                    </a:lnL>
                    <a:lnR>
                      <a:noFill/>
                    </a:lnR>
                    <a:lnT>
                      <a:noFill/>
                    </a:lnT>
                    <a:lnB>
                      <a:noFill/>
                    </a:lnB>
                  </a:tcPr>
                </a:tc>
                <a:extLst>
                  <a:ext uri="{0D108BD9-81ED-4DB2-BD59-A6C34878D82A}">
                    <a16:rowId xmlns:a16="http://schemas.microsoft.com/office/drawing/2014/main" val="937902585"/>
                  </a:ext>
                </a:extLst>
              </a:tr>
              <a:tr h="427713">
                <a:tc>
                  <a:txBody>
                    <a:bodyPr/>
                    <a:lstStyle/>
                    <a:p>
                      <a:pPr algn="l" rtl="0"/>
                      <a:r>
                        <a:rPr lang="en-US" sz="1200" dirty="0">
                          <a:effectLst/>
                        </a:rPr>
                        <a:t>SKUs</a:t>
                      </a:r>
                    </a:p>
                  </a:txBody>
                  <a:tcPr marL="61953" marR="61953" marT="30977" marB="30977" anchor="ctr">
                    <a:lnL>
                      <a:noFill/>
                    </a:lnL>
                    <a:lnR>
                      <a:noFill/>
                    </a:lnR>
                    <a:lnT>
                      <a:noFill/>
                    </a:lnT>
                    <a:lnB>
                      <a:noFill/>
                    </a:lnB>
                  </a:tcPr>
                </a:tc>
                <a:tc>
                  <a:txBody>
                    <a:bodyPr/>
                    <a:lstStyle/>
                    <a:p>
                      <a:pPr algn="r" rtl="0"/>
                      <a:r>
                        <a:rPr lang="en-US" sz="1200" dirty="0">
                          <a:effectLst/>
                        </a:rPr>
                        <a:t>Basic</a:t>
                      </a:r>
                    </a:p>
                  </a:txBody>
                  <a:tcPr marL="61953" marR="61953" marT="30977" marB="30977" anchor="ctr">
                    <a:lnL>
                      <a:noFill/>
                    </a:lnL>
                    <a:lnR>
                      <a:noFill/>
                    </a:lnR>
                    <a:lnT>
                      <a:noFill/>
                    </a:lnT>
                    <a:lnB>
                      <a:noFill/>
                    </a:lnB>
                  </a:tcPr>
                </a:tc>
                <a:tc>
                  <a:txBody>
                    <a:bodyPr/>
                    <a:lstStyle/>
                    <a:p>
                      <a:pPr algn="r" rtl="0"/>
                      <a:r>
                        <a:rPr lang="en-US" sz="1200" dirty="0">
                          <a:effectLst/>
                        </a:rPr>
                        <a:t>S0-S12</a:t>
                      </a:r>
                    </a:p>
                  </a:txBody>
                  <a:tcPr marL="61953" marR="61953" marT="30977" marB="30977" anchor="ctr">
                    <a:lnL>
                      <a:noFill/>
                    </a:lnL>
                    <a:lnR>
                      <a:noFill/>
                    </a:lnR>
                    <a:lnT>
                      <a:noFill/>
                    </a:lnT>
                    <a:lnB>
                      <a:noFill/>
                    </a:lnB>
                  </a:tcPr>
                </a:tc>
                <a:tc>
                  <a:txBody>
                    <a:bodyPr/>
                    <a:lstStyle/>
                    <a:p>
                      <a:pPr algn="r" rtl="0"/>
                      <a:r>
                        <a:rPr lang="en-US" sz="1200" dirty="0">
                          <a:effectLst/>
                        </a:rPr>
                        <a:t>P1-P6, P11, P15</a:t>
                      </a:r>
                    </a:p>
                  </a:txBody>
                  <a:tcPr marL="61953" marR="61953" marT="30977" marB="30977" anchor="ctr">
                    <a:lnL>
                      <a:noFill/>
                    </a:lnL>
                    <a:lnR>
                      <a:noFill/>
                    </a:lnR>
                    <a:lnT>
                      <a:noFill/>
                    </a:lnT>
                    <a:lnB>
                      <a:noFill/>
                    </a:lnB>
                  </a:tcPr>
                </a:tc>
                <a:tc>
                  <a:txBody>
                    <a:bodyPr/>
                    <a:lstStyle/>
                    <a:p>
                      <a:pPr algn="r" rtl="0"/>
                      <a:r>
                        <a:rPr lang="en-US" sz="1200" dirty="0">
                          <a:effectLst/>
                        </a:rPr>
                        <a:t>PRS1, PRS2, PRS4, PRS6</a:t>
                      </a:r>
                    </a:p>
                  </a:txBody>
                  <a:tcPr marL="61953" marR="61953" marT="30977" marB="30977"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8" name="Rectangle 7"/>
          <p:cNvSpPr/>
          <p:nvPr/>
        </p:nvSpPr>
        <p:spPr>
          <a:xfrm>
            <a:off x="487813" y="5617443"/>
            <a:ext cx="8311551" cy="300082"/>
          </a:xfrm>
          <a:prstGeom prst="rect">
            <a:avLst/>
          </a:prstGeom>
        </p:spPr>
        <p:txBody>
          <a:bodyPr wrap="square">
            <a:spAutoFit/>
          </a:bodyPr>
          <a:lstStyle/>
          <a:p>
            <a:pPr defTabSz="342900" fontAlgn="auto">
              <a:spcBef>
                <a:spcPts val="0"/>
              </a:spcBef>
              <a:spcAft>
                <a:spcPts val="0"/>
              </a:spcAft>
              <a:defRPr/>
            </a:pPr>
            <a:r>
              <a:rPr lang="en-US" sz="1350" b="0" dirty="0">
                <a:solidFill>
                  <a:prstClr val="black"/>
                </a:solidFill>
                <a:latin typeface="Calibri" panose="020F0502020204030204"/>
                <a:cs typeface="+mn-cs"/>
                <a:hlinkClick r:id="rId3"/>
              </a:rPr>
              <a:t>https://docs.microsoft.com/en-us/azure/sql-database/sql-database-service-tiers</a:t>
            </a:r>
            <a:r>
              <a:rPr lang="en-US" sz="1350" b="0" dirty="0">
                <a:solidFill>
                  <a:prstClr val="black"/>
                </a:solidFill>
                <a:latin typeface="Calibri" panose="020F0502020204030204"/>
                <a:cs typeface="+mn-cs"/>
              </a:rPr>
              <a:t> </a:t>
            </a:r>
          </a:p>
        </p:txBody>
      </p:sp>
    </p:spTree>
    <p:extLst>
      <p:ext uri="{BB962C8B-B14F-4D97-AF65-F5344CB8AC3E}">
        <p14:creationId xmlns:p14="http://schemas.microsoft.com/office/powerpoint/2010/main" val="8771180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Security</a:t>
            </a:r>
          </a:p>
        </p:txBody>
      </p:sp>
      <p:sp>
        <p:nvSpPr>
          <p:cNvPr id="3" name="Content Placeholder 2"/>
          <p:cNvSpPr>
            <a:spLocks noGrp="1"/>
          </p:cNvSpPr>
          <p:nvPr>
            <p:ph idx="1"/>
          </p:nvPr>
        </p:nvSpPr>
        <p:spPr>
          <a:xfrm>
            <a:off x="151193" y="1781177"/>
            <a:ext cx="8218974" cy="3972732"/>
          </a:xfrm>
        </p:spPr>
        <p:txBody>
          <a:bodyPr>
            <a:normAutofit fontScale="77500" lnSpcReduction="20000"/>
          </a:bodyPr>
          <a:lstStyle/>
          <a:p>
            <a:pPr marL="428625" indent="-428625">
              <a:buFont typeface="Arial" panose="020B0604020202020204" pitchFamily="34" charset="0"/>
              <a:buChar char="•"/>
            </a:pPr>
            <a:r>
              <a:rPr lang="en-US" dirty="0"/>
              <a:t>Firewall &amp; Firewall Rules</a:t>
            </a:r>
          </a:p>
          <a:p>
            <a:pPr marL="428625" indent="-428625">
              <a:buFont typeface="Arial" panose="020B0604020202020204" pitchFamily="34" charset="0"/>
              <a:buChar char="•"/>
            </a:pPr>
            <a:r>
              <a:rPr lang="en-US" b="1" dirty="0">
                <a:solidFill>
                  <a:srgbClr val="00B050"/>
                </a:solidFill>
              </a:rPr>
              <a:t>Service Endpoints</a:t>
            </a:r>
          </a:p>
          <a:p>
            <a:pPr marL="428625" lvl="1" indent="-428625">
              <a:spcBef>
                <a:spcPts val="750"/>
              </a:spcBef>
              <a:buFont typeface="Arial" panose="020B0604020202020204" pitchFamily="34" charset="0"/>
              <a:buChar char="•"/>
            </a:pPr>
            <a:r>
              <a:rPr lang="en-US" dirty="0"/>
              <a:t>Auditing for compliance and security</a:t>
            </a:r>
          </a:p>
          <a:p>
            <a:pPr marL="428625" indent="-428625">
              <a:buFont typeface="Arial" panose="020B0604020202020204" pitchFamily="34" charset="0"/>
              <a:buChar char="•"/>
            </a:pPr>
            <a:r>
              <a:rPr lang="en-US" dirty="0"/>
              <a:t>Encryption</a:t>
            </a:r>
          </a:p>
          <a:p>
            <a:pPr marL="771525" lvl="1" indent="-428625">
              <a:buFont typeface="Arial" panose="020B0604020202020204" pitchFamily="34" charset="0"/>
              <a:buChar char="•"/>
            </a:pPr>
            <a:r>
              <a:rPr lang="en-US" dirty="0"/>
              <a:t>TDE( Now supports BYOK, in public Preview)</a:t>
            </a:r>
          </a:p>
          <a:p>
            <a:pPr marL="771525" lvl="1" indent="-428625">
              <a:buFont typeface="Arial" panose="020B0604020202020204" pitchFamily="34" charset="0"/>
              <a:buChar char="•"/>
            </a:pPr>
            <a:r>
              <a:rPr lang="en-US" dirty="0"/>
              <a:t>Always Encrypt</a:t>
            </a:r>
          </a:p>
          <a:p>
            <a:pPr marL="428625" indent="-428625">
              <a:buFont typeface="Arial" panose="020B0604020202020204" pitchFamily="34" charset="0"/>
              <a:buChar char="•"/>
            </a:pPr>
            <a:r>
              <a:rPr lang="en-US" dirty="0"/>
              <a:t>Authentication: “Who are you?”</a:t>
            </a:r>
          </a:p>
          <a:p>
            <a:pPr marL="771525" lvl="1" indent="-428625">
              <a:buFont typeface="Arial" panose="020B0604020202020204" pitchFamily="34" charset="0"/>
              <a:buChar char="•"/>
            </a:pPr>
            <a:r>
              <a:rPr lang="en-US" dirty="0"/>
              <a:t>SQL Authentication</a:t>
            </a:r>
          </a:p>
          <a:p>
            <a:pPr marL="771525" lvl="1" indent="-428625">
              <a:buFont typeface="Arial" panose="020B0604020202020204" pitchFamily="34" charset="0"/>
              <a:buChar char="•"/>
            </a:pPr>
            <a:r>
              <a:rPr lang="en-US" dirty="0"/>
              <a:t>Azure Active Directory (AAD) Authentication (supports Federated identities and MFA)</a:t>
            </a:r>
          </a:p>
          <a:p>
            <a:pPr marL="428625" indent="-428625">
              <a:buFont typeface="Arial" panose="020B0604020202020204" pitchFamily="34" charset="0"/>
              <a:buChar char="•"/>
            </a:pPr>
            <a:r>
              <a:rPr lang="en-US" dirty="0"/>
              <a:t>Authorization</a:t>
            </a:r>
          </a:p>
          <a:p>
            <a:pPr marL="771525" lvl="1" indent="-428625">
              <a:buFont typeface="Arial" panose="020B0604020202020204" pitchFamily="34" charset="0"/>
              <a:buChar char="•"/>
            </a:pPr>
            <a:r>
              <a:rPr lang="en-US" dirty="0"/>
              <a:t>“What can you do?”</a:t>
            </a:r>
          </a:p>
          <a:p>
            <a:pPr marL="685800" lvl="1" indent="-342900">
              <a:buFont typeface="Arial" panose="020B0604020202020204" pitchFamily="34" charset="0"/>
              <a:buChar char="•"/>
            </a:pPr>
            <a:r>
              <a:rPr lang="en-US" dirty="0"/>
              <a:t>Dynamic data masking: Hide sensitive data from non-privileged users</a:t>
            </a:r>
          </a:p>
          <a:p>
            <a:pPr marL="685800" lvl="1" indent="-342900">
              <a:buFont typeface="Arial" panose="020B0604020202020204" pitchFamily="34" charset="0"/>
              <a:buChar char="•"/>
            </a:pPr>
            <a:r>
              <a:rPr lang="en-US" dirty="0"/>
              <a:t>Row-level security</a:t>
            </a:r>
          </a:p>
          <a:p>
            <a:pPr marL="771525" lvl="1" indent="-428625">
              <a:buFont typeface="Arial" panose="020B0604020202020204" pitchFamily="34" charset="0"/>
              <a:buChar char="•"/>
            </a:pPr>
            <a:endParaRPr lang="en-US" dirty="0"/>
          </a:p>
          <a:p>
            <a:pPr lvl="1"/>
            <a:endParaRPr lang="en-US" dirty="0"/>
          </a:p>
        </p:txBody>
      </p:sp>
      <p:pic>
        <p:nvPicPr>
          <p:cNvPr id="2050" name="Picture 2" descr="C:\Users\kumarni\AppData\Local\Temp\SNAGHTML708d4bb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682" y="1122413"/>
            <a:ext cx="8868166" cy="4721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319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a:t>
            </a:r>
            <a:r>
              <a:rPr lang="en-US" dirty="0" err="1"/>
              <a:t>KeyWords</a:t>
            </a:r>
            <a:endParaRPr lang="en-US" dirty="0"/>
          </a:p>
        </p:txBody>
      </p:sp>
      <p:sp>
        <p:nvSpPr>
          <p:cNvPr id="3" name="Content Placeholder 2"/>
          <p:cNvSpPr>
            <a:spLocks noGrp="1"/>
          </p:cNvSpPr>
          <p:nvPr>
            <p:ph idx="1"/>
          </p:nvPr>
        </p:nvSpPr>
        <p:spPr>
          <a:xfrm>
            <a:off x="151193" y="1781177"/>
            <a:ext cx="4061579" cy="3972732"/>
          </a:xfrm>
        </p:spPr>
        <p:txBody>
          <a:bodyPr>
            <a:normAutofit fontScale="85000" lnSpcReduction="20000"/>
          </a:bodyPr>
          <a:lstStyle/>
          <a:p>
            <a:pPr marL="428625" indent="-428625">
              <a:buFont typeface="Arial" panose="020B0604020202020204" pitchFamily="34" charset="0"/>
              <a:buChar char="•"/>
            </a:pPr>
            <a:r>
              <a:rPr lang="en-US" dirty="0"/>
              <a:t>TDE</a:t>
            </a:r>
          </a:p>
          <a:p>
            <a:pPr marL="428625" indent="-428625">
              <a:buFont typeface="Arial" panose="020B0604020202020204" pitchFamily="34" charset="0"/>
              <a:buChar char="•"/>
            </a:pPr>
            <a:r>
              <a:rPr lang="en-US" dirty="0"/>
              <a:t>SQL Firewall</a:t>
            </a:r>
          </a:p>
          <a:p>
            <a:pPr marL="428625" indent="-428625">
              <a:buFont typeface="Arial" panose="020B0604020202020204" pitchFamily="34" charset="0"/>
              <a:buChar char="•"/>
            </a:pPr>
            <a:r>
              <a:rPr lang="en-US" dirty="0"/>
              <a:t>DTU(Database Transaction Unit)</a:t>
            </a:r>
          </a:p>
          <a:p>
            <a:pPr marL="428625" indent="-428625">
              <a:buFont typeface="Arial" panose="020B0604020202020204" pitchFamily="34" charset="0"/>
              <a:buChar char="•"/>
            </a:pPr>
            <a:r>
              <a:rPr lang="en-US" dirty="0" err="1"/>
              <a:t>eDTU</a:t>
            </a:r>
            <a:r>
              <a:rPr lang="en-US" dirty="0"/>
              <a:t>(Elastic DTU)</a:t>
            </a:r>
          </a:p>
          <a:p>
            <a:pPr marL="428625" indent="-428625">
              <a:buFont typeface="Arial" panose="020B0604020202020204" pitchFamily="34" charset="0"/>
              <a:buChar char="•"/>
            </a:pPr>
            <a:r>
              <a:rPr lang="en-US" dirty="0"/>
              <a:t>Always Encrypt</a:t>
            </a:r>
          </a:p>
          <a:p>
            <a:pPr marL="428625" indent="-428625">
              <a:buFont typeface="Arial" panose="020B0604020202020204" pitchFamily="34" charset="0"/>
              <a:buChar char="•"/>
            </a:pPr>
            <a:r>
              <a:rPr lang="en-US" dirty="0"/>
              <a:t>Azure AD integrated Authentication</a:t>
            </a:r>
          </a:p>
          <a:p>
            <a:pPr marL="428625" indent="-428625">
              <a:buFont typeface="Arial" panose="020B0604020202020204" pitchFamily="34" charset="0"/>
              <a:buChar char="•"/>
            </a:pPr>
            <a:r>
              <a:rPr lang="en-US" dirty="0"/>
              <a:t>Dynamic data masking</a:t>
            </a:r>
          </a:p>
          <a:p>
            <a:pPr marL="428625" indent="-428625">
              <a:buFont typeface="Arial" panose="020B0604020202020204" pitchFamily="34" charset="0"/>
              <a:buChar char="•"/>
            </a:pPr>
            <a:r>
              <a:rPr lang="en-US" dirty="0"/>
              <a:t>Long term backup retention</a:t>
            </a:r>
          </a:p>
          <a:p>
            <a:pPr marL="428625" indent="-428625">
              <a:buFont typeface="Arial" panose="020B0604020202020204" pitchFamily="34" charset="0"/>
              <a:buChar char="•"/>
            </a:pPr>
            <a:r>
              <a:rPr lang="en-US" dirty="0"/>
              <a:t>Row Level Security</a:t>
            </a:r>
          </a:p>
          <a:p>
            <a:pPr lvl="1"/>
            <a:endParaRPr lang="en-US" dirty="0"/>
          </a:p>
        </p:txBody>
      </p:sp>
      <p:sp>
        <p:nvSpPr>
          <p:cNvPr id="4" name="Content Placeholder 2"/>
          <p:cNvSpPr txBox="1">
            <a:spLocks/>
          </p:cNvSpPr>
          <p:nvPr/>
        </p:nvSpPr>
        <p:spPr>
          <a:xfrm>
            <a:off x="4212772" y="1781177"/>
            <a:ext cx="4061579" cy="2958192"/>
          </a:xfrm>
          <a:prstGeom prst="rect">
            <a:avLst/>
          </a:prstGeom>
        </p:spPr>
        <p:txBody>
          <a:bodyPr vert="horz" lIns="68580" tIns="34290" rIns="68580" bIns="3429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Failover Group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Audit and threat detection</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Active directory admin</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Elastic pool</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Geo Replication</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Vulnerability Assessment</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Data Sync</a:t>
            </a:r>
          </a:p>
          <a:p>
            <a:pPr marL="342900" lvl="1" defTabSz="685800" fontAlgn="auto">
              <a:spcBef>
                <a:spcPts val="375"/>
              </a:spcBef>
              <a:spcAft>
                <a:spcPts val="0"/>
              </a:spcAft>
              <a:defRPr/>
            </a:pPr>
            <a:endParaRPr lang="en-US" sz="2400" b="0" dirty="0">
              <a:solidFill>
                <a:prstClr val="black"/>
              </a:solidFill>
              <a:latin typeface="Calibri" panose="020F0502020204030204"/>
            </a:endParaRPr>
          </a:p>
        </p:txBody>
      </p:sp>
    </p:spTree>
    <p:extLst>
      <p:ext uri="{BB962C8B-B14F-4D97-AF65-F5344CB8AC3E}">
        <p14:creationId xmlns:p14="http://schemas.microsoft.com/office/powerpoint/2010/main" val="7414238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85094" y="1936738"/>
            <a:ext cx="5134512" cy="3454316"/>
          </a:xfrm>
          <a:prstGeom prst="rect">
            <a:avLst/>
          </a:prstGeom>
          <a:solidFill>
            <a:schemeClr val="bg1">
              <a:lumMod val="95000"/>
            </a:schemeClr>
          </a:solidFill>
          <a:ln w="635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11" tIns="137121" rIns="137121" bIns="34280" numCol="1" spcCol="0" rtlCol="0" fromWordArt="0" anchor="t" anchorCtr="0" forceAA="0" compatLnSpc="1">
            <a:prstTxWarp prst="textNoShape">
              <a:avLst/>
            </a:prstTxWarp>
            <a:noAutofit/>
          </a:bodyPr>
          <a:lstStyle/>
          <a:p>
            <a:pPr defTabSz="698831" fontAlgn="auto">
              <a:spcBef>
                <a:spcPts val="0"/>
              </a:spcBef>
              <a:spcAft>
                <a:spcPts val="0"/>
              </a:spcAft>
              <a:defRPr/>
            </a:pPr>
            <a:endParaRPr lang="en-US" b="0" kern="0" dirty="0">
              <a:solidFill>
                <a:srgbClr val="2C2C2C"/>
              </a:solidFill>
              <a:latin typeface="Segoe UI Semilight" panose="020B0402040204020203" pitchFamily="34" charset="0"/>
              <a:ea typeface="Segoe UI" pitchFamily="34" charset="0"/>
              <a:cs typeface="Segoe UI Semilight" panose="020B0402040204020203" pitchFamily="34" charset="0"/>
            </a:endParaRPr>
          </a:p>
        </p:txBody>
      </p:sp>
      <p:sp>
        <p:nvSpPr>
          <p:cNvPr id="8" name="Title 7"/>
          <p:cNvSpPr>
            <a:spLocks noGrp="1"/>
          </p:cNvSpPr>
          <p:nvPr>
            <p:ph type="title"/>
          </p:nvPr>
        </p:nvSpPr>
        <p:spPr>
          <a:xfrm>
            <a:off x="197962" y="1036283"/>
            <a:ext cx="8741309" cy="788670"/>
          </a:xfrm>
        </p:spPr>
        <p:txBody>
          <a:bodyPr/>
          <a:lstStyle/>
          <a:p>
            <a:r>
              <a:rPr lang="en-US" dirty="0"/>
              <a:t>Stretch Database architecture</a:t>
            </a:r>
          </a:p>
        </p:txBody>
      </p:sp>
      <p:sp>
        <p:nvSpPr>
          <p:cNvPr id="9" name="Text Placeholder 8"/>
          <p:cNvSpPr>
            <a:spLocks noGrp="1"/>
          </p:cNvSpPr>
          <p:nvPr>
            <p:ph type="body" sz="quarter" idx="4294967295"/>
          </p:nvPr>
        </p:nvSpPr>
        <p:spPr>
          <a:xfrm>
            <a:off x="5593080" y="1775460"/>
            <a:ext cx="3354163" cy="3574019"/>
          </a:xfrm>
        </p:spPr>
        <p:txBody>
          <a:bodyPr>
            <a:normAutofit/>
          </a:bodyPr>
          <a:lstStyle/>
          <a:p>
            <a:r>
              <a:rPr lang="en-US" sz="2100" dirty="0">
                <a:cs typeface="Segoe UI Semilight" panose="020B0402040204020203" pitchFamily="34" charset="0"/>
              </a:rPr>
              <a:t>How it works</a:t>
            </a:r>
          </a:p>
          <a:p>
            <a:pPr marL="466421" lvl="1" indent="-214313">
              <a:buFont typeface="Arial" panose="020B0604020202020204" pitchFamily="34" charset="0"/>
              <a:buChar char="•"/>
            </a:pPr>
            <a:r>
              <a:rPr lang="en-US" sz="1324" dirty="0"/>
              <a:t>Creates a secure linked server definition in the on-premises SQL Server</a:t>
            </a:r>
          </a:p>
          <a:p>
            <a:pPr marL="466421" lvl="1" indent="-214313">
              <a:buFont typeface="Arial" panose="020B0604020202020204" pitchFamily="34" charset="0"/>
              <a:buChar char="•"/>
            </a:pPr>
            <a:r>
              <a:rPr lang="en-US" sz="1324" dirty="0"/>
              <a:t>Targets remote endpoint with linked server definition</a:t>
            </a:r>
          </a:p>
          <a:p>
            <a:pPr marL="466421" lvl="1" indent="-214313">
              <a:buFont typeface="Arial" panose="020B0604020202020204" pitchFamily="34" charset="0"/>
              <a:buChar char="•"/>
            </a:pPr>
            <a:r>
              <a:rPr lang="en-US" sz="1324" dirty="0"/>
              <a:t>Provisions remote resources and begins to migrate eligible data, if migration is enabled</a:t>
            </a:r>
          </a:p>
          <a:p>
            <a:pPr marL="466421" lvl="1" indent="-214313">
              <a:buFont typeface="Arial" panose="020B0604020202020204" pitchFamily="34" charset="0"/>
              <a:buChar char="•"/>
            </a:pPr>
            <a:r>
              <a:rPr lang="en-US" sz="1324" dirty="0"/>
              <a:t>Queries against tables run against both local database and remote endpoint</a:t>
            </a:r>
          </a:p>
        </p:txBody>
      </p:sp>
      <p:grpSp>
        <p:nvGrpSpPr>
          <p:cNvPr id="56" name="Group 55"/>
          <p:cNvGrpSpPr/>
          <p:nvPr/>
        </p:nvGrpSpPr>
        <p:grpSpPr>
          <a:xfrm>
            <a:off x="2968933" y="2960369"/>
            <a:ext cx="2337506" cy="2005998"/>
            <a:chOff x="3938514" y="2696615"/>
            <a:chExt cx="3117116" cy="2675044"/>
          </a:xfrm>
        </p:grpSpPr>
        <p:grpSp>
          <p:nvGrpSpPr>
            <p:cNvPr id="48" name="Group 47"/>
            <p:cNvGrpSpPr/>
            <p:nvPr/>
          </p:nvGrpSpPr>
          <p:grpSpPr>
            <a:xfrm>
              <a:off x="3938514" y="3411007"/>
              <a:ext cx="3117116" cy="1960652"/>
              <a:chOff x="2909727" y="3342096"/>
              <a:chExt cx="3661690" cy="2303188"/>
            </a:xfrm>
          </p:grpSpPr>
          <p:sp>
            <p:nvSpPr>
              <p:cNvPr id="35" name="Freeform 23"/>
              <p:cNvSpPr>
                <a:spLocks/>
              </p:cNvSpPr>
              <p:nvPr/>
            </p:nvSpPr>
            <p:spPr bwMode="auto">
              <a:xfrm flipH="1">
                <a:off x="2909727" y="3669647"/>
                <a:ext cx="3661690" cy="1975637"/>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accent1"/>
              </a:solidFill>
              <a:ln>
                <a:noFill/>
              </a:ln>
              <a:extLst/>
            </p:spPr>
            <p:txBody>
              <a:bodyPr vert="horz" wrap="square" lIns="68570" tIns="34285" rIns="68570" bIns="34285" numCol="1" anchor="t" anchorCtr="0" compatLnSpc="1">
                <a:prstTxWarp prst="textNoShape">
                  <a:avLst/>
                </a:prstTxWarp>
              </a:bodyPr>
              <a:lstStyle/>
              <a:p>
                <a:pPr defTabSz="672290" fontAlgn="auto">
                  <a:spcBef>
                    <a:spcPts val="0"/>
                  </a:spcBef>
                  <a:spcAft>
                    <a:spcPts val="0"/>
                  </a:spcAft>
                  <a:defRPr/>
                </a:pPr>
                <a:endParaRPr lang="en-US" b="0" kern="0" dirty="0">
                  <a:solidFill>
                    <a:sysClr val="windowText" lastClr="000000"/>
                  </a:solidFill>
                  <a:latin typeface="Segoe UI" charset="0"/>
                  <a:ea typeface="MS PGothic" charset="0"/>
                  <a:cs typeface="+mn-cs"/>
                </a:endParaRPr>
              </a:p>
            </p:txBody>
          </p:sp>
          <p:sp>
            <p:nvSpPr>
              <p:cNvPr id="42" name="Freeform 15"/>
              <p:cNvSpPr>
                <a:spLocks/>
              </p:cNvSpPr>
              <p:nvPr/>
            </p:nvSpPr>
            <p:spPr bwMode="auto">
              <a:xfrm>
                <a:off x="3556080" y="3342096"/>
                <a:ext cx="2883805" cy="1249729"/>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accent1"/>
              </a:solidFill>
              <a:ln>
                <a:noFill/>
              </a:ln>
              <a:extLst/>
            </p:spPr>
            <p:txBody>
              <a:bodyPr vert="horz" wrap="square" lIns="68570" tIns="34285" rIns="68570" bIns="34285" numCol="1" anchor="t" anchorCtr="0" compatLnSpc="1">
                <a:prstTxWarp prst="textNoShape">
                  <a:avLst/>
                </a:prstTxWarp>
              </a:bodyPr>
              <a:lstStyle/>
              <a:p>
                <a:pPr defTabSz="672290" fontAlgn="auto">
                  <a:spcBef>
                    <a:spcPts val="0"/>
                  </a:spcBef>
                  <a:spcAft>
                    <a:spcPts val="0"/>
                  </a:spcAft>
                  <a:defRPr/>
                </a:pPr>
                <a:endParaRPr lang="en-US" b="0" kern="0" dirty="0">
                  <a:solidFill>
                    <a:sysClr val="windowText" lastClr="000000"/>
                  </a:solidFill>
                  <a:latin typeface="Segoe UI" charset="0"/>
                  <a:ea typeface="MS PGothic" charset="0"/>
                  <a:cs typeface="+mn-cs"/>
                </a:endParaRPr>
              </a:p>
            </p:txBody>
          </p:sp>
        </p:grpSp>
        <p:grpSp>
          <p:nvGrpSpPr>
            <p:cNvPr id="43" name="Group 42"/>
            <p:cNvGrpSpPr/>
            <p:nvPr/>
          </p:nvGrpSpPr>
          <p:grpSpPr>
            <a:xfrm>
              <a:off x="4675920" y="2696615"/>
              <a:ext cx="1730568" cy="2015562"/>
              <a:chOff x="4373646" y="2806193"/>
              <a:chExt cx="2104019" cy="2450514"/>
            </a:xfrm>
          </p:grpSpPr>
          <p:sp>
            <p:nvSpPr>
              <p:cNvPr id="44" name="Oval 43"/>
              <p:cNvSpPr/>
              <p:nvPr/>
            </p:nvSpPr>
            <p:spPr bwMode="auto">
              <a:xfrm>
                <a:off x="4570870" y="3005976"/>
                <a:ext cx="1634042" cy="46420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257126" indent="-257126" algn="ctr" defTabSz="699220" fontAlgn="auto">
                  <a:lnSpc>
                    <a:spcPct val="90000"/>
                  </a:lnSpc>
                  <a:spcBef>
                    <a:spcPts val="0"/>
                  </a:spcBef>
                  <a:spcAft>
                    <a:spcPts val="0"/>
                  </a:spcAft>
                  <a:buFont typeface="Wingdings 3" panose="05040102010807070707" pitchFamily="18" charset="2"/>
                  <a:buChar char="Æ"/>
                  <a:defRPr/>
                </a:pPr>
                <a:endParaRPr lang="en-US" sz="1500" kern="0" dirty="0">
                  <a:solidFill>
                    <a:srgbClr val="FFFFFF"/>
                  </a:solidFill>
                  <a:latin typeface="Segoe UI Light"/>
                  <a:ea typeface="Segoe UI" pitchFamily="34" charset="0"/>
                  <a:cs typeface="Segoe UI" pitchFamily="34" charset="0"/>
                </a:endParaRPr>
              </a:p>
            </p:txBody>
          </p:sp>
          <p:grpSp>
            <p:nvGrpSpPr>
              <p:cNvPr id="45" name="Group 44"/>
              <p:cNvGrpSpPr/>
              <p:nvPr/>
            </p:nvGrpSpPr>
            <p:grpSpPr>
              <a:xfrm>
                <a:off x="4373646" y="2806193"/>
                <a:ext cx="2104019" cy="2450514"/>
                <a:chOff x="716047" y="2201955"/>
                <a:chExt cx="2622820" cy="3054752"/>
              </a:xfrm>
            </p:grpSpPr>
            <p:sp>
              <p:nvSpPr>
                <p:cNvPr id="46" name="Freeform 5"/>
                <p:cNvSpPr>
                  <a:spLocks noEditPoints="1"/>
                </p:cNvSpPr>
                <p:nvPr/>
              </p:nvSpPr>
              <p:spPr bwMode="auto">
                <a:xfrm>
                  <a:off x="716047" y="2201955"/>
                  <a:ext cx="2622820" cy="3054752"/>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3963"/>
                </a:solidFill>
                <a:ln>
                  <a:noFill/>
                </a:ln>
              </p:spPr>
              <p:txBody>
                <a:bodyPr vert="horz" wrap="square" lIns="0" tIns="82284" rIns="0" bIns="0" numCol="1" anchor="t" anchorCtr="0" compatLnSpc="1">
                  <a:prstTxWarp prst="textNoShape">
                    <a:avLst/>
                  </a:prstTxWarp>
                </a:bodyPr>
                <a:lstStyle/>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Remote </a:t>
                  </a:r>
                </a:p>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endpoint</a:t>
                  </a:r>
                </a:p>
              </p:txBody>
            </p:sp>
            <p:sp>
              <p:nvSpPr>
                <p:cNvPr id="47" name="Rectangle 46"/>
                <p:cNvSpPr/>
                <p:nvPr/>
              </p:nvSpPr>
              <p:spPr bwMode="auto">
                <a:xfrm>
                  <a:off x="961903" y="3131978"/>
                  <a:ext cx="2036958" cy="16857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auto">
                    <a:lnSpc>
                      <a:spcPct val="90000"/>
                    </a:lnSpc>
                    <a:spcBef>
                      <a:spcPts val="0"/>
                    </a:spcBef>
                    <a:spcAft>
                      <a:spcPts val="0"/>
                    </a:spcAft>
                    <a:defRPr/>
                  </a:pPr>
                  <a:r>
                    <a:rPr lang="en-US" sz="1050" b="0" kern="0" dirty="0">
                      <a:solidFill>
                        <a:srgbClr val="003963"/>
                      </a:solidFill>
                      <a:latin typeface="Segoe UI Light" panose="020B0502040204020203" pitchFamily="34" charset="0"/>
                      <a:ea typeface="Segoe UI" panose="020B0502040204020203" pitchFamily="34" charset="0"/>
                      <a:cs typeface="Segoe UI Light" panose="020B0502040204020203" pitchFamily="34" charset="0"/>
                    </a:rPr>
                    <a:t>Remote data</a:t>
                  </a:r>
                </a:p>
              </p:txBody>
            </p:sp>
          </p:grpSp>
        </p:grpSp>
      </p:grpSp>
      <p:sp>
        <p:nvSpPr>
          <p:cNvPr id="53" name="TextBox 52"/>
          <p:cNvSpPr txBox="1"/>
          <p:nvPr/>
        </p:nvSpPr>
        <p:spPr>
          <a:xfrm>
            <a:off x="285093" y="4472464"/>
            <a:ext cx="2567256" cy="447612"/>
          </a:xfrm>
          <a:prstGeom prst="rect">
            <a:avLst/>
          </a:prstGeom>
          <a:noFill/>
        </p:spPr>
        <p:txBody>
          <a:bodyPr wrap="square" lIns="137141" tIns="109713" rIns="137141" bIns="109713" rtlCol="0">
            <a:noAutofit/>
          </a:bodyPr>
          <a:lstStyle/>
          <a:p>
            <a:pPr algn="ctr" defTabSz="672290" fontAlgn="auto">
              <a:lnSpc>
                <a:spcPct val="90000"/>
              </a:lnSpc>
              <a:spcBef>
                <a:spcPts val="0"/>
              </a:spcBef>
              <a:spcAft>
                <a:spcPts val="450"/>
              </a:spcAft>
              <a:defRPr/>
            </a:pPr>
            <a:r>
              <a:rPr lang="en-US" sz="1763" b="0" kern="0" dirty="0">
                <a:gradFill>
                  <a:gsLst>
                    <a:gs pos="2917">
                      <a:srgbClr val="2C2C2C"/>
                    </a:gs>
                    <a:gs pos="30000">
                      <a:srgbClr val="2C2C2C"/>
                    </a:gs>
                  </a:gsLst>
                  <a:lin ang="5400000" scaled="0"/>
                </a:gradFill>
                <a:latin typeface="Segoe UI Light" panose="020B0502040204020203" pitchFamily="34" charset="0"/>
                <a:ea typeface="MS PGothic" charset="0"/>
                <a:cs typeface="Segoe UI Light" panose="020B0502040204020203" pitchFamily="34" charset="0"/>
              </a:rPr>
              <a:t>On-premises instance</a:t>
            </a:r>
          </a:p>
        </p:txBody>
      </p:sp>
      <p:sp>
        <p:nvSpPr>
          <p:cNvPr id="54" name="TextBox 53"/>
          <p:cNvSpPr txBox="1"/>
          <p:nvPr/>
        </p:nvSpPr>
        <p:spPr>
          <a:xfrm>
            <a:off x="2852349" y="4472464"/>
            <a:ext cx="2567256" cy="447612"/>
          </a:xfrm>
          <a:prstGeom prst="rect">
            <a:avLst/>
          </a:prstGeom>
          <a:noFill/>
        </p:spPr>
        <p:txBody>
          <a:bodyPr wrap="square" lIns="137141" tIns="109713" rIns="137141" bIns="109713" rtlCol="0">
            <a:noAutofit/>
          </a:bodyPr>
          <a:lstStyle/>
          <a:p>
            <a:pPr algn="ctr" defTabSz="672290" fontAlgn="auto">
              <a:lnSpc>
                <a:spcPct val="90000"/>
              </a:lnSpc>
              <a:spcBef>
                <a:spcPts val="0"/>
              </a:spcBef>
              <a:spcAft>
                <a:spcPts val="450"/>
              </a:spcAft>
              <a:defRPr/>
            </a:pPr>
            <a:r>
              <a:rPr lang="en-US" b="0" kern="0" dirty="0">
                <a:solidFill>
                  <a:srgbClr val="FFFFFF"/>
                </a:solidFill>
                <a:latin typeface="Segoe UI Light" panose="020B0502040204020203" pitchFamily="34" charset="0"/>
                <a:ea typeface="MS PGothic" charset="0"/>
                <a:cs typeface="Segoe UI Light" panose="020B0502040204020203" pitchFamily="34" charset="0"/>
              </a:rPr>
              <a:t>Azure</a:t>
            </a:r>
          </a:p>
        </p:txBody>
      </p:sp>
      <p:grpSp>
        <p:nvGrpSpPr>
          <p:cNvPr id="60" name="Group 59"/>
          <p:cNvGrpSpPr/>
          <p:nvPr/>
        </p:nvGrpSpPr>
        <p:grpSpPr>
          <a:xfrm>
            <a:off x="2521925" y="1936738"/>
            <a:ext cx="376683" cy="3314411"/>
            <a:chOff x="3362178" y="1439034"/>
            <a:chExt cx="502315" cy="4419841"/>
          </a:xfrm>
        </p:grpSpPr>
        <p:sp>
          <p:nvSpPr>
            <p:cNvPr id="51" name="TextBox 50"/>
            <p:cNvSpPr txBox="1"/>
            <p:nvPr/>
          </p:nvSpPr>
          <p:spPr>
            <a:xfrm rot="5400000">
              <a:off x="2284646" y="2516566"/>
              <a:ext cx="2657379" cy="502315"/>
            </a:xfrm>
            <a:prstGeom prst="rect">
              <a:avLst/>
            </a:prstGeom>
            <a:noFill/>
          </p:spPr>
          <p:txBody>
            <a:bodyPr wrap="square" lIns="137141" tIns="109713" rIns="137141" bIns="109713" rtlCol="0">
              <a:noAutofit/>
            </a:bodyPr>
            <a:lstStyle/>
            <a:p>
              <a:pPr defTabSz="672290" fontAlgn="auto">
                <a:lnSpc>
                  <a:spcPct val="90000"/>
                </a:lnSpc>
                <a:spcBef>
                  <a:spcPts val="0"/>
                </a:spcBef>
                <a:spcAft>
                  <a:spcPts val="450"/>
                </a:spcAft>
                <a:defRPr/>
              </a:pPr>
              <a:r>
                <a:rPr lang="en-US" sz="1050" b="0" kern="0" dirty="0">
                  <a:solidFill>
                    <a:srgbClr val="2C2C2C">
                      <a:lumMod val="50000"/>
                      <a:lumOff val="50000"/>
                    </a:srgbClr>
                  </a:solidFill>
                  <a:latin typeface="Segoe UI Light" panose="020B0502040204020203" pitchFamily="34" charset="0"/>
                  <a:ea typeface="MS PGothic" charset="0"/>
                  <a:cs typeface="Segoe UI Light" panose="020B0502040204020203" pitchFamily="34" charset="0"/>
                </a:rPr>
                <a:t>Internet boundary</a:t>
              </a:r>
            </a:p>
          </p:txBody>
        </p:sp>
        <p:cxnSp>
          <p:nvCxnSpPr>
            <p:cNvPr id="55" name="Straight Connector 54"/>
            <p:cNvCxnSpPr/>
            <p:nvPr/>
          </p:nvCxnSpPr>
          <p:spPr>
            <a:xfrm>
              <a:off x="3802806" y="1617075"/>
              <a:ext cx="0" cy="4241800"/>
            </a:xfrm>
            <a:prstGeom prst="line">
              <a:avLst/>
            </a:prstGeom>
            <a:ln w="31750">
              <a:solidFill>
                <a:schemeClr val="bg2">
                  <a:lumMod val="50000"/>
                  <a:alpha val="5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p:cNvSpPr txBox="1"/>
          <p:nvPr/>
        </p:nvSpPr>
        <p:spPr>
          <a:xfrm>
            <a:off x="2240526" y="3405894"/>
            <a:ext cx="1159736" cy="385738"/>
          </a:xfrm>
          <a:prstGeom prst="rect">
            <a:avLst/>
          </a:prstGeom>
          <a:solidFill>
            <a:srgbClr val="F2F2F2"/>
          </a:solidFill>
        </p:spPr>
        <p:txBody>
          <a:bodyPr wrap="square" lIns="134464" tIns="107571" rIns="134464" bIns="107571" rtlCol="0">
            <a:noAutofit/>
          </a:bodyPr>
          <a:lstStyle/>
          <a:p>
            <a:pPr algn="ctr" defTabSz="672290" fontAlgn="auto">
              <a:lnSpc>
                <a:spcPct val="90000"/>
              </a:lnSpc>
              <a:spcBef>
                <a:spcPts val="0"/>
              </a:spcBef>
              <a:spcAft>
                <a:spcPts val="450"/>
              </a:spcAft>
              <a:defRPr/>
            </a:pPr>
            <a:r>
              <a:rPr lang="en-US" sz="1050" b="0" kern="0" dirty="0">
                <a:solidFill>
                  <a:srgbClr val="2C2C2C">
                    <a:lumMod val="50000"/>
                    <a:lumOff val="50000"/>
                  </a:srgbClr>
                </a:solidFill>
                <a:latin typeface="Segoe UI Light" panose="020B0502040204020203" pitchFamily="34" charset="0"/>
                <a:ea typeface="MS PGothic" charset="0"/>
                <a:cs typeface="Segoe UI Light" panose="020B0502040204020203" pitchFamily="34" charset="0"/>
              </a:rPr>
              <a:t>Linked servers</a:t>
            </a:r>
          </a:p>
        </p:txBody>
      </p:sp>
      <p:cxnSp>
        <p:nvCxnSpPr>
          <p:cNvPr id="58" name="Straight Arrow Connector 57"/>
          <p:cNvCxnSpPr/>
          <p:nvPr/>
        </p:nvCxnSpPr>
        <p:spPr>
          <a:xfrm>
            <a:off x="2123410" y="3745789"/>
            <a:ext cx="1390526" cy="0"/>
          </a:xfrm>
          <a:prstGeom prst="straightConnector1">
            <a:avLst/>
          </a:prstGeom>
          <a:ln w="3175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1047255" y="3027465"/>
            <a:ext cx="1089192" cy="1436650"/>
            <a:chOff x="716045" y="2353147"/>
            <a:chExt cx="2201326" cy="2903560"/>
          </a:xfrm>
        </p:grpSpPr>
        <p:sp>
          <p:nvSpPr>
            <p:cNvPr id="62" name="Freeform 5"/>
            <p:cNvSpPr>
              <a:spLocks noEditPoints="1"/>
            </p:cNvSpPr>
            <p:nvPr/>
          </p:nvSpPr>
          <p:spPr bwMode="auto">
            <a:xfrm>
              <a:off x="716045" y="2353147"/>
              <a:ext cx="2201326" cy="2903560"/>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chemeClr val="accent1"/>
            </a:solidFill>
            <a:ln>
              <a:noFill/>
            </a:ln>
          </p:spPr>
          <p:txBody>
            <a:bodyPr vert="horz" wrap="square" lIns="0" tIns="82284" rIns="0" bIns="0" numCol="1" anchor="t" anchorCtr="0" compatLnSpc="1">
              <a:prstTxWarp prst="textNoShape">
                <a:avLst/>
              </a:prstTxWarp>
            </a:bodyPr>
            <a:lstStyle/>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Local </a:t>
              </a:r>
            </a:p>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database </a:t>
              </a:r>
            </a:p>
          </p:txBody>
        </p:sp>
        <p:grpSp>
          <p:nvGrpSpPr>
            <p:cNvPr id="63" name="Group 62"/>
            <p:cNvGrpSpPr/>
            <p:nvPr/>
          </p:nvGrpSpPr>
          <p:grpSpPr>
            <a:xfrm>
              <a:off x="961901" y="3215409"/>
              <a:ext cx="1709615" cy="1602300"/>
              <a:chOff x="994833" y="3215409"/>
              <a:chExt cx="1709615" cy="1602300"/>
            </a:xfrm>
          </p:grpSpPr>
          <p:sp>
            <p:nvSpPr>
              <p:cNvPr id="64" name="Rectangle 63"/>
              <p:cNvSpPr/>
              <p:nvPr/>
            </p:nvSpPr>
            <p:spPr bwMode="auto">
              <a:xfrm>
                <a:off x="994833" y="3215409"/>
                <a:ext cx="1709615" cy="773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auto">
                  <a:lnSpc>
                    <a:spcPct val="90000"/>
                  </a:lnSpc>
                  <a:spcBef>
                    <a:spcPts val="0"/>
                  </a:spcBef>
                  <a:spcAft>
                    <a:spcPts val="0"/>
                  </a:spcAft>
                  <a:defRPr/>
                </a:pPr>
                <a:r>
                  <a:rPr lang="en-US" sz="1050" b="0" kern="0" dirty="0">
                    <a:solidFill>
                      <a:srgbClr val="003963"/>
                    </a:solidFill>
                    <a:latin typeface="Segoe UI Light" panose="020B0502040204020203" pitchFamily="34" charset="0"/>
                    <a:ea typeface="Segoe UI" panose="020B0502040204020203" pitchFamily="34" charset="0"/>
                    <a:cs typeface="Segoe UI Light" panose="020B0502040204020203" pitchFamily="34" charset="0"/>
                  </a:rPr>
                  <a:t>Local data</a:t>
                </a:r>
              </a:p>
            </p:txBody>
          </p:sp>
          <p:sp>
            <p:nvSpPr>
              <p:cNvPr id="65" name="Rectangle 64"/>
              <p:cNvSpPr/>
              <p:nvPr/>
            </p:nvSpPr>
            <p:spPr bwMode="auto">
              <a:xfrm>
                <a:off x="994833" y="4043883"/>
                <a:ext cx="1709615" cy="773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68570" rIns="68570" bIns="68570" numCol="1" spcCol="0" rtlCol="0" fromWordArt="0" anchor="ctr" anchorCtr="0" forceAA="0" compatLnSpc="1">
                <a:prstTxWarp prst="textNoShape">
                  <a:avLst/>
                </a:prstTxWarp>
                <a:noAutofit/>
              </a:bodyPr>
              <a:lstStyle/>
              <a:p>
                <a:pPr algn="ctr" defTabSz="699220" fontAlgn="auto">
                  <a:lnSpc>
                    <a:spcPct val="90000"/>
                  </a:lnSpc>
                  <a:spcBef>
                    <a:spcPts val="0"/>
                  </a:spcBef>
                  <a:spcAft>
                    <a:spcPts val="0"/>
                  </a:spcAft>
                  <a:defRPr/>
                </a:pPr>
                <a:r>
                  <a:rPr lang="en-US" sz="1050" b="0" kern="0" dirty="0">
                    <a:solidFill>
                      <a:srgbClr val="003963"/>
                    </a:solidFill>
                    <a:latin typeface="Segoe UI Light" panose="020B0502040204020203" pitchFamily="34" charset="0"/>
                    <a:ea typeface="Segoe UI" panose="020B0502040204020203" pitchFamily="34" charset="0"/>
                    <a:cs typeface="Segoe UI Light" panose="020B0502040204020203" pitchFamily="34" charset="0"/>
                  </a:rPr>
                  <a:t>Eligible data</a:t>
                </a:r>
              </a:p>
            </p:txBody>
          </p:sp>
        </p:grpSp>
      </p:grpSp>
    </p:spTree>
    <p:extLst>
      <p:ext uri="{BB962C8B-B14F-4D97-AF65-F5344CB8AC3E}">
        <p14:creationId xmlns:p14="http://schemas.microsoft.com/office/powerpoint/2010/main" val="145903493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3D2AAA65-B707-4F05-BA05-DA271753AA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412" y="1532335"/>
            <a:ext cx="7806583" cy="3729038"/>
          </a:xfrm>
          <a:prstGeom prst="rect">
            <a:avLst/>
          </a:prstGeom>
        </p:spPr>
      </p:pic>
    </p:spTree>
    <p:extLst>
      <p:ext uri="{BB962C8B-B14F-4D97-AF65-F5344CB8AC3E}">
        <p14:creationId xmlns:p14="http://schemas.microsoft.com/office/powerpoint/2010/main" val="235672906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Videos</a:t>
            </a:r>
          </a:p>
        </p:txBody>
      </p:sp>
      <p:sp>
        <p:nvSpPr>
          <p:cNvPr id="3" name="Content Placeholder 2"/>
          <p:cNvSpPr>
            <a:spLocks noGrp="1"/>
          </p:cNvSpPr>
          <p:nvPr>
            <p:ph type="body" idx="1"/>
          </p:nvPr>
        </p:nvSpPr>
        <p:spPr/>
        <p:txBody>
          <a:bodyPr/>
          <a:lstStyle/>
          <a:p>
            <a:r>
              <a:rPr lang="en-US" dirty="0">
                <a:hlinkClick r:id="rId3"/>
              </a:rPr>
              <a:t>https://azure.microsoft.com/en-us/resources/videos/index/?services=sql-database</a:t>
            </a:r>
            <a:endParaRPr lang="en-US" dirty="0"/>
          </a:p>
          <a:p>
            <a:endParaRPr lang="en-US" dirty="0"/>
          </a:p>
        </p:txBody>
      </p:sp>
    </p:spTree>
    <p:extLst>
      <p:ext uri="{BB962C8B-B14F-4D97-AF65-F5344CB8AC3E}">
        <p14:creationId xmlns:p14="http://schemas.microsoft.com/office/powerpoint/2010/main" val="3479275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8F32A68-F35F-4F12-8FB0-5AC4BD0ACDC2}"/>
              </a:ext>
            </a:extLst>
          </p:cNvPr>
          <p:cNvSpPr txBox="1"/>
          <p:nvPr/>
        </p:nvSpPr>
        <p:spPr>
          <a:xfrm>
            <a:off x="362415" y="1350169"/>
            <a:ext cx="8452625" cy="3901068"/>
          </a:xfrm>
          <a:prstGeom prst="rect">
            <a:avLst/>
          </a:prstGeom>
          <a:noFill/>
        </p:spPr>
        <p:txBody>
          <a:bodyPr wrap="square" rtlCol="0">
            <a:spAutoFit/>
          </a:bodyPr>
          <a:lstStyle/>
          <a:p>
            <a:pPr defTabSz="685800" fontAlgn="auto">
              <a:spcBef>
                <a:spcPts val="0"/>
              </a:spcBef>
              <a:spcAft>
                <a:spcPts val="0"/>
              </a:spcAft>
            </a:pPr>
            <a:r>
              <a:rPr lang="en-US" sz="2700" dirty="0">
                <a:solidFill>
                  <a:prstClr val="black"/>
                </a:solidFill>
                <a:latin typeface="Calibri" panose="020F0502020204030204"/>
                <a:cs typeface="+mn-cs"/>
              </a:rPr>
              <a:t>Azure Database for MySQL</a:t>
            </a:r>
          </a:p>
          <a:p>
            <a:pPr defTabSz="685800" fontAlgn="auto">
              <a:spcBef>
                <a:spcPts val="0"/>
              </a:spcBef>
              <a:spcAft>
                <a:spcPts val="0"/>
              </a:spcAft>
            </a:pPr>
            <a:endParaRPr lang="en-US" sz="1350" dirty="0">
              <a:solidFill>
                <a:prstClr val="black"/>
              </a:solidFill>
              <a:latin typeface="Calibri" panose="020F0502020204030204"/>
              <a:cs typeface="+mn-cs"/>
            </a:endParaRPr>
          </a:p>
          <a:p>
            <a:pPr defTabSz="685800" fontAlgn="auto">
              <a:spcBef>
                <a:spcPts val="0"/>
              </a:spcBef>
              <a:spcAft>
                <a:spcPts val="0"/>
              </a:spcAft>
            </a:pPr>
            <a:r>
              <a:rPr lang="en-US" b="0" dirty="0">
                <a:solidFill>
                  <a:prstClr val="black"/>
                </a:solidFill>
                <a:latin typeface="Calibri" panose="020F0502020204030204"/>
                <a:cs typeface="+mn-cs"/>
              </a:rPr>
              <a:t>A fully managed MySQL database service for app developers</a:t>
            </a:r>
          </a:p>
          <a:p>
            <a:pPr defTabSz="685800" fontAlgn="auto">
              <a:spcBef>
                <a:spcPts val="0"/>
              </a:spcBef>
              <a:spcAft>
                <a:spcPts val="0"/>
              </a:spcAft>
            </a:pPr>
            <a:r>
              <a:rPr lang="en-US" b="0" dirty="0">
                <a:solidFill>
                  <a:prstClr val="black"/>
                </a:solidFill>
                <a:latin typeface="Calibri" panose="020F0502020204030204"/>
                <a:cs typeface="+mn-cs"/>
              </a:rPr>
              <a:t>Integrate the MySQL community edition with Azure for scalability, high availability, and your choice of languages and frameworks</a:t>
            </a:r>
          </a:p>
          <a:p>
            <a:pPr defTabSz="685800" fontAlgn="auto">
              <a:spcBef>
                <a:spcPts val="0"/>
              </a:spcBef>
              <a:spcAft>
                <a:spcPts val="0"/>
              </a:spcAft>
            </a:pPr>
            <a:endParaRPr lang="en-US" b="0" dirty="0">
              <a:solidFill>
                <a:prstClr val="black"/>
              </a:solidFill>
              <a:latin typeface="Calibri" panose="020F0502020204030204"/>
              <a:cs typeface="+mn-cs"/>
            </a:endParaRP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Native MySQL that’s fully managed</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Languages and frameworks of your choice</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Built-in high availability</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Scale within seconds</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Simple and Flexible pricing</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Unparalleled security and reach</a:t>
            </a:r>
          </a:p>
          <a:p>
            <a:pPr marL="257175" indent="-257175" defTabSz="685800" fontAlgn="auto">
              <a:spcBef>
                <a:spcPts val="0"/>
              </a:spcBef>
              <a:spcAft>
                <a:spcPts val="0"/>
              </a:spcAft>
              <a:buFont typeface="+mj-lt"/>
              <a:buAutoNum type="arabicPeriod"/>
            </a:pPr>
            <a:endParaRPr lang="en-US" sz="1350" b="0" dirty="0">
              <a:solidFill>
                <a:prstClr val="black"/>
              </a:solidFill>
              <a:latin typeface="Calibri" panose="020F0502020204030204"/>
              <a:cs typeface="+mn-cs"/>
            </a:endParaRPr>
          </a:p>
          <a:p>
            <a:pPr defTabSz="685800" fontAlgn="auto">
              <a:spcBef>
                <a:spcPts val="0"/>
              </a:spcBef>
              <a:spcAft>
                <a:spcPts val="0"/>
              </a:spcAft>
            </a:pPr>
            <a:endParaRPr lang="en-US" sz="1350" b="0" dirty="0">
              <a:solidFill>
                <a:prstClr val="black"/>
              </a:solidFill>
              <a:latin typeface="Calibri" panose="020F0502020204030204"/>
              <a:cs typeface="+mn-cs"/>
            </a:endParaRPr>
          </a:p>
        </p:txBody>
      </p:sp>
    </p:spTree>
    <p:extLst>
      <p:ext uri="{BB962C8B-B14F-4D97-AF65-F5344CB8AC3E}">
        <p14:creationId xmlns:p14="http://schemas.microsoft.com/office/powerpoint/2010/main" val="6765375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FA020-C3BB-2C46-A0AD-195E96933E29}"/>
              </a:ext>
            </a:extLst>
          </p:cNvPr>
          <p:cNvSpPr>
            <a:spLocks noGrp="1"/>
          </p:cNvSpPr>
          <p:nvPr>
            <p:ph type="title"/>
          </p:nvPr>
        </p:nvSpPr>
        <p:spPr/>
        <p:txBody>
          <a:bodyPr>
            <a:normAutofit fontScale="90000"/>
          </a:bodyPr>
          <a:lstStyle/>
          <a:p>
            <a:r>
              <a:rPr lang="en-US" b="1" dirty="0"/>
              <a:t>Azure Database for PostgreSQL</a:t>
            </a:r>
            <a:br>
              <a:rPr lang="en-US" b="1" dirty="0"/>
            </a:br>
            <a:endParaRPr lang="en-US" dirty="0"/>
          </a:p>
        </p:txBody>
      </p:sp>
      <p:sp>
        <p:nvSpPr>
          <p:cNvPr id="3" name="Content Placeholder 2">
            <a:extLst>
              <a:ext uri="{FF2B5EF4-FFF2-40B4-BE49-F238E27FC236}">
                <a16:creationId xmlns:a16="http://schemas.microsoft.com/office/drawing/2014/main" id="{39EFB785-DD4D-C147-8528-33442EF54140}"/>
              </a:ext>
            </a:extLst>
          </p:cNvPr>
          <p:cNvSpPr>
            <a:spLocks noGrp="1"/>
          </p:cNvSpPr>
          <p:nvPr>
            <p:ph idx="1"/>
          </p:nvPr>
        </p:nvSpPr>
        <p:spPr/>
        <p:txBody>
          <a:bodyPr>
            <a:normAutofit lnSpcReduction="10000"/>
          </a:bodyPr>
          <a:lstStyle/>
          <a:p>
            <a:r>
              <a:rPr lang="en-US" dirty="0"/>
              <a:t>Managed PostgreSQL database service for app developers</a:t>
            </a:r>
          </a:p>
          <a:p>
            <a:r>
              <a:rPr lang="en-US" dirty="0"/>
              <a:t>Integrate the PostgreSQL community edition with Azure for scalability, high-availability, and your choice of languages and frameworks.</a:t>
            </a:r>
          </a:p>
          <a:p>
            <a:endParaRPr lang="en-US" dirty="0"/>
          </a:p>
          <a:p>
            <a:pPr marL="257175" indent="-257175">
              <a:buFont typeface="+mj-lt"/>
              <a:buAutoNum type="arabicPeriod"/>
            </a:pPr>
            <a:r>
              <a:rPr lang="en-US" dirty="0"/>
              <a:t>Use native PostgreSQL that’s fully managed</a:t>
            </a:r>
          </a:p>
          <a:p>
            <a:pPr marL="257175" indent="-257175">
              <a:buFont typeface="+mj-lt"/>
              <a:buAutoNum type="arabicPeriod"/>
            </a:pPr>
            <a:r>
              <a:rPr lang="en-US" dirty="0"/>
              <a:t>Choose your languages and frameworks</a:t>
            </a:r>
          </a:p>
          <a:p>
            <a:pPr marL="257175" indent="-257175">
              <a:buFont typeface="+mj-lt"/>
              <a:buAutoNum type="arabicPeriod"/>
            </a:pPr>
            <a:r>
              <a:rPr lang="en-US" dirty="0"/>
              <a:t>Built-in high availability</a:t>
            </a:r>
          </a:p>
          <a:p>
            <a:pPr marL="257175" indent="-257175">
              <a:buFont typeface="+mj-lt"/>
              <a:buAutoNum type="arabicPeriod"/>
            </a:pPr>
            <a:r>
              <a:rPr lang="en-US" dirty="0"/>
              <a:t>Scale within seconds</a:t>
            </a:r>
          </a:p>
          <a:p>
            <a:pPr marL="257175" indent="-257175">
              <a:buFont typeface="+mj-lt"/>
              <a:buAutoNum type="arabicPeriod"/>
            </a:pPr>
            <a:r>
              <a:rPr lang="en-US" dirty="0"/>
              <a:t>Simple and Flexible pricing</a:t>
            </a:r>
          </a:p>
          <a:p>
            <a:pPr marL="257175" indent="-257175">
              <a:buFont typeface="+mj-lt"/>
              <a:buAutoNum type="arabicPeriod"/>
            </a:pPr>
            <a:r>
              <a:rPr lang="en-US" dirty="0"/>
              <a:t>Unparalleled security and reach</a:t>
            </a:r>
          </a:p>
          <a:p>
            <a:endParaRPr lang="en-US" dirty="0"/>
          </a:p>
        </p:txBody>
      </p:sp>
    </p:spTree>
    <p:extLst>
      <p:ext uri="{BB962C8B-B14F-4D97-AF65-F5344CB8AC3E}">
        <p14:creationId xmlns:p14="http://schemas.microsoft.com/office/powerpoint/2010/main" val="32303994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107">
            <a:extLst>
              <a:ext uri="{FF2B5EF4-FFF2-40B4-BE49-F238E27FC236}">
                <a16:creationId xmlns:a16="http://schemas.microsoft.com/office/drawing/2014/main" id="{2FDA1DCC-D7CB-4A4F-9CDC-F58E4B933521}"/>
              </a:ext>
            </a:extLst>
          </p:cNvPr>
          <p:cNvPicPr>
            <a:picLocks noChangeAspect="1"/>
          </p:cNvPicPr>
          <p:nvPr/>
        </p:nvPicPr>
        <p:blipFill>
          <a:blip r:embed="rId3"/>
          <a:srcRect l="20357" t="7601" r="16283" b="12969"/>
          <a:stretch>
            <a:fillRect/>
          </a:stretch>
        </p:blipFill>
        <p:spPr>
          <a:xfrm>
            <a:off x="4932903" y="2563624"/>
            <a:ext cx="389620" cy="528722"/>
          </a:xfrm>
          <a:custGeom>
            <a:avLst/>
            <a:gdLst>
              <a:gd name="connsiteX0" fmla="*/ 217012 w 434024"/>
              <a:gd name="connsiteY0" fmla="*/ 0 h 588979"/>
              <a:gd name="connsiteX1" fmla="*/ 434024 w 434024"/>
              <a:gd name="connsiteY1" fmla="*/ 96622 h 588979"/>
              <a:gd name="connsiteX2" fmla="*/ 432320 w 434024"/>
              <a:gd name="connsiteY2" fmla="*/ 104151 h 588979"/>
              <a:gd name="connsiteX3" fmla="*/ 434024 w 434024"/>
              <a:gd name="connsiteY3" fmla="*/ 112965 h 588979"/>
              <a:gd name="connsiteX4" fmla="*/ 434024 w 434024"/>
              <a:gd name="connsiteY4" fmla="*/ 473344 h 588979"/>
              <a:gd name="connsiteX5" fmla="*/ 432041 w 434024"/>
              <a:gd name="connsiteY5" fmla="*/ 483598 h 588979"/>
              <a:gd name="connsiteX6" fmla="*/ 434024 w 434024"/>
              <a:gd name="connsiteY6" fmla="*/ 492357 h 588979"/>
              <a:gd name="connsiteX7" fmla="*/ 217012 w 434024"/>
              <a:gd name="connsiteY7" fmla="*/ 588979 h 588979"/>
              <a:gd name="connsiteX8" fmla="*/ 0 w 434024"/>
              <a:gd name="connsiteY8" fmla="*/ 492357 h 588979"/>
              <a:gd name="connsiteX9" fmla="*/ 1984 w 434024"/>
              <a:gd name="connsiteY9" fmla="*/ 483596 h 588979"/>
              <a:gd name="connsiteX10" fmla="*/ 1 w 434024"/>
              <a:gd name="connsiteY10" fmla="*/ 473344 h 588979"/>
              <a:gd name="connsiteX11" fmla="*/ 1 w 434024"/>
              <a:gd name="connsiteY11" fmla="*/ 112965 h 588979"/>
              <a:gd name="connsiteX12" fmla="*/ 1705 w 434024"/>
              <a:gd name="connsiteY12" fmla="*/ 104154 h 588979"/>
              <a:gd name="connsiteX13" fmla="*/ 0 w 434024"/>
              <a:gd name="connsiteY13" fmla="*/ 96622 h 588979"/>
              <a:gd name="connsiteX14" fmla="*/ 217012 w 434024"/>
              <a:gd name="connsiteY14" fmla="*/ 0 h 58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024" h="588979">
                <a:moveTo>
                  <a:pt x="217012" y="0"/>
                </a:moveTo>
                <a:cubicBezTo>
                  <a:pt x="336864" y="0"/>
                  <a:pt x="434024" y="43259"/>
                  <a:pt x="434024" y="96622"/>
                </a:cubicBezTo>
                <a:lnTo>
                  <a:pt x="432320" y="104151"/>
                </a:lnTo>
                <a:lnTo>
                  <a:pt x="434024" y="112965"/>
                </a:lnTo>
                <a:lnTo>
                  <a:pt x="434024" y="473344"/>
                </a:lnTo>
                <a:lnTo>
                  <a:pt x="432041" y="483598"/>
                </a:lnTo>
                <a:lnTo>
                  <a:pt x="434024" y="492357"/>
                </a:lnTo>
                <a:cubicBezTo>
                  <a:pt x="434024" y="545720"/>
                  <a:pt x="336864" y="588979"/>
                  <a:pt x="217012" y="588979"/>
                </a:cubicBezTo>
                <a:cubicBezTo>
                  <a:pt x="97160" y="588979"/>
                  <a:pt x="0" y="545720"/>
                  <a:pt x="0" y="492357"/>
                </a:cubicBezTo>
                <a:lnTo>
                  <a:pt x="1984" y="483596"/>
                </a:lnTo>
                <a:lnTo>
                  <a:pt x="1" y="473344"/>
                </a:lnTo>
                <a:lnTo>
                  <a:pt x="1" y="112965"/>
                </a:lnTo>
                <a:lnTo>
                  <a:pt x="1705" y="104154"/>
                </a:lnTo>
                <a:lnTo>
                  <a:pt x="0" y="96622"/>
                </a:lnTo>
                <a:cubicBezTo>
                  <a:pt x="0" y="43259"/>
                  <a:pt x="97160" y="0"/>
                  <a:pt x="217012" y="0"/>
                </a:cubicBezTo>
                <a:close/>
              </a:path>
            </a:pathLst>
          </a:custGeom>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797333" y="2802802"/>
            <a:ext cx="1169691" cy="455051"/>
          </a:xfrm>
          <a:prstGeom prst="rect">
            <a:avLst/>
          </a:prstGeom>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6573138" y="3588505"/>
            <a:ext cx="439603" cy="282791"/>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5156845" y="3368421"/>
            <a:ext cx="374300" cy="354892"/>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grpSp>
      <p:sp>
        <p:nvSpPr>
          <p:cNvPr id="889" name="TextBox 888"/>
          <p:cNvSpPr txBox="1"/>
          <p:nvPr/>
        </p:nvSpPr>
        <p:spPr>
          <a:xfrm>
            <a:off x="3234929" y="3711033"/>
            <a:ext cx="828753"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Column-family</a:t>
            </a:r>
          </a:p>
        </p:txBody>
      </p:sp>
      <p:sp>
        <p:nvSpPr>
          <p:cNvPr id="890" name="TextBox 889"/>
          <p:cNvSpPr txBox="1"/>
          <p:nvPr/>
        </p:nvSpPr>
        <p:spPr>
          <a:xfrm>
            <a:off x="5101702" y="3779506"/>
            <a:ext cx="589906"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Document</a:t>
            </a:r>
          </a:p>
        </p:txBody>
      </p:sp>
      <p:sp>
        <p:nvSpPr>
          <p:cNvPr id="891" name="TextBox 890"/>
          <p:cNvSpPr txBox="1"/>
          <p:nvPr/>
        </p:nvSpPr>
        <p:spPr>
          <a:xfrm>
            <a:off x="6699033" y="3946069"/>
            <a:ext cx="347852"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Graph</a:t>
            </a:r>
          </a:p>
        </p:txBody>
      </p:sp>
      <p:sp>
        <p:nvSpPr>
          <p:cNvPr id="893" name="TextBox 892"/>
          <p:cNvSpPr txBox="1"/>
          <p:nvPr/>
        </p:nvSpPr>
        <p:spPr>
          <a:xfrm>
            <a:off x="552925" y="4762707"/>
            <a:ext cx="1520418" cy="158377"/>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Turnkey global distribution</a:t>
            </a:r>
          </a:p>
        </p:txBody>
      </p:sp>
      <p:sp>
        <p:nvSpPr>
          <p:cNvPr id="894" name="TextBox 893"/>
          <p:cNvSpPr txBox="1"/>
          <p:nvPr/>
        </p:nvSpPr>
        <p:spPr>
          <a:xfrm>
            <a:off x="2000537" y="4356129"/>
            <a:ext cx="1391948" cy="316753"/>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Elastic scale out </a:t>
            </a:r>
          </a:p>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of storage &amp; throughput</a:t>
            </a:r>
          </a:p>
        </p:txBody>
      </p:sp>
      <p:sp>
        <p:nvSpPr>
          <p:cNvPr id="895" name="TextBox 894"/>
          <p:cNvSpPr txBox="1"/>
          <p:nvPr/>
        </p:nvSpPr>
        <p:spPr>
          <a:xfrm>
            <a:off x="3229130" y="4258854"/>
            <a:ext cx="2551709" cy="316753"/>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Guaranteed low latency</a:t>
            </a:r>
            <a:br>
              <a:rPr lang="en-US" sz="1029" b="0" kern="0" dirty="0">
                <a:solidFill>
                  <a:srgbClr val="353535"/>
                </a:solidFill>
                <a:latin typeface="Segoe UI Semilight"/>
                <a:cs typeface="Segoe UI Light" panose="020B0502040204020203" pitchFamily="34" charset="0"/>
              </a:rPr>
            </a:br>
            <a:r>
              <a:rPr lang="en-US" sz="1029" b="0" kern="0" dirty="0">
                <a:solidFill>
                  <a:srgbClr val="353535"/>
                </a:solidFill>
                <a:latin typeface="Segoe UI Semilight"/>
                <a:cs typeface="Segoe UI Light" panose="020B0502040204020203" pitchFamily="34" charset="0"/>
              </a:rPr>
              <a:t>at the 99</a:t>
            </a:r>
            <a:r>
              <a:rPr lang="en-US" sz="1029" b="0" kern="0" baseline="30000" dirty="0">
                <a:solidFill>
                  <a:srgbClr val="353535"/>
                </a:solidFill>
                <a:latin typeface="Segoe UI Semilight"/>
                <a:cs typeface="Segoe UI Light" panose="020B0502040204020203" pitchFamily="34" charset="0"/>
              </a:rPr>
              <a:t>th</a:t>
            </a:r>
            <a:r>
              <a:rPr lang="en-US" sz="1029" b="0" kern="0" dirty="0">
                <a:solidFill>
                  <a:srgbClr val="353535"/>
                </a:solidFill>
                <a:latin typeface="Segoe UI Semilight"/>
                <a:cs typeface="Segoe UI Light" panose="020B0502040204020203" pitchFamily="34" charset="0"/>
              </a:rPr>
              <a:t> percentile</a:t>
            </a:r>
          </a:p>
        </p:txBody>
      </p:sp>
      <p:sp>
        <p:nvSpPr>
          <p:cNvPr id="896" name="TextBox 895"/>
          <p:cNvSpPr txBox="1"/>
          <p:nvPr/>
        </p:nvSpPr>
        <p:spPr>
          <a:xfrm>
            <a:off x="7341583" y="4685556"/>
            <a:ext cx="1188047" cy="158377"/>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Comprehensive SLAs</a:t>
            </a:r>
          </a:p>
        </p:txBody>
      </p:sp>
      <p:sp>
        <p:nvSpPr>
          <p:cNvPr id="897" name="TextBox 896"/>
          <p:cNvSpPr txBox="1"/>
          <p:nvPr/>
        </p:nvSpPr>
        <p:spPr>
          <a:xfrm>
            <a:off x="5730130" y="4300134"/>
            <a:ext cx="1417390" cy="316753"/>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Five well-defined</a:t>
            </a:r>
            <a:br>
              <a:rPr lang="en-US" sz="1029" b="0" kern="0" dirty="0">
                <a:solidFill>
                  <a:srgbClr val="353535"/>
                </a:solidFill>
                <a:latin typeface="Segoe UI Semilight"/>
                <a:cs typeface="Segoe UI Light" panose="020B0502040204020203" pitchFamily="34" charset="0"/>
              </a:rPr>
            </a:br>
            <a:r>
              <a:rPr lang="en-US" sz="1029" b="0" kern="0" dirty="0">
                <a:solidFill>
                  <a:srgbClr val="353535"/>
                </a:solidFill>
                <a:latin typeface="Segoe UI Semilight"/>
                <a:cs typeface="Segoe UI Light" panose="020B0502040204020203" pitchFamily="34" charset="0"/>
              </a:rPr>
              <a:t>consistency models</a:t>
            </a:r>
          </a:p>
        </p:txBody>
      </p:sp>
      <p:sp>
        <p:nvSpPr>
          <p:cNvPr id="3" name="TextBox 2"/>
          <p:cNvSpPr txBox="1"/>
          <p:nvPr/>
        </p:nvSpPr>
        <p:spPr>
          <a:xfrm>
            <a:off x="2015664" y="2894551"/>
            <a:ext cx="586635" cy="296107"/>
          </a:xfrm>
          <a:prstGeom prst="rect">
            <a:avLst/>
          </a:prstGeom>
          <a:noFill/>
        </p:spPr>
        <p:txBody>
          <a:bodyPr wrap="none" rtlCol="0">
            <a:spAutoFit/>
          </a:bodyPr>
          <a:lstStyle/>
          <a:p>
            <a:pPr defTabSz="685537" fontAlgn="auto">
              <a:spcBef>
                <a:spcPts val="0"/>
              </a:spcBef>
              <a:spcAft>
                <a:spcPts val="0"/>
              </a:spcAft>
              <a:defRPr/>
            </a:pPr>
            <a:r>
              <a:rPr lang="en-US" sz="1324" b="0" dirty="0">
                <a:solidFill>
                  <a:srgbClr val="0078D7"/>
                </a:solidFill>
                <a:latin typeface="Segoe UI Semibold" panose="020B0702040204020203" pitchFamily="34" charset="0"/>
                <a:cs typeface="Segoe UI Semibold" panose="020B0702040204020203" pitchFamily="34" charset="0"/>
              </a:rPr>
              <a:t>Table</a:t>
            </a:r>
          </a:p>
        </p:txBody>
      </p:sp>
      <p:grpSp>
        <p:nvGrpSpPr>
          <p:cNvPr id="93" name="Group 92"/>
          <p:cNvGrpSpPr/>
          <p:nvPr/>
        </p:nvGrpSpPr>
        <p:grpSpPr>
          <a:xfrm>
            <a:off x="3351820" y="3535754"/>
            <a:ext cx="522491" cy="93458"/>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grpSp>
      <p:grpSp>
        <p:nvGrpSpPr>
          <p:cNvPr id="119" name="Group 118"/>
          <p:cNvGrpSpPr/>
          <p:nvPr/>
        </p:nvGrpSpPr>
        <p:grpSpPr>
          <a:xfrm>
            <a:off x="1892417" y="3564945"/>
            <a:ext cx="501452" cy="322039"/>
            <a:chOff x="4066672" y="5178804"/>
            <a:chExt cx="1357898" cy="892959"/>
          </a:xfrm>
        </p:grpSpPr>
        <p:cxnSp>
          <p:nvCxnSpPr>
            <p:cNvPr id="121" name="Straight Connector 120"/>
            <p:cNvCxnSpPr>
              <a:cxnSpLocks/>
            </p:cNvCxnSpPr>
            <p:nvPr/>
          </p:nvCxnSpPr>
          <p:spPr>
            <a:xfrm>
              <a:off x="4308968" y="5299952"/>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2" name="Oval 121"/>
            <p:cNvSpPr/>
            <p:nvPr/>
          </p:nvSpPr>
          <p:spPr bwMode="auto">
            <a:xfrm>
              <a:off x="4066672" y="5178804"/>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sp>
          <p:nvSpPr>
            <p:cNvPr id="123" name="Oval 122"/>
            <p:cNvSpPr/>
            <p:nvPr/>
          </p:nvSpPr>
          <p:spPr bwMode="auto">
            <a:xfrm>
              <a:off x="5204247" y="5189787"/>
              <a:ext cx="220323" cy="220323"/>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cxnSp>
          <p:nvCxnSpPr>
            <p:cNvPr id="124" name="Straight Connector 123"/>
            <p:cNvCxnSpPr>
              <a:cxnSpLocks/>
            </p:cNvCxnSpPr>
            <p:nvPr/>
          </p:nvCxnSpPr>
          <p:spPr>
            <a:xfrm>
              <a:off x="4308968" y="5620465"/>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5" name="Oval 124"/>
            <p:cNvSpPr/>
            <p:nvPr/>
          </p:nvSpPr>
          <p:spPr bwMode="auto">
            <a:xfrm>
              <a:off x="4066672" y="5499313"/>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sp>
          <p:nvSpPr>
            <p:cNvPr id="126" name="Oval 125"/>
            <p:cNvSpPr/>
            <p:nvPr/>
          </p:nvSpPr>
          <p:spPr bwMode="auto">
            <a:xfrm>
              <a:off x="5204247" y="5510296"/>
              <a:ext cx="220323"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cxnSp>
          <p:nvCxnSpPr>
            <p:cNvPr id="127" name="Straight Connector 126"/>
            <p:cNvCxnSpPr>
              <a:cxnSpLocks/>
            </p:cNvCxnSpPr>
            <p:nvPr/>
          </p:nvCxnSpPr>
          <p:spPr>
            <a:xfrm>
              <a:off x="4308968" y="5950625"/>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8" name="Oval 127"/>
            <p:cNvSpPr/>
            <p:nvPr/>
          </p:nvSpPr>
          <p:spPr bwMode="auto">
            <a:xfrm>
              <a:off x="4066672" y="5829465"/>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sp>
          <p:nvSpPr>
            <p:cNvPr id="129" name="Oval 128"/>
            <p:cNvSpPr/>
            <p:nvPr/>
          </p:nvSpPr>
          <p:spPr bwMode="auto">
            <a:xfrm>
              <a:off x="5204243" y="5840446"/>
              <a:ext cx="220323"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grpSp>
      <p:sp>
        <p:nvSpPr>
          <p:cNvPr id="120" name="TextBox 119"/>
          <p:cNvSpPr txBox="1"/>
          <p:nvPr/>
        </p:nvSpPr>
        <p:spPr>
          <a:xfrm>
            <a:off x="1860262" y="3955401"/>
            <a:ext cx="551433"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Key-value</a:t>
            </a:r>
          </a:p>
        </p:txBody>
      </p:sp>
      <p:sp>
        <p:nvSpPr>
          <p:cNvPr id="8" name="TextBox 7">
            <a:extLst>
              <a:ext uri="{FF2B5EF4-FFF2-40B4-BE49-F238E27FC236}">
                <a16:creationId xmlns:a16="http://schemas.microsoft.com/office/drawing/2014/main" id="{A6B89208-A96E-4A35-BE63-255117D626E9}"/>
              </a:ext>
            </a:extLst>
          </p:cNvPr>
          <p:cNvSpPr txBox="1"/>
          <p:nvPr/>
        </p:nvSpPr>
        <p:spPr>
          <a:xfrm>
            <a:off x="5303582" y="2694628"/>
            <a:ext cx="970137" cy="296107"/>
          </a:xfrm>
          <a:prstGeom prst="rect">
            <a:avLst/>
          </a:prstGeom>
          <a:noFill/>
        </p:spPr>
        <p:txBody>
          <a:bodyPr wrap="none" rtlCol="0">
            <a:spAutoFit/>
          </a:bodyPr>
          <a:lstStyle/>
          <a:p>
            <a:pPr defTabSz="685537" fontAlgn="auto">
              <a:spcBef>
                <a:spcPts val="0"/>
              </a:spcBef>
              <a:spcAft>
                <a:spcPts val="0"/>
              </a:spcAft>
              <a:defRPr/>
            </a:pPr>
            <a:r>
              <a:rPr lang="en-US" sz="1324" b="0" dirty="0">
                <a:solidFill>
                  <a:srgbClr val="0078D7"/>
                </a:solidFill>
                <a:latin typeface="Segoe UI Semibold" panose="020B0702040204020203" pitchFamily="34" charset="0"/>
                <a:cs typeface="Segoe UI Semibold" panose="020B0702040204020203" pitchFamily="34" charset="0"/>
              </a:rPr>
              <a:t>MongoDB</a:t>
            </a:r>
          </a:p>
        </p:txBody>
      </p:sp>
      <p:pic>
        <p:nvPicPr>
          <p:cNvPr id="103" name="Picture 102">
            <a:extLst>
              <a:ext uri="{FF2B5EF4-FFF2-40B4-BE49-F238E27FC236}">
                <a16:creationId xmlns:a16="http://schemas.microsoft.com/office/drawing/2014/main" id="{91C3404C-C690-433A-88CE-0E70516388A8}"/>
              </a:ext>
            </a:extLst>
          </p:cNvPr>
          <p:cNvPicPr>
            <a:picLocks noChangeAspect="1"/>
          </p:cNvPicPr>
          <p:nvPr/>
        </p:nvPicPr>
        <p:blipFill>
          <a:blip r:embed="rId5"/>
          <a:srcRect l="6075" t="7366" r="6317" b="10100"/>
          <a:stretch>
            <a:fillRect/>
          </a:stretch>
        </p:blipFill>
        <p:spPr>
          <a:xfrm>
            <a:off x="1551937" y="2844741"/>
            <a:ext cx="439808" cy="371176"/>
          </a:xfrm>
          <a:custGeom>
            <a:avLst/>
            <a:gdLst>
              <a:gd name="connsiteX0" fmla="*/ 23177 w 598170"/>
              <a:gd name="connsiteY0" fmla="*/ 0 h 504825"/>
              <a:gd name="connsiteX1" fmla="*/ 574993 w 598170"/>
              <a:gd name="connsiteY1" fmla="*/ 0 h 504825"/>
              <a:gd name="connsiteX2" fmla="*/ 598170 w 598170"/>
              <a:gd name="connsiteY2" fmla="*/ 23177 h 504825"/>
              <a:gd name="connsiteX3" fmla="*/ 598170 w 598170"/>
              <a:gd name="connsiteY3" fmla="*/ 481648 h 504825"/>
              <a:gd name="connsiteX4" fmla="*/ 574993 w 598170"/>
              <a:gd name="connsiteY4" fmla="*/ 504825 h 504825"/>
              <a:gd name="connsiteX5" fmla="*/ 23177 w 598170"/>
              <a:gd name="connsiteY5" fmla="*/ 504825 h 504825"/>
              <a:gd name="connsiteX6" fmla="*/ 0 w 598170"/>
              <a:gd name="connsiteY6" fmla="*/ 481648 h 504825"/>
              <a:gd name="connsiteX7" fmla="*/ 0 w 598170"/>
              <a:gd name="connsiteY7" fmla="*/ 23177 h 504825"/>
              <a:gd name="connsiteX8" fmla="*/ 23177 w 598170"/>
              <a:gd name="connsiteY8" fmla="*/ 0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 h="504825">
                <a:moveTo>
                  <a:pt x="23177" y="0"/>
                </a:moveTo>
                <a:lnTo>
                  <a:pt x="574993" y="0"/>
                </a:lnTo>
                <a:cubicBezTo>
                  <a:pt x="587793" y="0"/>
                  <a:pt x="598170" y="10377"/>
                  <a:pt x="598170" y="23177"/>
                </a:cubicBezTo>
                <a:lnTo>
                  <a:pt x="598170" y="481648"/>
                </a:lnTo>
                <a:cubicBezTo>
                  <a:pt x="598170" y="494448"/>
                  <a:pt x="587793" y="504825"/>
                  <a:pt x="574993" y="504825"/>
                </a:cubicBezTo>
                <a:lnTo>
                  <a:pt x="23177" y="504825"/>
                </a:lnTo>
                <a:cubicBezTo>
                  <a:pt x="10377" y="504825"/>
                  <a:pt x="0" y="494448"/>
                  <a:pt x="0" y="481648"/>
                </a:cubicBezTo>
                <a:lnTo>
                  <a:pt x="0" y="23177"/>
                </a:lnTo>
                <a:cubicBezTo>
                  <a:pt x="0" y="10377"/>
                  <a:pt x="10377" y="0"/>
                  <a:pt x="23177" y="0"/>
                </a:cubicBezTo>
                <a:close/>
              </a:path>
            </a:pathLst>
          </a:custGeom>
        </p:spPr>
      </p:pic>
      <p:sp>
        <p:nvSpPr>
          <p:cNvPr id="2" name="Title 1">
            <a:extLst>
              <a:ext uri="{FF2B5EF4-FFF2-40B4-BE49-F238E27FC236}">
                <a16:creationId xmlns:a16="http://schemas.microsoft.com/office/drawing/2014/main" id="{B77B7E23-C78D-4EAF-8251-32CDC6252698}"/>
              </a:ext>
            </a:extLst>
          </p:cNvPr>
          <p:cNvSpPr>
            <a:spLocks noGrp="1"/>
          </p:cNvSpPr>
          <p:nvPr>
            <p:ph type="title"/>
          </p:nvPr>
        </p:nvSpPr>
        <p:spPr/>
        <p:txBody>
          <a:bodyPr/>
          <a:lstStyle/>
          <a:p>
            <a:pPr defTabSz="685537">
              <a:lnSpc>
                <a:spcPct val="100000"/>
              </a:lnSpc>
              <a:spcBef>
                <a:spcPts val="0"/>
              </a:spcBef>
              <a:defRPr/>
            </a:pPr>
            <a:r>
              <a:rPr lang="en-US" dirty="0"/>
              <a:t>Azure Cosmos DB</a:t>
            </a:r>
            <a:br>
              <a:rPr lang="en-US" dirty="0"/>
            </a:br>
            <a:r>
              <a:rPr lang="en-US" sz="2353" dirty="0">
                <a:gradFill>
                  <a:gsLst>
                    <a:gs pos="21538">
                      <a:srgbClr val="353535"/>
                    </a:gs>
                    <a:gs pos="33000">
                      <a:srgbClr val="353535"/>
                    </a:gs>
                  </a:gsLst>
                  <a:lin ang="5400000" scaled="0"/>
                </a:gradFill>
              </a:rPr>
              <a:t>A globally distributed, massively scalable, multi-model database service</a:t>
            </a:r>
            <a:endParaRPr lang="en-US" dirty="0"/>
          </a:p>
        </p:txBody>
      </p:sp>
      <p:pic>
        <p:nvPicPr>
          <p:cNvPr id="99" name="Picture 98">
            <a:extLst>
              <a:ext uri="{FF2B5EF4-FFF2-40B4-BE49-F238E27FC236}">
                <a16:creationId xmlns:a16="http://schemas.microsoft.com/office/drawing/2014/main" id="{5E1A59E1-BDCF-429B-84F0-30FEBE2A303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95246" y="1014919"/>
            <a:ext cx="597188" cy="597188"/>
          </a:xfrm>
          <a:prstGeom prst="rect">
            <a:avLst/>
          </a:prstGeom>
        </p:spPr>
      </p:pic>
      <p:pic>
        <p:nvPicPr>
          <p:cNvPr id="101" name="Picture 100">
            <a:extLst>
              <a:ext uri="{FF2B5EF4-FFF2-40B4-BE49-F238E27FC236}">
                <a16:creationId xmlns:a16="http://schemas.microsoft.com/office/drawing/2014/main" id="{47C08BC2-4EDB-4D8A-B572-2F84A1CD60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00126" y="2548750"/>
            <a:ext cx="518847" cy="518846"/>
          </a:xfrm>
          <a:prstGeom prst="rect">
            <a:avLst/>
          </a:prstGeom>
        </p:spPr>
      </p:pic>
      <p:grpSp>
        <p:nvGrpSpPr>
          <p:cNvPr id="2122" name="Group 2121">
            <a:extLst>
              <a:ext uri="{FF2B5EF4-FFF2-40B4-BE49-F238E27FC236}">
                <a16:creationId xmlns:a16="http://schemas.microsoft.com/office/drawing/2014/main" id="{D84B3A50-0623-4020-97E9-DAAC602D1DB3}"/>
              </a:ext>
            </a:extLst>
          </p:cNvPr>
          <p:cNvGrpSpPr/>
          <p:nvPr/>
        </p:nvGrpSpPr>
        <p:grpSpPr>
          <a:xfrm>
            <a:off x="0" y="4659951"/>
            <a:ext cx="9144000" cy="1340437"/>
            <a:chOff x="-1" y="5171440"/>
            <a:chExt cx="12436475" cy="1823087"/>
          </a:xfrm>
        </p:grpSpPr>
        <p:sp>
          <p:nvSpPr>
            <p:cNvPr id="100" name="Freeform: Shape 99"/>
            <p:cNvSpPr/>
            <p:nvPr/>
          </p:nvSpPr>
          <p:spPr>
            <a:xfrm>
              <a:off x="-1" y="5171440"/>
              <a:ext cx="12436475" cy="182258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bg1">
                <a:lumMod val="6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37" fontAlgn="auto">
                <a:spcBef>
                  <a:spcPts val="0"/>
                </a:spcBef>
                <a:spcAft>
                  <a:spcPts val="0"/>
                </a:spcAft>
                <a:defRPr/>
              </a:pPr>
              <a:endParaRPr lang="en-US" sz="1350" b="0" dirty="0">
                <a:solidFill>
                  <a:srgbClr val="FFFFFF"/>
                </a:solidFill>
                <a:latin typeface="Segoe UI"/>
              </a:endParaRPr>
            </a:p>
          </p:txBody>
        </p:sp>
        <p:sp>
          <p:nvSpPr>
            <p:cNvPr id="2121" name="Freeform: Shape 2120">
              <a:extLst>
                <a:ext uri="{FF2B5EF4-FFF2-40B4-BE49-F238E27FC236}">
                  <a16:creationId xmlns:a16="http://schemas.microsoft.com/office/drawing/2014/main" id="{A1293392-E6A1-41E2-BA4E-F0AECEB2ACBF}"/>
                </a:ext>
              </a:extLst>
            </p:cNvPr>
            <p:cNvSpPr>
              <a:spLocks noChangeArrowheads="1"/>
            </p:cNvSpPr>
            <p:nvPr/>
          </p:nvSpPr>
          <p:spPr bwMode="auto">
            <a:xfrm>
              <a:off x="1419342" y="5232400"/>
              <a:ext cx="9759834" cy="1762127"/>
            </a:xfrm>
            <a:custGeom>
              <a:avLst/>
              <a:gdLst>
                <a:gd name="connsiteX0" fmla="*/ 9389152 w 9759834"/>
                <a:gd name="connsiteY0" fmla="*/ 1693863 h 1762127"/>
                <a:gd name="connsiteX1" fmla="*/ 9423284 w 9759834"/>
                <a:gd name="connsiteY1" fmla="*/ 1727995 h 1762127"/>
                <a:gd name="connsiteX2" fmla="*/ 9389152 w 9759834"/>
                <a:gd name="connsiteY2" fmla="*/ 1762127 h 1762127"/>
                <a:gd name="connsiteX3" fmla="*/ 9355020 w 9759834"/>
                <a:gd name="connsiteY3" fmla="*/ 1727995 h 1762127"/>
                <a:gd name="connsiteX4" fmla="*/ 9389152 w 9759834"/>
                <a:gd name="connsiteY4" fmla="*/ 1693863 h 1762127"/>
                <a:gd name="connsiteX5" fmla="*/ 8966877 w 9759834"/>
                <a:gd name="connsiteY5" fmla="*/ 1693863 h 1762127"/>
                <a:gd name="connsiteX6" fmla="*/ 9001009 w 9759834"/>
                <a:gd name="connsiteY6" fmla="*/ 1727995 h 1762127"/>
                <a:gd name="connsiteX7" fmla="*/ 8966877 w 9759834"/>
                <a:gd name="connsiteY7" fmla="*/ 1762127 h 1762127"/>
                <a:gd name="connsiteX8" fmla="*/ 8932745 w 9759834"/>
                <a:gd name="connsiteY8" fmla="*/ 1727995 h 1762127"/>
                <a:gd name="connsiteX9" fmla="*/ 8966877 w 9759834"/>
                <a:gd name="connsiteY9" fmla="*/ 1693863 h 1762127"/>
                <a:gd name="connsiteX10" fmla="*/ 8884327 w 9759834"/>
                <a:gd name="connsiteY10" fmla="*/ 1693863 h 1762127"/>
                <a:gd name="connsiteX11" fmla="*/ 8921634 w 9759834"/>
                <a:gd name="connsiteY11" fmla="*/ 1727995 h 1762127"/>
                <a:gd name="connsiteX12" fmla="*/ 8884327 w 9759834"/>
                <a:gd name="connsiteY12" fmla="*/ 1762127 h 1762127"/>
                <a:gd name="connsiteX13" fmla="*/ 8847020 w 9759834"/>
                <a:gd name="connsiteY13" fmla="*/ 1727995 h 1762127"/>
                <a:gd name="connsiteX14" fmla="*/ 8884327 w 9759834"/>
                <a:gd name="connsiteY14" fmla="*/ 1693863 h 1762127"/>
                <a:gd name="connsiteX15" fmla="*/ 8801777 w 9759834"/>
                <a:gd name="connsiteY15" fmla="*/ 1693863 h 1762127"/>
                <a:gd name="connsiteX16" fmla="*/ 8835909 w 9759834"/>
                <a:gd name="connsiteY16" fmla="*/ 1727995 h 1762127"/>
                <a:gd name="connsiteX17" fmla="*/ 8801777 w 9759834"/>
                <a:gd name="connsiteY17" fmla="*/ 1762127 h 1762127"/>
                <a:gd name="connsiteX18" fmla="*/ 8767645 w 9759834"/>
                <a:gd name="connsiteY18" fmla="*/ 1727995 h 1762127"/>
                <a:gd name="connsiteX19" fmla="*/ 8801777 w 9759834"/>
                <a:gd name="connsiteY19" fmla="*/ 1693863 h 1762127"/>
                <a:gd name="connsiteX20" fmla="*/ 8716052 w 9759834"/>
                <a:gd name="connsiteY20" fmla="*/ 1693863 h 1762127"/>
                <a:gd name="connsiteX21" fmla="*/ 8750184 w 9759834"/>
                <a:gd name="connsiteY21" fmla="*/ 1727995 h 1762127"/>
                <a:gd name="connsiteX22" fmla="*/ 8716052 w 9759834"/>
                <a:gd name="connsiteY22" fmla="*/ 1762127 h 1762127"/>
                <a:gd name="connsiteX23" fmla="*/ 8681920 w 9759834"/>
                <a:gd name="connsiteY23" fmla="*/ 1727995 h 1762127"/>
                <a:gd name="connsiteX24" fmla="*/ 8716052 w 9759834"/>
                <a:gd name="connsiteY24" fmla="*/ 1693863 h 1762127"/>
                <a:gd name="connsiteX25" fmla="*/ 8630327 w 9759834"/>
                <a:gd name="connsiteY25" fmla="*/ 1693863 h 1762127"/>
                <a:gd name="connsiteX26" fmla="*/ 8664459 w 9759834"/>
                <a:gd name="connsiteY26" fmla="*/ 1727995 h 1762127"/>
                <a:gd name="connsiteX27" fmla="*/ 8630327 w 9759834"/>
                <a:gd name="connsiteY27" fmla="*/ 1762127 h 1762127"/>
                <a:gd name="connsiteX28" fmla="*/ 8596195 w 9759834"/>
                <a:gd name="connsiteY28" fmla="*/ 1727995 h 1762127"/>
                <a:gd name="connsiteX29" fmla="*/ 8630327 w 9759834"/>
                <a:gd name="connsiteY29" fmla="*/ 1693863 h 1762127"/>
                <a:gd name="connsiteX30" fmla="*/ 8544602 w 9759834"/>
                <a:gd name="connsiteY30" fmla="*/ 1693863 h 1762127"/>
                <a:gd name="connsiteX31" fmla="*/ 8578734 w 9759834"/>
                <a:gd name="connsiteY31" fmla="*/ 1727995 h 1762127"/>
                <a:gd name="connsiteX32" fmla="*/ 8544602 w 9759834"/>
                <a:gd name="connsiteY32" fmla="*/ 1762127 h 1762127"/>
                <a:gd name="connsiteX33" fmla="*/ 8510470 w 9759834"/>
                <a:gd name="connsiteY33" fmla="*/ 1727995 h 1762127"/>
                <a:gd name="connsiteX34" fmla="*/ 8544602 w 9759834"/>
                <a:gd name="connsiteY34" fmla="*/ 1693863 h 1762127"/>
                <a:gd name="connsiteX35" fmla="*/ 8465227 w 9759834"/>
                <a:gd name="connsiteY35" fmla="*/ 1693863 h 1762127"/>
                <a:gd name="connsiteX36" fmla="*/ 8499359 w 9759834"/>
                <a:gd name="connsiteY36" fmla="*/ 1727995 h 1762127"/>
                <a:gd name="connsiteX37" fmla="*/ 8465227 w 9759834"/>
                <a:gd name="connsiteY37" fmla="*/ 1762127 h 1762127"/>
                <a:gd name="connsiteX38" fmla="*/ 8431095 w 9759834"/>
                <a:gd name="connsiteY38" fmla="*/ 1727995 h 1762127"/>
                <a:gd name="connsiteX39" fmla="*/ 8465227 w 9759834"/>
                <a:gd name="connsiteY39" fmla="*/ 1693863 h 1762127"/>
                <a:gd name="connsiteX40" fmla="*/ 8379502 w 9759834"/>
                <a:gd name="connsiteY40" fmla="*/ 1693863 h 1762127"/>
                <a:gd name="connsiteX41" fmla="*/ 8413634 w 9759834"/>
                <a:gd name="connsiteY41" fmla="*/ 1727995 h 1762127"/>
                <a:gd name="connsiteX42" fmla="*/ 8379502 w 9759834"/>
                <a:gd name="connsiteY42" fmla="*/ 1762127 h 1762127"/>
                <a:gd name="connsiteX43" fmla="*/ 8345370 w 9759834"/>
                <a:gd name="connsiteY43" fmla="*/ 1727995 h 1762127"/>
                <a:gd name="connsiteX44" fmla="*/ 8379502 w 9759834"/>
                <a:gd name="connsiteY44" fmla="*/ 1693863 h 1762127"/>
                <a:gd name="connsiteX45" fmla="*/ 8293777 w 9759834"/>
                <a:gd name="connsiteY45" fmla="*/ 1693863 h 1762127"/>
                <a:gd name="connsiteX46" fmla="*/ 8327909 w 9759834"/>
                <a:gd name="connsiteY46" fmla="*/ 1727995 h 1762127"/>
                <a:gd name="connsiteX47" fmla="*/ 8293777 w 9759834"/>
                <a:gd name="connsiteY47" fmla="*/ 1762127 h 1762127"/>
                <a:gd name="connsiteX48" fmla="*/ 8259645 w 9759834"/>
                <a:gd name="connsiteY48" fmla="*/ 1727995 h 1762127"/>
                <a:gd name="connsiteX49" fmla="*/ 8293777 w 9759834"/>
                <a:gd name="connsiteY49" fmla="*/ 1693863 h 1762127"/>
                <a:gd name="connsiteX50" fmla="*/ 8208052 w 9759834"/>
                <a:gd name="connsiteY50" fmla="*/ 1693863 h 1762127"/>
                <a:gd name="connsiteX51" fmla="*/ 8242184 w 9759834"/>
                <a:gd name="connsiteY51" fmla="*/ 1727995 h 1762127"/>
                <a:gd name="connsiteX52" fmla="*/ 8208052 w 9759834"/>
                <a:gd name="connsiteY52" fmla="*/ 1762127 h 1762127"/>
                <a:gd name="connsiteX53" fmla="*/ 8173920 w 9759834"/>
                <a:gd name="connsiteY53" fmla="*/ 1727995 h 1762127"/>
                <a:gd name="connsiteX54" fmla="*/ 8208052 w 9759834"/>
                <a:gd name="connsiteY54" fmla="*/ 1693863 h 1762127"/>
                <a:gd name="connsiteX55" fmla="*/ 8125502 w 9759834"/>
                <a:gd name="connsiteY55" fmla="*/ 1693863 h 1762127"/>
                <a:gd name="connsiteX56" fmla="*/ 8162809 w 9759834"/>
                <a:gd name="connsiteY56" fmla="*/ 1727995 h 1762127"/>
                <a:gd name="connsiteX57" fmla="*/ 8125502 w 9759834"/>
                <a:gd name="connsiteY57" fmla="*/ 1762127 h 1762127"/>
                <a:gd name="connsiteX58" fmla="*/ 8088195 w 9759834"/>
                <a:gd name="connsiteY58" fmla="*/ 1727995 h 1762127"/>
                <a:gd name="connsiteX59" fmla="*/ 8125502 w 9759834"/>
                <a:gd name="connsiteY59" fmla="*/ 1693863 h 1762127"/>
                <a:gd name="connsiteX60" fmla="*/ 8042952 w 9759834"/>
                <a:gd name="connsiteY60" fmla="*/ 1693863 h 1762127"/>
                <a:gd name="connsiteX61" fmla="*/ 8077084 w 9759834"/>
                <a:gd name="connsiteY61" fmla="*/ 1727995 h 1762127"/>
                <a:gd name="connsiteX62" fmla="*/ 8042952 w 9759834"/>
                <a:gd name="connsiteY62" fmla="*/ 1762127 h 1762127"/>
                <a:gd name="connsiteX63" fmla="*/ 8008820 w 9759834"/>
                <a:gd name="connsiteY63" fmla="*/ 1727995 h 1762127"/>
                <a:gd name="connsiteX64" fmla="*/ 8042952 w 9759834"/>
                <a:gd name="connsiteY64" fmla="*/ 1693863 h 1762127"/>
                <a:gd name="connsiteX65" fmla="*/ 7957227 w 9759834"/>
                <a:gd name="connsiteY65" fmla="*/ 1693863 h 1762127"/>
                <a:gd name="connsiteX66" fmla="*/ 7991359 w 9759834"/>
                <a:gd name="connsiteY66" fmla="*/ 1727995 h 1762127"/>
                <a:gd name="connsiteX67" fmla="*/ 7957227 w 9759834"/>
                <a:gd name="connsiteY67" fmla="*/ 1762127 h 1762127"/>
                <a:gd name="connsiteX68" fmla="*/ 7923095 w 9759834"/>
                <a:gd name="connsiteY68" fmla="*/ 1727995 h 1762127"/>
                <a:gd name="connsiteX69" fmla="*/ 7957227 w 9759834"/>
                <a:gd name="connsiteY69" fmla="*/ 1693863 h 1762127"/>
                <a:gd name="connsiteX70" fmla="*/ 7871502 w 9759834"/>
                <a:gd name="connsiteY70" fmla="*/ 1693863 h 1762127"/>
                <a:gd name="connsiteX71" fmla="*/ 7905634 w 9759834"/>
                <a:gd name="connsiteY71" fmla="*/ 1727995 h 1762127"/>
                <a:gd name="connsiteX72" fmla="*/ 7871502 w 9759834"/>
                <a:gd name="connsiteY72" fmla="*/ 1762127 h 1762127"/>
                <a:gd name="connsiteX73" fmla="*/ 7837370 w 9759834"/>
                <a:gd name="connsiteY73" fmla="*/ 1727995 h 1762127"/>
                <a:gd name="connsiteX74" fmla="*/ 7871502 w 9759834"/>
                <a:gd name="connsiteY74" fmla="*/ 1693863 h 1762127"/>
                <a:gd name="connsiteX75" fmla="*/ 7785777 w 9759834"/>
                <a:gd name="connsiteY75" fmla="*/ 1693863 h 1762127"/>
                <a:gd name="connsiteX76" fmla="*/ 7819909 w 9759834"/>
                <a:gd name="connsiteY76" fmla="*/ 1727995 h 1762127"/>
                <a:gd name="connsiteX77" fmla="*/ 7785777 w 9759834"/>
                <a:gd name="connsiteY77" fmla="*/ 1762127 h 1762127"/>
                <a:gd name="connsiteX78" fmla="*/ 7751645 w 9759834"/>
                <a:gd name="connsiteY78" fmla="*/ 1727995 h 1762127"/>
                <a:gd name="connsiteX79" fmla="*/ 7785777 w 9759834"/>
                <a:gd name="connsiteY79" fmla="*/ 1693863 h 1762127"/>
                <a:gd name="connsiteX80" fmla="*/ 7706402 w 9759834"/>
                <a:gd name="connsiteY80" fmla="*/ 1693863 h 1762127"/>
                <a:gd name="connsiteX81" fmla="*/ 7740534 w 9759834"/>
                <a:gd name="connsiteY81" fmla="*/ 1727995 h 1762127"/>
                <a:gd name="connsiteX82" fmla="*/ 7706402 w 9759834"/>
                <a:gd name="connsiteY82" fmla="*/ 1762127 h 1762127"/>
                <a:gd name="connsiteX83" fmla="*/ 7672270 w 9759834"/>
                <a:gd name="connsiteY83" fmla="*/ 1727995 h 1762127"/>
                <a:gd name="connsiteX84" fmla="*/ 7706402 w 9759834"/>
                <a:gd name="connsiteY84" fmla="*/ 1693863 h 1762127"/>
                <a:gd name="connsiteX85" fmla="*/ 7620677 w 9759834"/>
                <a:gd name="connsiteY85" fmla="*/ 1693863 h 1762127"/>
                <a:gd name="connsiteX86" fmla="*/ 7654809 w 9759834"/>
                <a:gd name="connsiteY86" fmla="*/ 1727995 h 1762127"/>
                <a:gd name="connsiteX87" fmla="*/ 7620677 w 9759834"/>
                <a:gd name="connsiteY87" fmla="*/ 1762127 h 1762127"/>
                <a:gd name="connsiteX88" fmla="*/ 7586545 w 9759834"/>
                <a:gd name="connsiteY88" fmla="*/ 1727995 h 1762127"/>
                <a:gd name="connsiteX89" fmla="*/ 7620677 w 9759834"/>
                <a:gd name="connsiteY89" fmla="*/ 1693863 h 1762127"/>
                <a:gd name="connsiteX90" fmla="*/ 7534952 w 9759834"/>
                <a:gd name="connsiteY90" fmla="*/ 1693863 h 1762127"/>
                <a:gd name="connsiteX91" fmla="*/ 7569084 w 9759834"/>
                <a:gd name="connsiteY91" fmla="*/ 1727995 h 1762127"/>
                <a:gd name="connsiteX92" fmla="*/ 7534952 w 9759834"/>
                <a:gd name="connsiteY92" fmla="*/ 1762127 h 1762127"/>
                <a:gd name="connsiteX93" fmla="*/ 7500820 w 9759834"/>
                <a:gd name="connsiteY93" fmla="*/ 1727995 h 1762127"/>
                <a:gd name="connsiteX94" fmla="*/ 7534952 w 9759834"/>
                <a:gd name="connsiteY94" fmla="*/ 1693863 h 1762127"/>
                <a:gd name="connsiteX95" fmla="*/ 7449227 w 9759834"/>
                <a:gd name="connsiteY95" fmla="*/ 1693863 h 1762127"/>
                <a:gd name="connsiteX96" fmla="*/ 7483359 w 9759834"/>
                <a:gd name="connsiteY96" fmla="*/ 1727995 h 1762127"/>
                <a:gd name="connsiteX97" fmla="*/ 7449227 w 9759834"/>
                <a:gd name="connsiteY97" fmla="*/ 1762127 h 1762127"/>
                <a:gd name="connsiteX98" fmla="*/ 7415095 w 9759834"/>
                <a:gd name="connsiteY98" fmla="*/ 1727995 h 1762127"/>
                <a:gd name="connsiteX99" fmla="*/ 7449227 w 9759834"/>
                <a:gd name="connsiteY99" fmla="*/ 1693863 h 1762127"/>
                <a:gd name="connsiteX100" fmla="*/ 7366677 w 9759834"/>
                <a:gd name="connsiteY100" fmla="*/ 1693863 h 1762127"/>
                <a:gd name="connsiteX101" fmla="*/ 7403984 w 9759834"/>
                <a:gd name="connsiteY101" fmla="*/ 1727995 h 1762127"/>
                <a:gd name="connsiteX102" fmla="*/ 7366677 w 9759834"/>
                <a:gd name="connsiteY102" fmla="*/ 1762127 h 1762127"/>
                <a:gd name="connsiteX103" fmla="*/ 7329370 w 9759834"/>
                <a:gd name="connsiteY103" fmla="*/ 1727995 h 1762127"/>
                <a:gd name="connsiteX104" fmla="*/ 7366677 w 9759834"/>
                <a:gd name="connsiteY104" fmla="*/ 1693863 h 1762127"/>
                <a:gd name="connsiteX105" fmla="*/ 7284127 w 9759834"/>
                <a:gd name="connsiteY105" fmla="*/ 1693863 h 1762127"/>
                <a:gd name="connsiteX106" fmla="*/ 7318259 w 9759834"/>
                <a:gd name="connsiteY106" fmla="*/ 1727995 h 1762127"/>
                <a:gd name="connsiteX107" fmla="*/ 7284127 w 9759834"/>
                <a:gd name="connsiteY107" fmla="*/ 1762127 h 1762127"/>
                <a:gd name="connsiteX108" fmla="*/ 7249995 w 9759834"/>
                <a:gd name="connsiteY108" fmla="*/ 1727995 h 1762127"/>
                <a:gd name="connsiteX109" fmla="*/ 7284127 w 9759834"/>
                <a:gd name="connsiteY109" fmla="*/ 1693863 h 1762127"/>
                <a:gd name="connsiteX110" fmla="*/ 7198402 w 9759834"/>
                <a:gd name="connsiteY110" fmla="*/ 1693863 h 1762127"/>
                <a:gd name="connsiteX111" fmla="*/ 7232534 w 9759834"/>
                <a:gd name="connsiteY111" fmla="*/ 1727995 h 1762127"/>
                <a:gd name="connsiteX112" fmla="*/ 7198402 w 9759834"/>
                <a:gd name="connsiteY112" fmla="*/ 1762127 h 1762127"/>
                <a:gd name="connsiteX113" fmla="*/ 7164270 w 9759834"/>
                <a:gd name="connsiteY113" fmla="*/ 1727995 h 1762127"/>
                <a:gd name="connsiteX114" fmla="*/ 7198402 w 9759834"/>
                <a:gd name="connsiteY114" fmla="*/ 1693863 h 1762127"/>
                <a:gd name="connsiteX115" fmla="*/ 7112677 w 9759834"/>
                <a:gd name="connsiteY115" fmla="*/ 1693863 h 1762127"/>
                <a:gd name="connsiteX116" fmla="*/ 7146809 w 9759834"/>
                <a:gd name="connsiteY116" fmla="*/ 1727995 h 1762127"/>
                <a:gd name="connsiteX117" fmla="*/ 7112677 w 9759834"/>
                <a:gd name="connsiteY117" fmla="*/ 1762127 h 1762127"/>
                <a:gd name="connsiteX118" fmla="*/ 7078545 w 9759834"/>
                <a:gd name="connsiteY118" fmla="*/ 1727995 h 1762127"/>
                <a:gd name="connsiteX119" fmla="*/ 7112677 w 9759834"/>
                <a:gd name="connsiteY119" fmla="*/ 1693863 h 1762127"/>
                <a:gd name="connsiteX120" fmla="*/ 7027745 w 9759834"/>
                <a:gd name="connsiteY120" fmla="*/ 1693863 h 1762127"/>
                <a:gd name="connsiteX121" fmla="*/ 7062670 w 9759834"/>
                <a:gd name="connsiteY121" fmla="*/ 1727995 h 1762127"/>
                <a:gd name="connsiteX122" fmla="*/ 7027745 w 9759834"/>
                <a:gd name="connsiteY122" fmla="*/ 1762127 h 1762127"/>
                <a:gd name="connsiteX123" fmla="*/ 6992820 w 9759834"/>
                <a:gd name="connsiteY123" fmla="*/ 1727995 h 1762127"/>
                <a:gd name="connsiteX124" fmla="*/ 7027745 w 9759834"/>
                <a:gd name="connsiteY124" fmla="*/ 1693863 h 1762127"/>
                <a:gd name="connsiteX125" fmla="*/ 6947577 w 9759834"/>
                <a:gd name="connsiteY125" fmla="*/ 1693863 h 1762127"/>
                <a:gd name="connsiteX126" fmla="*/ 6981709 w 9759834"/>
                <a:gd name="connsiteY126" fmla="*/ 1727995 h 1762127"/>
                <a:gd name="connsiteX127" fmla="*/ 6947577 w 9759834"/>
                <a:gd name="connsiteY127" fmla="*/ 1762127 h 1762127"/>
                <a:gd name="connsiteX128" fmla="*/ 6913445 w 9759834"/>
                <a:gd name="connsiteY128" fmla="*/ 1727995 h 1762127"/>
                <a:gd name="connsiteX129" fmla="*/ 6947577 w 9759834"/>
                <a:gd name="connsiteY129" fmla="*/ 1693863 h 1762127"/>
                <a:gd name="connsiteX130" fmla="*/ 6861852 w 9759834"/>
                <a:gd name="connsiteY130" fmla="*/ 1693863 h 1762127"/>
                <a:gd name="connsiteX131" fmla="*/ 6895984 w 9759834"/>
                <a:gd name="connsiteY131" fmla="*/ 1727995 h 1762127"/>
                <a:gd name="connsiteX132" fmla="*/ 6861852 w 9759834"/>
                <a:gd name="connsiteY132" fmla="*/ 1762127 h 1762127"/>
                <a:gd name="connsiteX133" fmla="*/ 6827720 w 9759834"/>
                <a:gd name="connsiteY133" fmla="*/ 1727995 h 1762127"/>
                <a:gd name="connsiteX134" fmla="*/ 6861852 w 9759834"/>
                <a:gd name="connsiteY134" fmla="*/ 1693863 h 1762127"/>
                <a:gd name="connsiteX135" fmla="*/ 6776127 w 9759834"/>
                <a:gd name="connsiteY135" fmla="*/ 1693863 h 1762127"/>
                <a:gd name="connsiteX136" fmla="*/ 6810259 w 9759834"/>
                <a:gd name="connsiteY136" fmla="*/ 1727995 h 1762127"/>
                <a:gd name="connsiteX137" fmla="*/ 6776127 w 9759834"/>
                <a:gd name="connsiteY137" fmla="*/ 1762127 h 1762127"/>
                <a:gd name="connsiteX138" fmla="*/ 6741995 w 9759834"/>
                <a:gd name="connsiteY138" fmla="*/ 1727995 h 1762127"/>
                <a:gd name="connsiteX139" fmla="*/ 6776127 w 9759834"/>
                <a:gd name="connsiteY139" fmla="*/ 1693863 h 1762127"/>
                <a:gd name="connsiteX140" fmla="*/ 6691195 w 9759834"/>
                <a:gd name="connsiteY140" fmla="*/ 1693863 h 1762127"/>
                <a:gd name="connsiteX141" fmla="*/ 6726120 w 9759834"/>
                <a:gd name="connsiteY141" fmla="*/ 1727995 h 1762127"/>
                <a:gd name="connsiteX142" fmla="*/ 6691195 w 9759834"/>
                <a:gd name="connsiteY142" fmla="*/ 1762127 h 1762127"/>
                <a:gd name="connsiteX143" fmla="*/ 6656270 w 9759834"/>
                <a:gd name="connsiteY143" fmla="*/ 1727995 h 1762127"/>
                <a:gd name="connsiteX144" fmla="*/ 6691195 w 9759834"/>
                <a:gd name="connsiteY144" fmla="*/ 1693863 h 1762127"/>
                <a:gd name="connsiteX145" fmla="*/ 6607852 w 9759834"/>
                <a:gd name="connsiteY145" fmla="*/ 1693863 h 1762127"/>
                <a:gd name="connsiteX146" fmla="*/ 6645159 w 9759834"/>
                <a:gd name="connsiteY146" fmla="*/ 1727995 h 1762127"/>
                <a:gd name="connsiteX147" fmla="*/ 6607852 w 9759834"/>
                <a:gd name="connsiteY147" fmla="*/ 1762127 h 1762127"/>
                <a:gd name="connsiteX148" fmla="*/ 6570545 w 9759834"/>
                <a:gd name="connsiteY148" fmla="*/ 1727995 h 1762127"/>
                <a:gd name="connsiteX149" fmla="*/ 6607852 w 9759834"/>
                <a:gd name="connsiteY149" fmla="*/ 1693863 h 1762127"/>
                <a:gd name="connsiteX150" fmla="*/ 6525302 w 9759834"/>
                <a:gd name="connsiteY150" fmla="*/ 1693863 h 1762127"/>
                <a:gd name="connsiteX151" fmla="*/ 6559434 w 9759834"/>
                <a:gd name="connsiteY151" fmla="*/ 1727995 h 1762127"/>
                <a:gd name="connsiteX152" fmla="*/ 6525302 w 9759834"/>
                <a:gd name="connsiteY152" fmla="*/ 1762127 h 1762127"/>
                <a:gd name="connsiteX153" fmla="*/ 6491170 w 9759834"/>
                <a:gd name="connsiteY153" fmla="*/ 1727995 h 1762127"/>
                <a:gd name="connsiteX154" fmla="*/ 6525302 w 9759834"/>
                <a:gd name="connsiteY154" fmla="*/ 1693863 h 1762127"/>
                <a:gd name="connsiteX155" fmla="*/ 6439577 w 9759834"/>
                <a:gd name="connsiteY155" fmla="*/ 1693863 h 1762127"/>
                <a:gd name="connsiteX156" fmla="*/ 6473709 w 9759834"/>
                <a:gd name="connsiteY156" fmla="*/ 1727995 h 1762127"/>
                <a:gd name="connsiteX157" fmla="*/ 6439577 w 9759834"/>
                <a:gd name="connsiteY157" fmla="*/ 1762127 h 1762127"/>
                <a:gd name="connsiteX158" fmla="*/ 6405445 w 9759834"/>
                <a:gd name="connsiteY158" fmla="*/ 1727995 h 1762127"/>
                <a:gd name="connsiteX159" fmla="*/ 6439577 w 9759834"/>
                <a:gd name="connsiteY159" fmla="*/ 1693863 h 1762127"/>
                <a:gd name="connsiteX160" fmla="*/ 6353852 w 9759834"/>
                <a:gd name="connsiteY160" fmla="*/ 1693863 h 1762127"/>
                <a:gd name="connsiteX161" fmla="*/ 6387984 w 9759834"/>
                <a:gd name="connsiteY161" fmla="*/ 1727995 h 1762127"/>
                <a:gd name="connsiteX162" fmla="*/ 6353852 w 9759834"/>
                <a:gd name="connsiteY162" fmla="*/ 1762127 h 1762127"/>
                <a:gd name="connsiteX163" fmla="*/ 6319720 w 9759834"/>
                <a:gd name="connsiteY163" fmla="*/ 1727995 h 1762127"/>
                <a:gd name="connsiteX164" fmla="*/ 6353852 w 9759834"/>
                <a:gd name="connsiteY164" fmla="*/ 1693863 h 1762127"/>
                <a:gd name="connsiteX165" fmla="*/ 6268920 w 9759834"/>
                <a:gd name="connsiteY165" fmla="*/ 1693863 h 1762127"/>
                <a:gd name="connsiteX166" fmla="*/ 6303845 w 9759834"/>
                <a:gd name="connsiteY166" fmla="*/ 1727995 h 1762127"/>
                <a:gd name="connsiteX167" fmla="*/ 6268920 w 9759834"/>
                <a:gd name="connsiteY167" fmla="*/ 1762127 h 1762127"/>
                <a:gd name="connsiteX168" fmla="*/ 6233995 w 9759834"/>
                <a:gd name="connsiteY168" fmla="*/ 1727995 h 1762127"/>
                <a:gd name="connsiteX169" fmla="*/ 6268920 w 9759834"/>
                <a:gd name="connsiteY169" fmla="*/ 1693863 h 1762127"/>
                <a:gd name="connsiteX170" fmla="*/ 6188752 w 9759834"/>
                <a:gd name="connsiteY170" fmla="*/ 1693863 h 1762127"/>
                <a:gd name="connsiteX171" fmla="*/ 6222884 w 9759834"/>
                <a:gd name="connsiteY171" fmla="*/ 1727995 h 1762127"/>
                <a:gd name="connsiteX172" fmla="*/ 6188752 w 9759834"/>
                <a:gd name="connsiteY172" fmla="*/ 1762127 h 1762127"/>
                <a:gd name="connsiteX173" fmla="*/ 6154620 w 9759834"/>
                <a:gd name="connsiteY173" fmla="*/ 1727995 h 1762127"/>
                <a:gd name="connsiteX174" fmla="*/ 6188752 w 9759834"/>
                <a:gd name="connsiteY174" fmla="*/ 1693863 h 1762127"/>
                <a:gd name="connsiteX175" fmla="*/ 6103027 w 9759834"/>
                <a:gd name="connsiteY175" fmla="*/ 1693863 h 1762127"/>
                <a:gd name="connsiteX176" fmla="*/ 6137159 w 9759834"/>
                <a:gd name="connsiteY176" fmla="*/ 1727995 h 1762127"/>
                <a:gd name="connsiteX177" fmla="*/ 6103027 w 9759834"/>
                <a:gd name="connsiteY177" fmla="*/ 1762127 h 1762127"/>
                <a:gd name="connsiteX178" fmla="*/ 6068895 w 9759834"/>
                <a:gd name="connsiteY178" fmla="*/ 1727995 h 1762127"/>
                <a:gd name="connsiteX179" fmla="*/ 6103027 w 9759834"/>
                <a:gd name="connsiteY179" fmla="*/ 1693863 h 1762127"/>
                <a:gd name="connsiteX180" fmla="*/ 6017302 w 9759834"/>
                <a:gd name="connsiteY180" fmla="*/ 1693863 h 1762127"/>
                <a:gd name="connsiteX181" fmla="*/ 6051434 w 9759834"/>
                <a:gd name="connsiteY181" fmla="*/ 1727995 h 1762127"/>
                <a:gd name="connsiteX182" fmla="*/ 6017302 w 9759834"/>
                <a:gd name="connsiteY182" fmla="*/ 1762127 h 1762127"/>
                <a:gd name="connsiteX183" fmla="*/ 5983170 w 9759834"/>
                <a:gd name="connsiteY183" fmla="*/ 1727995 h 1762127"/>
                <a:gd name="connsiteX184" fmla="*/ 6017302 w 9759834"/>
                <a:gd name="connsiteY184" fmla="*/ 1693863 h 1762127"/>
                <a:gd name="connsiteX185" fmla="*/ 5932370 w 9759834"/>
                <a:gd name="connsiteY185" fmla="*/ 1693863 h 1762127"/>
                <a:gd name="connsiteX186" fmla="*/ 5967295 w 9759834"/>
                <a:gd name="connsiteY186" fmla="*/ 1727995 h 1762127"/>
                <a:gd name="connsiteX187" fmla="*/ 5932370 w 9759834"/>
                <a:gd name="connsiteY187" fmla="*/ 1762127 h 1762127"/>
                <a:gd name="connsiteX188" fmla="*/ 5897445 w 9759834"/>
                <a:gd name="connsiteY188" fmla="*/ 1727995 h 1762127"/>
                <a:gd name="connsiteX189" fmla="*/ 5932370 w 9759834"/>
                <a:gd name="connsiteY189" fmla="*/ 1693863 h 1762127"/>
                <a:gd name="connsiteX190" fmla="*/ 5849821 w 9759834"/>
                <a:gd name="connsiteY190" fmla="*/ 1693863 h 1762127"/>
                <a:gd name="connsiteX191" fmla="*/ 5886334 w 9759834"/>
                <a:gd name="connsiteY191" fmla="*/ 1727995 h 1762127"/>
                <a:gd name="connsiteX192" fmla="*/ 5849821 w 9759834"/>
                <a:gd name="connsiteY192" fmla="*/ 1762127 h 1762127"/>
                <a:gd name="connsiteX193" fmla="*/ 5813308 w 9759834"/>
                <a:gd name="connsiteY193" fmla="*/ 1727995 h 1762127"/>
                <a:gd name="connsiteX194" fmla="*/ 5849821 w 9759834"/>
                <a:gd name="connsiteY194" fmla="*/ 1693863 h 1762127"/>
                <a:gd name="connsiteX195" fmla="*/ 5766477 w 9759834"/>
                <a:gd name="connsiteY195" fmla="*/ 1693863 h 1762127"/>
                <a:gd name="connsiteX196" fmla="*/ 5800609 w 9759834"/>
                <a:gd name="connsiteY196" fmla="*/ 1727995 h 1762127"/>
                <a:gd name="connsiteX197" fmla="*/ 5766477 w 9759834"/>
                <a:gd name="connsiteY197" fmla="*/ 1762127 h 1762127"/>
                <a:gd name="connsiteX198" fmla="*/ 5732345 w 9759834"/>
                <a:gd name="connsiteY198" fmla="*/ 1727995 h 1762127"/>
                <a:gd name="connsiteX199" fmla="*/ 5766477 w 9759834"/>
                <a:gd name="connsiteY199" fmla="*/ 1693863 h 1762127"/>
                <a:gd name="connsiteX200" fmla="*/ 5680752 w 9759834"/>
                <a:gd name="connsiteY200" fmla="*/ 1693863 h 1762127"/>
                <a:gd name="connsiteX201" fmla="*/ 5714884 w 9759834"/>
                <a:gd name="connsiteY201" fmla="*/ 1727995 h 1762127"/>
                <a:gd name="connsiteX202" fmla="*/ 5680752 w 9759834"/>
                <a:gd name="connsiteY202" fmla="*/ 1762127 h 1762127"/>
                <a:gd name="connsiteX203" fmla="*/ 5646620 w 9759834"/>
                <a:gd name="connsiteY203" fmla="*/ 1727995 h 1762127"/>
                <a:gd name="connsiteX204" fmla="*/ 5680752 w 9759834"/>
                <a:gd name="connsiteY204" fmla="*/ 1693863 h 1762127"/>
                <a:gd name="connsiteX205" fmla="*/ 5595820 w 9759834"/>
                <a:gd name="connsiteY205" fmla="*/ 1693863 h 1762127"/>
                <a:gd name="connsiteX206" fmla="*/ 5630745 w 9759834"/>
                <a:gd name="connsiteY206" fmla="*/ 1727995 h 1762127"/>
                <a:gd name="connsiteX207" fmla="*/ 5595820 w 9759834"/>
                <a:gd name="connsiteY207" fmla="*/ 1762127 h 1762127"/>
                <a:gd name="connsiteX208" fmla="*/ 5560895 w 9759834"/>
                <a:gd name="connsiteY208" fmla="*/ 1727995 h 1762127"/>
                <a:gd name="connsiteX209" fmla="*/ 5595820 w 9759834"/>
                <a:gd name="connsiteY209" fmla="*/ 1693863 h 1762127"/>
                <a:gd name="connsiteX210" fmla="*/ 5510095 w 9759834"/>
                <a:gd name="connsiteY210" fmla="*/ 1693863 h 1762127"/>
                <a:gd name="connsiteX211" fmla="*/ 5545020 w 9759834"/>
                <a:gd name="connsiteY211" fmla="*/ 1727995 h 1762127"/>
                <a:gd name="connsiteX212" fmla="*/ 5510095 w 9759834"/>
                <a:gd name="connsiteY212" fmla="*/ 1762127 h 1762127"/>
                <a:gd name="connsiteX213" fmla="*/ 5475170 w 9759834"/>
                <a:gd name="connsiteY213" fmla="*/ 1727995 h 1762127"/>
                <a:gd name="connsiteX214" fmla="*/ 5510095 w 9759834"/>
                <a:gd name="connsiteY214" fmla="*/ 1693863 h 1762127"/>
                <a:gd name="connsiteX215" fmla="*/ 5429927 w 9759834"/>
                <a:gd name="connsiteY215" fmla="*/ 1693863 h 1762127"/>
                <a:gd name="connsiteX216" fmla="*/ 5464059 w 9759834"/>
                <a:gd name="connsiteY216" fmla="*/ 1727995 h 1762127"/>
                <a:gd name="connsiteX217" fmla="*/ 5429927 w 9759834"/>
                <a:gd name="connsiteY217" fmla="*/ 1762127 h 1762127"/>
                <a:gd name="connsiteX218" fmla="*/ 5395795 w 9759834"/>
                <a:gd name="connsiteY218" fmla="*/ 1727995 h 1762127"/>
                <a:gd name="connsiteX219" fmla="*/ 5429927 w 9759834"/>
                <a:gd name="connsiteY219" fmla="*/ 1693863 h 1762127"/>
                <a:gd name="connsiteX220" fmla="*/ 5344202 w 9759834"/>
                <a:gd name="connsiteY220" fmla="*/ 1693863 h 1762127"/>
                <a:gd name="connsiteX221" fmla="*/ 5378334 w 9759834"/>
                <a:gd name="connsiteY221" fmla="*/ 1727995 h 1762127"/>
                <a:gd name="connsiteX222" fmla="*/ 5344202 w 9759834"/>
                <a:gd name="connsiteY222" fmla="*/ 1762127 h 1762127"/>
                <a:gd name="connsiteX223" fmla="*/ 5310070 w 9759834"/>
                <a:gd name="connsiteY223" fmla="*/ 1727995 h 1762127"/>
                <a:gd name="connsiteX224" fmla="*/ 5344202 w 9759834"/>
                <a:gd name="connsiteY224" fmla="*/ 1693863 h 1762127"/>
                <a:gd name="connsiteX225" fmla="*/ 5258477 w 9759834"/>
                <a:gd name="connsiteY225" fmla="*/ 1693863 h 1762127"/>
                <a:gd name="connsiteX226" fmla="*/ 5292609 w 9759834"/>
                <a:gd name="connsiteY226" fmla="*/ 1727995 h 1762127"/>
                <a:gd name="connsiteX227" fmla="*/ 5258477 w 9759834"/>
                <a:gd name="connsiteY227" fmla="*/ 1762127 h 1762127"/>
                <a:gd name="connsiteX228" fmla="*/ 5224345 w 9759834"/>
                <a:gd name="connsiteY228" fmla="*/ 1727995 h 1762127"/>
                <a:gd name="connsiteX229" fmla="*/ 5258477 w 9759834"/>
                <a:gd name="connsiteY229" fmla="*/ 1693863 h 1762127"/>
                <a:gd name="connsiteX230" fmla="*/ 5173545 w 9759834"/>
                <a:gd name="connsiteY230" fmla="*/ 1693863 h 1762127"/>
                <a:gd name="connsiteX231" fmla="*/ 5208470 w 9759834"/>
                <a:gd name="connsiteY231" fmla="*/ 1727995 h 1762127"/>
                <a:gd name="connsiteX232" fmla="*/ 5173545 w 9759834"/>
                <a:gd name="connsiteY232" fmla="*/ 1762127 h 1762127"/>
                <a:gd name="connsiteX233" fmla="*/ 5138620 w 9759834"/>
                <a:gd name="connsiteY233" fmla="*/ 1727995 h 1762127"/>
                <a:gd name="connsiteX234" fmla="*/ 5173545 w 9759834"/>
                <a:gd name="connsiteY234" fmla="*/ 1693863 h 1762127"/>
                <a:gd name="connsiteX235" fmla="*/ 5007652 w 9759834"/>
                <a:gd name="connsiteY235" fmla="*/ 1693863 h 1762127"/>
                <a:gd name="connsiteX236" fmla="*/ 5041784 w 9759834"/>
                <a:gd name="connsiteY236" fmla="*/ 1727995 h 1762127"/>
                <a:gd name="connsiteX237" fmla="*/ 5007652 w 9759834"/>
                <a:gd name="connsiteY237" fmla="*/ 1762127 h 1762127"/>
                <a:gd name="connsiteX238" fmla="*/ 4973520 w 9759834"/>
                <a:gd name="connsiteY238" fmla="*/ 1727995 h 1762127"/>
                <a:gd name="connsiteX239" fmla="*/ 5007652 w 9759834"/>
                <a:gd name="connsiteY239" fmla="*/ 1693863 h 1762127"/>
                <a:gd name="connsiteX240" fmla="*/ 4921927 w 9759834"/>
                <a:gd name="connsiteY240" fmla="*/ 1693863 h 1762127"/>
                <a:gd name="connsiteX241" fmla="*/ 4956059 w 9759834"/>
                <a:gd name="connsiteY241" fmla="*/ 1727995 h 1762127"/>
                <a:gd name="connsiteX242" fmla="*/ 4921927 w 9759834"/>
                <a:gd name="connsiteY242" fmla="*/ 1762127 h 1762127"/>
                <a:gd name="connsiteX243" fmla="*/ 4887795 w 9759834"/>
                <a:gd name="connsiteY243" fmla="*/ 1727995 h 1762127"/>
                <a:gd name="connsiteX244" fmla="*/ 4921927 w 9759834"/>
                <a:gd name="connsiteY244" fmla="*/ 1693863 h 1762127"/>
                <a:gd name="connsiteX245" fmla="*/ 3068520 w 9759834"/>
                <a:gd name="connsiteY245" fmla="*/ 1693863 h 1762127"/>
                <a:gd name="connsiteX246" fmla="*/ 3103445 w 9759834"/>
                <a:gd name="connsiteY246" fmla="*/ 1727995 h 1762127"/>
                <a:gd name="connsiteX247" fmla="*/ 3068520 w 9759834"/>
                <a:gd name="connsiteY247" fmla="*/ 1762127 h 1762127"/>
                <a:gd name="connsiteX248" fmla="*/ 3033595 w 9759834"/>
                <a:gd name="connsiteY248" fmla="*/ 1727995 h 1762127"/>
                <a:gd name="connsiteX249" fmla="*/ 3068520 w 9759834"/>
                <a:gd name="connsiteY249" fmla="*/ 1693863 h 1762127"/>
                <a:gd name="connsiteX250" fmla="*/ 2983589 w 9759834"/>
                <a:gd name="connsiteY250" fmla="*/ 1693863 h 1762127"/>
                <a:gd name="connsiteX251" fmla="*/ 3017721 w 9759834"/>
                <a:gd name="connsiteY251" fmla="*/ 1727995 h 1762127"/>
                <a:gd name="connsiteX252" fmla="*/ 2983589 w 9759834"/>
                <a:gd name="connsiteY252" fmla="*/ 1762127 h 1762127"/>
                <a:gd name="connsiteX253" fmla="*/ 2949457 w 9759834"/>
                <a:gd name="connsiteY253" fmla="*/ 1727995 h 1762127"/>
                <a:gd name="connsiteX254" fmla="*/ 2983589 w 9759834"/>
                <a:gd name="connsiteY254" fmla="*/ 1693863 h 1762127"/>
                <a:gd name="connsiteX255" fmla="*/ 2897864 w 9759834"/>
                <a:gd name="connsiteY255" fmla="*/ 1693863 h 1762127"/>
                <a:gd name="connsiteX256" fmla="*/ 2931996 w 9759834"/>
                <a:gd name="connsiteY256" fmla="*/ 1727995 h 1762127"/>
                <a:gd name="connsiteX257" fmla="*/ 2897864 w 9759834"/>
                <a:gd name="connsiteY257" fmla="*/ 1762127 h 1762127"/>
                <a:gd name="connsiteX258" fmla="*/ 2863732 w 9759834"/>
                <a:gd name="connsiteY258" fmla="*/ 1727995 h 1762127"/>
                <a:gd name="connsiteX259" fmla="*/ 2897864 w 9759834"/>
                <a:gd name="connsiteY259" fmla="*/ 1693863 h 1762127"/>
                <a:gd name="connsiteX260" fmla="*/ 2814520 w 9759834"/>
                <a:gd name="connsiteY260" fmla="*/ 1693863 h 1762127"/>
                <a:gd name="connsiteX261" fmla="*/ 2851033 w 9759834"/>
                <a:gd name="connsiteY261" fmla="*/ 1727995 h 1762127"/>
                <a:gd name="connsiteX262" fmla="*/ 2814520 w 9759834"/>
                <a:gd name="connsiteY262" fmla="*/ 1762127 h 1762127"/>
                <a:gd name="connsiteX263" fmla="*/ 2778007 w 9759834"/>
                <a:gd name="connsiteY263" fmla="*/ 1727995 h 1762127"/>
                <a:gd name="connsiteX264" fmla="*/ 2814520 w 9759834"/>
                <a:gd name="connsiteY264" fmla="*/ 1693863 h 1762127"/>
                <a:gd name="connsiteX265" fmla="*/ 2732134 w 9759834"/>
                <a:gd name="connsiteY265" fmla="*/ 1693863 h 1762127"/>
                <a:gd name="connsiteX266" fmla="*/ 2767057 w 9759834"/>
                <a:gd name="connsiteY266" fmla="*/ 1727995 h 1762127"/>
                <a:gd name="connsiteX267" fmla="*/ 2732134 w 9759834"/>
                <a:gd name="connsiteY267" fmla="*/ 1762127 h 1762127"/>
                <a:gd name="connsiteX268" fmla="*/ 2697208 w 9759834"/>
                <a:gd name="connsiteY268" fmla="*/ 1727995 h 1762127"/>
                <a:gd name="connsiteX269" fmla="*/ 2732134 w 9759834"/>
                <a:gd name="connsiteY269" fmla="*/ 1693863 h 1762127"/>
                <a:gd name="connsiteX270" fmla="*/ 2646410 w 9759834"/>
                <a:gd name="connsiteY270" fmla="*/ 1693863 h 1762127"/>
                <a:gd name="connsiteX271" fmla="*/ 2681334 w 9759834"/>
                <a:gd name="connsiteY271" fmla="*/ 1727995 h 1762127"/>
                <a:gd name="connsiteX272" fmla="*/ 2646410 w 9759834"/>
                <a:gd name="connsiteY272" fmla="*/ 1762127 h 1762127"/>
                <a:gd name="connsiteX273" fmla="*/ 2611483 w 9759834"/>
                <a:gd name="connsiteY273" fmla="*/ 1727995 h 1762127"/>
                <a:gd name="connsiteX274" fmla="*/ 2646410 w 9759834"/>
                <a:gd name="connsiteY274" fmla="*/ 1693863 h 1762127"/>
                <a:gd name="connsiteX275" fmla="*/ 2561479 w 9759834"/>
                <a:gd name="connsiteY275" fmla="*/ 1693863 h 1762127"/>
                <a:gd name="connsiteX276" fmla="*/ 2595609 w 9759834"/>
                <a:gd name="connsiteY276" fmla="*/ 1727995 h 1762127"/>
                <a:gd name="connsiteX277" fmla="*/ 2561479 w 9759834"/>
                <a:gd name="connsiteY277" fmla="*/ 1762127 h 1762127"/>
                <a:gd name="connsiteX278" fmla="*/ 2527342 w 9759834"/>
                <a:gd name="connsiteY278" fmla="*/ 1727995 h 1762127"/>
                <a:gd name="connsiteX279" fmla="*/ 2561479 w 9759834"/>
                <a:gd name="connsiteY279" fmla="*/ 1693863 h 1762127"/>
                <a:gd name="connsiteX280" fmla="*/ 2475754 w 9759834"/>
                <a:gd name="connsiteY280" fmla="*/ 1693863 h 1762127"/>
                <a:gd name="connsiteX281" fmla="*/ 2509883 w 9759834"/>
                <a:gd name="connsiteY281" fmla="*/ 1727995 h 1762127"/>
                <a:gd name="connsiteX282" fmla="*/ 2475754 w 9759834"/>
                <a:gd name="connsiteY282" fmla="*/ 1762127 h 1762127"/>
                <a:gd name="connsiteX283" fmla="*/ 2441619 w 9759834"/>
                <a:gd name="connsiteY283" fmla="*/ 1727995 h 1762127"/>
                <a:gd name="connsiteX284" fmla="*/ 2475754 w 9759834"/>
                <a:gd name="connsiteY284" fmla="*/ 1693863 h 1762127"/>
                <a:gd name="connsiteX285" fmla="*/ 2394790 w 9759834"/>
                <a:gd name="connsiteY285" fmla="*/ 1693863 h 1762127"/>
                <a:gd name="connsiteX286" fmla="*/ 2428919 w 9759834"/>
                <a:gd name="connsiteY286" fmla="*/ 1727995 h 1762127"/>
                <a:gd name="connsiteX287" fmla="*/ 2394790 w 9759834"/>
                <a:gd name="connsiteY287" fmla="*/ 1762127 h 1762127"/>
                <a:gd name="connsiteX288" fmla="*/ 2360656 w 9759834"/>
                <a:gd name="connsiteY288" fmla="*/ 1727995 h 1762127"/>
                <a:gd name="connsiteX289" fmla="*/ 2394790 w 9759834"/>
                <a:gd name="connsiteY289" fmla="*/ 1693863 h 1762127"/>
                <a:gd name="connsiteX290" fmla="*/ 2309856 w 9759834"/>
                <a:gd name="connsiteY290" fmla="*/ 1693863 h 1762127"/>
                <a:gd name="connsiteX291" fmla="*/ 2344781 w 9759834"/>
                <a:gd name="connsiteY291" fmla="*/ 1727995 h 1762127"/>
                <a:gd name="connsiteX292" fmla="*/ 2309856 w 9759834"/>
                <a:gd name="connsiteY292" fmla="*/ 1762127 h 1762127"/>
                <a:gd name="connsiteX293" fmla="*/ 2274920 w 9759834"/>
                <a:gd name="connsiteY293" fmla="*/ 1727995 h 1762127"/>
                <a:gd name="connsiteX294" fmla="*/ 2309856 w 9759834"/>
                <a:gd name="connsiteY294" fmla="*/ 1693863 h 1762127"/>
                <a:gd name="connsiteX295" fmla="*/ 2224919 w 9759834"/>
                <a:gd name="connsiteY295" fmla="*/ 1693863 h 1762127"/>
                <a:gd name="connsiteX296" fmla="*/ 2259040 w 9759834"/>
                <a:gd name="connsiteY296" fmla="*/ 1727995 h 1762127"/>
                <a:gd name="connsiteX297" fmla="*/ 2224919 w 9759834"/>
                <a:gd name="connsiteY297" fmla="*/ 1762127 h 1762127"/>
                <a:gd name="connsiteX298" fmla="*/ 2190786 w 9759834"/>
                <a:gd name="connsiteY298" fmla="*/ 1727995 h 1762127"/>
                <a:gd name="connsiteX299" fmla="*/ 2224919 w 9759834"/>
                <a:gd name="connsiteY299" fmla="*/ 1693863 h 1762127"/>
                <a:gd name="connsiteX300" fmla="*/ 2139203 w 9759834"/>
                <a:gd name="connsiteY300" fmla="*/ 1693863 h 1762127"/>
                <a:gd name="connsiteX301" fmla="*/ 2173331 w 9759834"/>
                <a:gd name="connsiteY301" fmla="*/ 1727995 h 1762127"/>
                <a:gd name="connsiteX302" fmla="*/ 2139203 w 9759834"/>
                <a:gd name="connsiteY302" fmla="*/ 1762127 h 1762127"/>
                <a:gd name="connsiteX303" fmla="*/ 2105064 w 9759834"/>
                <a:gd name="connsiteY303" fmla="*/ 1727995 h 1762127"/>
                <a:gd name="connsiteX304" fmla="*/ 2139203 w 9759834"/>
                <a:gd name="connsiteY304" fmla="*/ 1693863 h 1762127"/>
                <a:gd name="connsiteX305" fmla="*/ 2055855 w 9759834"/>
                <a:gd name="connsiteY305" fmla="*/ 1693863 h 1762127"/>
                <a:gd name="connsiteX306" fmla="*/ 2092362 w 9759834"/>
                <a:gd name="connsiteY306" fmla="*/ 1727995 h 1762127"/>
                <a:gd name="connsiteX307" fmla="*/ 2055855 w 9759834"/>
                <a:gd name="connsiteY307" fmla="*/ 1762127 h 1762127"/>
                <a:gd name="connsiteX308" fmla="*/ 2019341 w 9759834"/>
                <a:gd name="connsiteY308" fmla="*/ 1727995 h 1762127"/>
                <a:gd name="connsiteX309" fmla="*/ 2055855 w 9759834"/>
                <a:gd name="connsiteY309" fmla="*/ 1693863 h 1762127"/>
                <a:gd name="connsiteX310" fmla="*/ 1973301 w 9759834"/>
                <a:gd name="connsiteY310" fmla="*/ 1693863 h 1762127"/>
                <a:gd name="connsiteX311" fmla="*/ 2008227 w 9759834"/>
                <a:gd name="connsiteY311" fmla="*/ 1727995 h 1762127"/>
                <a:gd name="connsiteX312" fmla="*/ 1973301 w 9759834"/>
                <a:gd name="connsiteY312" fmla="*/ 1762127 h 1762127"/>
                <a:gd name="connsiteX313" fmla="*/ 1938380 w 9759834"/>
                <a:gd name="connsiteY313" fmla="*/ 1727995 h 1762127"/>
                <a:gd name="connsiteX314" fmla="*/ 1973301 w 9759834"/>
                <a:gd name="connsiteY314" fmla="*/ 1693863 h 1762127"/>
                <a:gd name="connsiteX315" fmla="*/ 1888373 w 9759834"/>
                <a:gd name="connsiteY315" fmla="*/ 1693863 h 1762127"/>
                <a:gd name="connsiteX316" fmla="*/ 1922503 w 9759834"/>
                <a:gd name="connsiteY316" fmla="*/ 1727995 h 1762127"/>
                <a:gd name="connsiteX317" fmla="*/ 1888373 w 9759834"/>
                <a:gd name="connsiteY317" fmla="*/ 1762127 h 1762127"/>
                <a:gd name="connsiteX318" fmla="*/ 1854243 w 9759834"/>
                <a:gd name="connsiteY318" fmla="*/ 1727995 h 1762127"/>
                <a:gd name="connsiteX319" fmla="*/ 1888373 w 9759834"/>
                <a:gd name="connsiteY319" fmla="*/ 1693863 h 1762127"/>
                <a:gd name="connsiteX320" fmla="*/ 1802656 w 9759834"/>
                <a:gd name="connsiteY320" fmla="*/ 1693863 h 1762127"/>
                <a:gd name="connsiteX321" fmla="*/ 1836784 w 9759834"/>
                <a:gd name="connsiteY321" fmla="*/ 1727995 h 1762127"/>
                <a:gd name="connsiteX322" fmla="*/ 1802656 w 9759834"/>
                <a:gd name="connsiteY322" fmla="*/ 1762127 h 1762127"/>
                <a:gd name="connsiteX323" fmla="*/ 1768524 w 9759834"/>
                <a:gd name="connsiteY323" fmla="*/ 1727995 h 1762127"/>
                <a:gd name="connsiteX324" fmla="*/ 1802656 w 9759834"/>
                <a:gd name="connsiteY324" fmla="*/ 1693863 h 1762127"/>
                <a:gd name="connsiteX325" fmla="*/ 1719314 w 9759834"/>
                <a:gd name="connsiteY325" fmla="*/ 1693863 h 1762127"/>
                <a:gd name="connsiteX326" fmla="*/ 1755825 w 9759834"/>
                <a:gd name="connsiteY326" fmla="*/ 1727995 h 1762127"/>
                <a:gd name="connsiteX327" fmla="*/ 1719314 w 9759834"/>
                <a:gd name="connsiteY327" fmla="*/ 1762127 h 1762127"/>
                <a:gd name="connsiteX328" fmla="*/ 1682803 w 9759834"/>
                <a:gd name="connsiteY328" fmla="*/ 1727995 h 1762127"/>
                <a:gd name="connsiteX329" fmla="*/ 1719314 w 9759834"/>
                <a:gd name="connsiteY329" fmla="*/ 1693863 h 1762127"/>
                <a:gd name="connsiteX330" fmla="*/ 1636768 w 9759834"/>
                <a:gd name="connsiteY330" fmla="*/ 1693863 h 1762127"/>
                <a:gd name="connsiteX331" fmla="*/ 1671691 w 9759834"/>
                <a:gd name="connsiteY331" fmla="*/ 1727995 h 1762127"/>
                <a:gd name="connsiteX332" fmla="*/ 1636768 w 9759834"/>
                <a:gd name="connsiteY332" fmla="*/ 1762127 h 1762127"/>
                <a:gd name="connsiteX333" fmla="*/ 1601843 w 9759834"/>
                <a:gd name="connsiteY333" fmla="*/ 1727995 h 1762127"/>
                <a:gd name="connsiteX334" fmla="*/ 1636768 w 9759834"/>
                <a:gd name="connsiteY334" fmla="*/ 1693863 h 1762127"/>
                <a:gd name="connsiteX335" fmla="*/ 1551838 w 9759834"/>
                <a:gd name="connsiteY335" fmla="*/ 1693863 h 1762127"/>
                <a:gd name="connsiteX336" fmla="*/ 1585970 w 9759834"/>
                <a:gd name="connsiteY336" fmla="*/ 1727995 h 1762127"/>
                <a:gd name="connsiteX337" fmla="*/ 1551838 w 9759834"/>
                <a:gd name="connsiteY337" fmla="*/ 1762127 h 1762127"/>
                <a:gd name="connsiteX338" fmla="*/ 1517707 w 9759834"/>
                <a:gd name="connsiteY338" fmla="*/ 1727995 h 1762127"/>
                <a:gd name="connsiteX339" fmla="*/ 1551838 w 9759834"/>
                <a:gd name="connsiteY339" fmla="*/ 1693863 h 1762127"/>
                <a:gd name="connsiteX340" fmla="*/ 1466114 w 9759834"/>
                <a:gd name="connsiteY340" fmla="*/ 1693863 h 1762127"/>
                <a:gd name="connsiteX341" fmla="*/ 1500247 w 9759834"/>
                <a:gd name="connsiteY341" fmla="*/ 1727995 h 1762127"/>
                <a:gd name="connsiteX342" fmla="*/ 1466114 w 9759834"/>
                <a:gd name="connsiteY342" fmla="*/ 1762127 h 1762127"/>
                <a:gd name="connsiteX343" fmla="*/ 1431983 w 9759834"/>
                <a:gd name="connsiteY343" fmla="*/ 1727995 h 1762127"/>
                <a:gd name="connsiteX344" fmla="*/ 1466114 w 9759834"/>
                <a:gd name="connsiteY344" fmla="*/ 1693863 h 1762127"/>
                <a:gd name="connsiteX345" fmla="*/ 9138327 w 9759834"/>
                <a:gd name="connsiteY345" fmla="*/ 1606550 h 1762127"/>
                <a:gd name="connsiteX346" fmla="*/ 9172459 w 9759834"/>
                <a:gd name="connsiteY346" fmla="*/ 1643857 h 1762127"/>
                <a:gd name="connsiteX347" fmla="*/ 9138327 w 9759834"/>
                <a:gd name="connsiteY347" fmla="*/ 1681164 h 1762127"/>
                <a:gd name="connsiteX348" fmla="*/ 9104195 w 9759834"/>
                <a:gd name="connsiteY348" fmla="*/ 1643857 h 1762127"/>
                <a:gd name="connsiteX349" fmla="*/ 9138327 w 9759834"/>
                <a:gd name="connsiteY349" fmla="*/ 1606550 h 1762127"/>
                <a:gd name="connsiteX350" fmla="*/ 8966877 w 9759834"/>
                <a:gd name="connsiteY350" fmla="*/ 1606550 h 1762127"/>
                <a:gd name="connsiteX351" fmla="*/ 9001009 w 9759834"/>
                <a:gd name="connsiteY351" fmla="*/ 1643857 h 1762127"/>
                <a:gd name="connsiteX352" fmla="*/ 8966877 w 9759834"/>
                <a:gd name="connsiteY352" fmla="*/ 1681164 h 1762127"/>
                <a:gd name="connsiteX353" fmla="*/ 8932745 w 9759834"/>
                <a:gd name="connsiteY353" fmla="*/ 1643857 h 1762127"/>
                <a:gd name="connsiteX354" fmla="*/ 8966877 w 9759834"/>
                <a:gd name="connsiteY354" fmla="*/ 1606550 h 1762127"/>
                <a:gd name="connsiteX355" fmla="*/ 8884327 w 9759834"/>
                <a:gd name="connsiteY355" fmla="*/ 1606550 h 1762127"/>
                <a:gd name="connsiteX356" fmla="*/ 8921634 w 9759834"/>
                <a:gd name="connsiteY356" fmla="*/ 1643857 h 1762127"/>
                <a:gd name="connsiteX357" fmla="*/ 8884327 w 9759834"/>
                <a:gd name="connsiteY357" fmla="*/ 1681164 h 1762127"/>
                <a:gd name="connsiteX358" fmla="*/ 8847020 w 9759834"/>
                <a:gd name="connsiteY358" fmla="*/ 1643857 h 1762127"/>
                <a:gd name="connsiteX359" fmla="*/ 8884327 w 9759834"/>
                <a:gd name="connsiteY359" fmla="*/ 1606550 h 1762127"/>
                <a:gd name="connsiteX360" fmla="*/ 8801777 w 9759834"/>
                <a:gd name="connsiteY360" fmla="*/ 1606550 h 1762127"/>
                <a:gd name="connsiteX361" fmla="*/ 8835909 w 9759834"/>
                <a:gd name="connsiteY361" fmla="*/ 1643857 h 1762127"/>
                <a:gd name="connsiteX362" fmla="*/ 8801777 w 9759834"/>
                <a:gd name="connsiteY362" fmla="*/ 1681164 h 1762127"/>
                <a:gd name="connsiteX363" fmla="*/ 8767645 w 9759834"/>
                <a:gd name="connsiteY363" fmla="*/ 1643857 h 1762127"/>
                <a:gd name="connsiteX364" fmla="*/ 8801777 w 9759834"/>
                <a:gd name="connsiteY364" fmla="*/ 1606550 h 1762127"/>
                <a:gd name="connsiteX365" fmla="*/ 8716052 w 9759834"/>
                <a:gd name="connsiteY365" fmla="*/ 1606550 h 1762127"/>
                <a:gd name="connsiteX366" fmla="*/ 8750184 w 9759834"/>
                <a:gd name="connsiteY366" fmla="*/ 1643857 h 1762127"/>
                <a:gd name="connsiteX367" fmla="*/ 8716052 w 9759834"/>
                <a:gd name="connsiteY367" fmla="*/ 1681164 h 1762127"/>
                <a:gd name="connsiteX368" fmla="*/ 8681920 w 9759834"/>
                <a:gd name="connsiteY368" fmla="*/ 1643857 h 1762127"/>
                <a:gd name="connsiteX369" fmla="*/ 8716052 w 9759834"/>
                <a:gd name="connsiteY369" fmla="*/ 1606550 h 1762127"/>
                <a:gd name="connsiteX370" fmla="*/ 8630327 w 9759834"/>
                <a:gd name="connsiteY370" fmla="*/ 1606550 h 1762127"/>
                <a:gd name="connsiteX371" fmla="*/ 8664459 w 9759834"/>
                <a:gd name="connsiteY371" fmla="*/ 1643857 h 1762127"/>
                <a:gd name="connsiteX372" fmla="*/ 8630327 w 9759834"/>
                <a:gd name="connsiteY372" fmla="*/ 1681164 h 1762127"/>
                <a:gd name="connsiteX373" fmla="*/ 8596195 w 9759834"/>
                <a:gd name="connsiteY373" fmla="*/ 1643857 h 1762127"/>
                <a:gd name="connsiteX374" fmla="*/ 8630327 w 9759834"/>
                <a:gd name="connsiteY374" fmla="*/ 1606550 h 1762127"/>
                <a:gd name="connsiteX375" fmla="*/ 8544602 w 9759834"/>
                <a:gd name="connsiteY375" fmla="*/ 1606550 h 1762127"/>
                <a:gd name="connsiteX376" fmla="*/ 8578734 w 9759834"/>
                <a:gd name="connsiteY376" fmla="*/ 1643857 h 1762127"/>
                <a:gd name="connsiteX377" fmla="*/ 8544602 w 9759834"/>
                <a:gd name="connsiteY377" fmla="*/ 1681164 h 1762127"/>
                <a:gd name="connsiteX378" fmla="*/ 8510470 w 9759834"/>
                <a:gd name="connsiteY378" fmla="*/ 1643857 h 1762127"/>
                <a:gd name="connsiteX379" fmla="*/ 8544602 w 9759834"/>
                <a:gd name="connsiteY379" fmla="*/ 1606550 h 1762127"/>
                <a:gd name="connsiteX380" fmla="*/ 8465227 w 9759834"/>
                <a:gd name="connsiteY380" fmla="*/ 1606550 h 1762127"/>
                <a:gd name="connsiteX381" fmla="*/ 8499359 w 9759834"/>
                <a:gd name="connsiteY381" fmla="*/ 1643857 h 1762127"/>
                <a:gd name="connsiteX382" fmla="*/ 8465227 w 9759834"/>
                <a:gd name="connsiteY382" fmla="*/ 1681164 h 1762127"/>
                <a:gd name="connsiteX383" fmla="*/ 8431095 w 9759834"/>
                <a:gd name="connsiteY383" fmla="*/ 1643857 h 1762127"/>
                <a:gd name="connsiteX384" fmla="*/ 8465227 w 9759834"/>
                <a:gd name="connsiteY384" fmla="*/ 1606550 h 1762127"/>
                <a:gd name="connsiteX385" fmla="*/ 8379502 w 9759834"/>
                <a:gd name="connsiteY385" fmla="*/ 1606550 h 1762127"/>
                <a:gd name="connsiteX386" fmla="*/ 8413634 w 9759834"/>
                <a:gd name="connsiteY386" fmla="*/ 1643857 h 1762127"/>
                <a:gd name="connsiteX387" fmla="*/ 8379502 w 9759834"/>
                <a:gd name="connsiteY387" fmla="*/ 1681164 h 1762127"/>
                <a:gd name="connsiteX388" fmla="*/ 8345370 w 9759834"/>
                <a:gd name="connsiteY388" fmla="*/ 1643857 h 1762127"/>
                <a:gd name="connsiteX389" fmla="*/ 8379502 w 9759834"/>
                <a:gd name="connsiteY389" fmla="*/ 1606550 h 1762127"/>
                <a:gd name="connsiteX390" fmla="*/ 8293777 w 9759834"/>
                <a:gd name="connsiteY390" fmla="*/ 1606550 h 1762127"/>
                <a:gd name="connsiteX391" fmla="*/ 8327909 w 9759834"/>
                <a:gd name="connsiteY391" fmla="*/ 1643857 h 1762127"/>
                <a:gd name="connsiteX392" fmla="*/ 8293777 w 9759834"/>
                <a:gd name="connsiteY392" fmla="*/ 1681164 h 1762127"/>
                <a:gd name="connsiteX393" fmla="*/ 8259645 w 9759834"/>
                <a:gd name="connsiteY393" fmla="*/ 1643857 h 1762127"/>
                <a:gd name="connsiteX394" fmla="*/ 8293777 w 9759834"/>
                <a:gd name="connsiteY394" fmla="*/ 1606550 h 1762127"/>
                <a:gd name="connsiteX395" fmla="*/ 8208052 w 9759834"/>
                <a:gd name="connsiteY395" fmla="*/ 1606550 h 1762127"/>
                <a:gd name="connsiteX396" fmla="*/ 8242184 w 9759834"/>
                <a:gd name="connsiteY396" fmla="*/ 1643857 h 1762127"/>
                <a:gd name="connsiteX397" fmla="*/ 8208052 w 9759834"/>
                <a:gd name="connsiteY397" fmla="*/ 1681164 h 1762127"/>
                <a:gd name="connsiteX398" fmla="*/ 8173920 w 9759834"/>
                <a:gd name="connsiteY398" fmla="*/ 1643857 h 1762127"/>
                <a:gd name="connsiteX399" fmla="*/ 8208052 w 9759834"/>
                <a:gd name="connsiteY399" fmla="*/ 1606550 h 1762127"/>
                <a:gd name="connsiteX400" fmla="*/ 8125502 w 9759834"/>
                <a:gd name="connsiteY400" fmla="*/ 1606550 h 1762127"/>
                <a:gd name="connsiteX401" fmla="*/ 8162809 w 9759834"/>
                <a:gd name="connsiteY401" fmla="*/ 1643857 h 1762127"/>
                <a:gd name="connsiteX402" fmla="*/ 8125502 w 9759834"/>
                <a:gd name="connsiteY402" fmla="*/ 1681164 h 1762127"/>
                <a:gd name="connsiteX403" fmla="*/ 8088195 w 9759834"/>
                <a:gd name="connsiteY403" fmla="*/ 1643857 h 1762127"/>
                <a:gd name="connsiteX404" fmla="*/ 8125502 w 9759834"/>
                <a:gd name="connsiteY404" fmla="*/ 1606550 h 1762127"/>
                <a:gd name="connsiteX405" fmla="*/ 8042952 w 9759834"/>
                <a:gd name="connsiteY405" fmla="*/ 1606550 h 1762127"/>
                <a:gd name="connsiteX406" fmla="*/ 8077084 w 9759834"/>
                <a:gd name="connsiteY406" fmla="*/ 1643857 h 1762127"/>
                <a:gd name="connsiteX407" fmla="*/ 8042952 w 9759834"/>
                <a:gd name="connsiteY407" fmla="*/ 1681164 h 1762127"/>
                <a:gd name="connsiteX408" fmla="*/ 8008820 w 9759834"/>
                <a:gd name="connsiteY408" fmla="*/ 1643857 h 1762127"/>
                <a:gd name="connsiteX409" fmla="*/ 8042952 w 9759834"/>
                <a:gd name="connsiteY409" fmla="*/ 1606550 h 1762127"/>
                <a:gd name="connsiteX410" fmla="*/ 7957227 w 9759834"/>
                <a:gd name="connsiteY410" fmla="*/ 1606550 h 1762127"/>
                <a:gd name="connsiteX411" fmla="*/ 7991359 w 9759834"/>
                <a:gd name="connsiteY411" fmla="*/ 1643857 h 1762127"/>
                <a:gd name="connsiteX412" fmla="*/ 7957227 w 9759834"/>
                <a:gd name="connsiteY412" fmla="*/ 1681164 h 1762127"/>
                <a:gd name="connsiteX413" fmla="*/ 7923095 w 9759834"/>
                <a:gd name="connsiteY413" fmla="*/ 1643857 h 1762127"/>
                <a:gd name="connsiteX414" fmla="*/ 7957227 w 9759834"/>
                <a:gd name="connsiteY414" fmla="*/ 1606550 h 1762127"/>
                <a:gd name="connsiteX415" fmla="*/ 7785777 w 9759834"/>
                <a:gd name="connsiteY415" fmla="*/ 1606550 h 1762127"/>
                <a:gd name="connsiteX416" fmla="*/ 7819909 w 9759834"/>
                <a:gd name="connsiteY416" fmla="*/ 1643857 h 1762127"/>
                <a:gd name="connsiteX417" fmla="*/ 7785777 w 9759834"/>
                <a:gd name="connsiteY417" fmla="*/ 1681164 h 1762127"/>
                <a:gd name="connsiteX418" fmla="*/ 7751645 w 9759834"/>
                <a:gd name="connsiteY418" fmla="*/ 1643857 h 1762127"/>
                <a:gd name="connsiteX419" fmla="*/ 7785777 w 9759834"/>
                <a:gd name="connsiteY419" fmla="*/ 1606550 h 1762127"/>
                <a:gd name="connsiteX420" fmla="*/ 7706402 w 9759834"/>
                <a:gd name="connsiteY420" fmla="*/ 1606550 h 1762127"/>
                <a:gd name="connsiteX421" fmla="*/ 7740534 w 9759834"/>
                <a:gd name="connsiteY421" fmla="*/ 1643857 h 1762127"/>
                <a:gd name="connsiteX422" fmla="*/ 7706402 w 9759834"/>
                <a:gd name="connsiteY422" fmla="*/ 1681164 h 1762127"/>
                <a:gd name="connsiteX423" fmla="*/ 7672270 w 9759834"/>
                <a:gd name="connsiteY423" fmla="*/ 1643857 h 1762127"/>
                <a:gd name="connsiteX424" fmla="*/ 7706402 w 9759834"/>
                <a:gd name="connsiteY424" fmla="*/ 1606550 h 1762127"/>
                <a:gd name="connsiteX425" fmla="*/ 7620677 w 9759834"/>
                <a:gd name="connsiteY425" fmla="*/ 1606550 h 1762127"/>
                <a:gd name="connsiteX426" fmla="*/ 7654809 w 9759834"/>
                <a:gd name="connsiteY426" fmla="*/ 1643857 h 1762127"/>
                <a:gd name="connsiteX427" fmla="*/ 7620677 w 9759834"/>
                <a:gd name="connsiteY427" fmla="*/ 1681164 h 1762127"/>
                <a:gd name="connsiteX428" fmla="*/ 7586545 w 9759834"/>
                <a:gd name="connsiteY428" fmla="*/ 1643857 h 1762127"/>
                <a:gd name="connsiteX429" fmla="*/ 7620677 w 9759834"/>
                <a:gd name="connsiteY429" fmla="*/ 1606550 h 1762127"/>
                <a:gd name="connsiteX430" fmla="*/ 7534952 w 9759834"/>
                <a:gd name="connsiteY430" fmla="*/ 1606550 h 1762127"/>
                <a:gd name="connsiteX431" fmla="*/ 7569084 w 9759834"/>
                <a:gd name="connsiteY431" fmla="*/ 1643857 h 1762127"/>
                <a:gd name="connsiteX432" fmla="*/ 7534952 w 9759834"/>
                <a:gd name="connsiteY432" fmla="*/ 1681164 h 1762127"/>
                <a:gd name="connsiteX433" fmla="*/ 7500820 w 9759834"/>
                <a:gd name="connsiteY433" fmla="*/ 1643857 h 1762127"/>
                <a:gd name="connsiteX434" fmla="*/ 7534952 w 9759834"/>
                <a:gd name="connsiteY434" fmla="*/ 1606550 h 1762127"/>
                <a:gd name="connsiteX435" fmla="*/ 7449227 w 9759834"/>
                <a:gd name="connsiteY435" fmla="*/ 1606550 h 1762127"/>
                <a:gd name="connsiteX436" fmla="*/ 7483359 w 9759834"/>
                <a:gd name="connsiteY436" fmla="*/ 1643857 h 1762127"/>
                <a:gd name="connsiteX437" fmla="*/ 7449227 w 9759834"/>
                <a:gd name="connsiteY437" fmla="*/ 1681164 h 1762127"/>
                <a:gd name="connsiteX438" fmla="*/ 7415095 w 9759834"/>
                <a:gd name="connsiteY438" fmla="*/ 1643857 h 1762127"/>
                <a:gd name="connsiteX439" fmla="*/ 7449227 w 9759834"/>
                <a:gd name="connsiteY439" fmla="*/ 1606550 h 1762127"/>
                <a:gd name="connsiteX440" fmla="*/ 7366677 w 9759834"/>
                <a:gd name="connsiteY440" fmla="*/ 1606550 h 1762127"/>
                <a:gd name="connsiteX441" fmla="*/ 7403984 w 9759834"/>
                <a:gd name="connsiteY441" fmla="*/ 1643857 h 1762127"/>
                <a:gd name="connsiteX442" fmla="*/ 7366677 w 9759834"/>
                <a:gd name="connsiteY442" fmla="*/ 1681164 h 1762127"/>
                <a:gd name="connsiteX443" fmla="*/ 7329370 w 9759834"/>
                <a:gd name="connsiteY443" fmla="*/ 1643857 h 1762127"/>
                <a:gd name="connsiteX444" fmla="*/ 7366677 w 9759834"/>
                <a:gd name="connsiteY444" fmla="*/ 1606550 h 1762127"/>
                <a:gd name="connsiteX445" fmla="*/ 7284127 w 9759834"/>
                <a:gd name="connsiteY445" fmla="*/ 1606550 h 1762127"/>
                <a:gd name="connsiteX446" fmla="*/ 7318259 w 9759834"/>
                <a:gd name="connsiteY446" fmla="*/ 1643857 h 1762127"/>
                <a:gd name="connsiteX447" fmla="*/ 7284127 w 9759834"/>
                <a:gd name="connsiteY447" fmla="*/ 1681164 h 1762127"/>
                <a:gd name="connsiteX448" fmla="*/ 7249995 w 9759834"/>
                <a:gd name="connsiteY448" fmla="*/ 1643857 h 1762127"/>
                <a:gd name="connsiteX449" fmla="*/ 7284127 w 9759834"/>
                <a:gd name="connsiteY449" fmla="*/ 1606550 h 1762127"/>
                <a:gd name="connsiteX450" fmla="*/ 7198402 w 9759834"/>
                <a:gd name="connsiteY450" fmla="*/ 1606550 h 1762127"/>
                <a:gd name="connsiteX451" fmla="*/ 7232534 w 9759834"/>
                <a:gd name="connsiteY451" fmla="*/ 1643857 h 1762127"/>
                <a:gd name="connsiteX452" fmla="*/ 7198402 w 9759834"/>
                <a:gd name="connsiteY452" fmla="*/ 1681164 h 1762127"/>
                <a:gd name="connsiteX453" fmla="*/ 7164270 w 9759834"/>
                <a:gd name="connsiteY453" fmla="*/ 1643857 h 1762127"/>
                <a:gd name="connsiteX454" fmla="*/ 7198402 w 9759834"/>
                <a:gd name="connsiteY454" fmla="*/ 1606550 h 1762127"/>
                <a:gd name="connsiteX455" fmla="*/ 7112677 w 9759834"/>
                <a:gd name="connsiteY455" fmla="*/ 1606550 h 1762127"/>
                <a:gd name="connsiteX456" fmla="*/ 7146809 w 9759834"/>
                <a:gd name="connsiteY456" fmla="*/ 1643857 h 1762127"/>
                <a:gd name="connsiteX457" fmla="*/ 7112677 w 9759834"/>
                <a:gd name="connsiteY457" fmla="*/ 1681164 h 1762127"/>
                <a:gd name="connsiteX458" fmla="*/ 7078545 w 9759834"/>
                <a:gd name="connsiteY458" fmla="*/ 1643857 h 1762127"/>
                <a:gd name="connsiteX459" fmla="*/ 7112677 w 9759834"/>
                <a:gd name="connsiteY459" fmla="*/ 1606550 h 1762127"/>
                <a:gd name="connsiteX460" fmla="*/ 7027745 w 9759834"/>
                <a:gd name="connsiteY460" fmla="*/ 1606550 h 1762127"/>
                <a:gd name="connsiteX461" fmla="*/ 7062670 w 9759834"/>
                <a:gd name="connsiteY461" fmla="*/ 1643857 h 1762127"/>
                <a:gd name="connsiteX462" fmla="*/ 7027745 w 9759834"/>
                <a:gd name="connsiteY462" fmla="*/ 1681164 h 1762127"/>
                <a:gd name="connsiteX463" fmla="*/ 6992820 w 9759834"/>
                <a:gd name="connsiteY463" fmla="*/ 1643857 h 1762127"/>
                <a:gd name="connsiteX464" fmla="*/ 7027745 w 9759834"/>
                <a:gd name="connsiteY464" fmla="*/ 1606550 h 1762127"/>
                <a:gd name="connsiteX465" fmla="*/ 6947577 w 9759834"/>
                <a:gd name="connsiteY465" fmla="*/ 1606550 h 1762127"/>
                <a:gd name="connsiteX466" fmla="*/ 6981709 w 9759834"/>
                <a:gd name="connsiteY466" fmla="*/ 1643857 h 1762127"/>
                <a:gd name="connsiteX467" fmla="*/ 6947577 w 9759834"/>
                <a:gd name="connsiteY467" fmla="*/ 1681164 h 1762127"/>
                <a:gd name="connsiteX468" fmla="*/ 6913445 w 9759834"/>
                <a:gd name="connsiteY468" fmla="*/ 1643857 h 1762127"/>
                <a:gd name="connsiteX469" fmla="*/ 6947577 w 9759834"/>
                <a:gd name="connsiteY469" fmla="*/ 1606550 h 1762127"/>
                <a:gd name="connsiteX470" fmla="*/ 6861852 w 9759834"/>
                <a:gd name="connsiteY470" fmla="*/ 1606550 h 1762127"/>
                <a:gd name="connsiteX471" fmla="*/ 6895984 w 9759834"/>
                <a:gd name="connsiteY471" fmla="*/ 1643857 h 1762127"/>
                <a:gd name="connsiteX472" fmla="*/ 6861852 w 9759834"/>
                <a:gd name="connsiteY472" fmla="*/ 1681164 h 1762127"/>
                <a:gd name="connsiteX473" fmla="*/ 6827720 w 9759834"/>
                <a:gd name="connsiteY473" fmla="*/ 1643857 h 1762127"/>
                <a:gd name="connsiteX474" fmla="*/ 6861852 w 9759834"/>
                <a:gd name="connsiteY474" fmla="*/ 1606550 h 1762127"/>
                <a:gd name="connsiteX475" fmla="*/ 6776127 w 9759834"/>
                <a:gd name="connsiteY475" fmla="*/ 1606550 h 1762127"/>
                <a:gd name="connsiteX476" fmla="*/ 6810259 w 9759834"/>
                <a:gd name="connsiteY476" fmla="*/ 1643857 h 1762127"/>
                <a:gd name="connsiteX477" fmla="*/ 6776127 w 9759834"/>
                <a:gd name="connsiteY477" fmla="*/ 1681164 h 1762127"/>
                <a:gd name="connsiteX478" fmla="*/ 6741995 w 9759834"/>
                <a:gd name="connsiteY478" fmla="*/ 1643857 h 1762127"/>
                <a:gd name="connsiteX479" fmla="*/ 6776127 w 9759834"/>
                <a:gd name="connsiteY479" fmla="*/ 1606550 h 1762127"/>
                <a:gd name="connsiteX480" fmla="*/ 6691195 w 9759834"/>
                <a:gd name="connsiteY480" fmla="*/ 1606550 h 1762127"/>
                <a:gd name="connsiteX481" fmla="*/ 6726120 w 9759834"/>
                <a:gd name="connsiteY481" fmla="*/ 1643857 h 1762127"/>
                <a:gd name="connsiteX482" fmla="*/ 6691195 w 9759834"/>
                <a:gd name="connsiteY482" fmla="*/ 1681164 h 1762127"/>
                <a:gd name="connsiteX483" fmla="*/ 6656270 w 9759834"/>
                <a:gd name="connsiteY483" fmla="*/ 1643857 h 1762127"/>
                <a:gd name="connsiteX484" fmla="*/ 6691195 w 9759834"/>
                <a:gd name="connsiteY484" fmla="*/ 1606550 h 1762127"/>
                <a:gd name="connsiteX485" fmla="*/ 6607852 w 9759834"/>
                <a:gd name="connsiteY485" fmla="*/ 1606550 h 1762127"/>
                <a:gd name="connsiteX486" fmla="*/ 6645159 w 9759834"/>
                <a:gd name="connsiteY486" fmla="*/ 1643857 h 1762127"/>
                <a:gd name="connsiteX487" fmla="*/ 6607852 w 9759834"/>
                <a:gd name="connsiteY487" fmla="*/ 1681164 h 1762127"/>
                <a:gd name="connsiteX488" fmla="*/ 6570545 w 9759834"/>
                <a:gd name="connsiteY488" fmla="*/ 1643857 h 1762127"/>
                <a:gd name="connsiteX489" fmla="*/ 6607852 w 9759834"/>
                <a:gd name="connsiteY489" fmla="*/ 1606550 h 1762127"/>
                <a:gd name="connsiteX490" fmla="*/ 6525302 w 9759834"/>
                <a:gd name="connsiteY490" fmla="*/ 1606550 h 1762127"/>
                <a:gd name="connsiteX491" fmla="*/ 6559434 w 9759834"/>
                <a:gd name="connsiteY491" fmla="*/ 1643857 h 1762127"/>
                <a:gd name="connsiteX492" fmla="*/ 6525302 w 9759834"/>
                <a:gd name="connsiteY492" fmla="*/ 1681164 h 1762127"/>
                <a:gd name="connsiteX493" fmla="*/ 6491170 w 9759834"/>
                <a:gd name="connsiteY493" fmla="*/ 1643857 h 1762127"/>
                <a:gd name="connsiteX494" fmla="*/ 6525302 w 9759834"/>
                <a:gd name="connsiteY494" fmla="*/ 1606550 h 1762127"/>
                <a:gd name="connsiteX495" fmla="*/ 6439577 w 9759834"/>
                <a:gd name="connsiteY495" fmla="*/ 1606550 h 1762127"/>
                <a:gd name="connsiteX496" fmla="*/ 6473709 w 9759834"/>
                <a:gd name="connsiteY496" fmla="*/ 1643857 h 1762127"/>
                <a:gd name="connsiteX497" fmla="*/ 6439577 w 9759834"/>
                <a:gd name="connsiteY497" fmla="*/ 1681164 h 1762127"/>
                <a:gd name="connsiteX498" fmla="*/ 6405445 w 9759834"/>
                <a:gd name="connsiteY498" fmla="*/ 1643857 h 1762127"/>
                <a:gd name="connsiteX499" fmla="*/ 6439577 w 9759834"/>
                <a:gd name="connsiteY499" fmla="*/ 1606550 h 1762127"/>
                <a:gd name="connsiteX500" fmla="*/ 6353852 w 9759834"/>
                <a:gd name="connsiteY500" fmla="*/ 1606550 h 1762127"/>
                <a:gd name="connsiteX501" fmla="*/ 6387984 w 9759834"/>
                <a:gd name="connsiteY501" fmla="*/ 1643857 h 1762127"/>
                <a:gd name="connsiteX502" fmla="*/ 6353852 w 9759834"/>
                <a:gd name="connsiteY502" fmla="*/ 1681164 h 1762127"/>
                <a:gd name="connsiteX503" fmla="*/ 6319720 w 9759834"/>
                <a:gd name="connsiteY503" fmla="*/ 1643857 h 1762127"/>
                <a:gd name="connsiteX504" fmla="*/ 6353852 w 9759834"/>
                <a:gd name="connsiteY504" fmla="*/ 1606550 h 1762127"/>
                <a:gd name="connsiteX505" fmla="*/ 6268920 w 9759834"/>
                <a:gd name="connsiteY505" fmla="*/ 1606550 h 1762127"/>
                <a:gd name="connsiteX506" fmla="*/ 6303845 w 9759834"/>
                <a:gd name="connsiteY506" fmla="*/ 1643857 h 1762127"/>
                <a:gd name="connsiteX507" fmla="*/ 6268920 w 9759834"/>
                <a:gd name="connsiteY507" fmla="*/ 1681164 h 1762127"/>
                <a:gd name="connsiteX508" fmla="*/ 6233995 w 9759834"/>
                <a:gd name="connsiteY508" fmla="*/ 1643857 h 1762127"/>
                <a:gd name="connsiteX509" fmla="*/ 6268920 w 9759834"/>
                <a:gd name="connsiteY509" fmla="*/ 1606550 h 1762127"/>
                <a:gd name="connsiteX510" fmla="*/ 6188752 w 9759834"/>
                <a:gd name="connsiteY510" fmla="*/ 1606550 h 1762127"/>
                <a:gd name="connsiteX511" fmla="*/ 6222884 w 9759834"/>
                <a:gd name="connsiteY511" fmla="*/ 1643857 h 1762127"/>
                <a:gd name="connsiteX512" fmla="*/ 6188752 w 9759834"/>
                <a:gd name="connsiteY512" fmla="*/ 1681164 h 1762127"/>
                <a:gd name="connsiteX513" fmla="*/ 6154620 w 9759834"/>
                <a:gd name="connsiteY513" fmla="*/ 1643857 h 1762127"/>
                <a:gd name="connsiteX514" fmla="*/ 6188752 w 9759834"/>
                <a:gd name="connsiteY514" fmla="*/ 1606550 h 1762127"/>
                <a:gd name="connsiteX515" fmla="*/ 6103027 w 9759834"/>
                <a:gd name="connsiteY515" fmla="*/ 1606550 h 1762127"/>
                <a:gd name="connsiteX516" fmla="*/ 6137159 w 9759834"/>
                <a:gd name="connsiteY516" fmla="*/ 1643857 h 1762127"/>
                <a:gd name="connsiteX517" fmla="*/ 6103027 w 9759834"/>
                <a:gd name="connsiteY517" fmla="*/ 1681164 h 1762127"/>
                <a:gd name="connsiteX518" fmla="*/ 6068895 w 9759834"/>
                <a:gd name="connsiteY518" fmla="*/ 1643857 h 1762127"/>
                <a:gd name="connsiteX519" fmla="*/ 6103027 w 9759834"/>
                <a:gd name="connsiteY519" fmla="*/ 1606550 h 1762127"/>
                <a:gd name="connsiteX520" fmla="*/ 6017302 w 9759834"/>
                <a:gd name="connsiteY520" fmla="*/ 1606550 h 1762127"/>
                <a:gd name="connsiteX521" fmla="*/ 6051434 w 9759834"/>
                <a:gd name="connsiteY521" fmla="*/ 1643857 h 1762127"/>
                <a:gd name="connsiteX522" fmla="*/ 6017302 w 9759834"/>
                <a:gd name="connsiteY522" fmla="*/ 1681164 h 1762127"/>
                <a:gd name="connsiteX523" fmla="*/ 5983170 w 9759834"/>
                <a:gd name="connsiteY523" fmla="*/ 1643857 h 1762127"/>
                <a:gd name="connsiteX524" fmla="*/ 6017302 w 9759834"/>
                <a:gd name="connsiteY524" fmla="*/ 1606550 h 1762127"/>
                <a:gd name="connsiteX525" fmla="*/ 5932370 w 9759834"/>
                <a:gd name="connsiteY525" fmla="*/ 1606550 h 1762127"/>
                <a:gd name="connsiteX526" fmla="*/ 5967295 w 9759834"/>
                <a:gd name="connsiteY526" fmla="*/ 1643857 h 1762127"/>
                <a:gd name="connsiteX527" fmla="*/ 5932370 w 9759834"/>
                <a:gd name="connsiteY527" fmla="*/ 1681164 h 1762127"/>
                <a:gd name="connsiteX528" fmla="*/ 5897445 w 9759834"/>
                <a:gd name="connsiteY528" fmla="*/ 1643857 h 1762127"/>
                <a:gd name="connsiteX529" fmla="*/ 5932370 w 9759834"/>
                <a:gd name="connsiteY529" fmla="*/ 1606550 h 1762127"/>
                <a:gd name="connsiteX530" fmla="*/ 5849821 w 9759834"/>
                <a:gd name="connsiteY530" fmla="*/ 1606550 h 1762127"/>
                <a:gd name="connsiteX531" fmla="*/ 5886334 w 9759834"/>
                <a:gd name="connsiteY531" fmla="*/ 1643857 h 1762127"/>
                <a:gd name="connsiteX532" fmla="*/ 5849821 w 9759834"/>
                <a:gd name="connsiteY532" fmla="*/ 1681164 h 1762127"/>
                <a:gd name="connsiteX533" fmla="*/ 5813308 w 9759834"/>
                <a:gd name="connsiteY533" fmla="*/ 1643857 h 1762127"/>
                <a:gd name="connsiteX534" fmla="*/ 5849821 w 9759834"/>
                <a:gd name="connsiteY534" fmla="*/ 1606550 h 1762127"/>
                <a:gd name="connsiteX535" fmla="*/ 5766477 w 9759834"/>
                <a:gd name="connsiteY535" fmla="*/ 1606550 h 1762127"/>
                <a:gd name="connsiteX536" fmla="*/ 5800609 w 9759834"/>
                <a:gd name="connsiteY536" fmla="*/ 1643857 h 1762127"/>
                <a:gd name="connsiteX537" fmla="*/ 5766477 w 9759834"/>
                <a:gd name="connsiteY537" fmla="*/ 1681164 h 1762127"/>
                <a:gd name="connsiteX538" fmla="*/ 5732345 w 9759834"/>
                <a:gd name="connsiteY538" fmla="*/ 1643857 h 1762127"/>
                <a:gd name="connsiteX539" fmla="*/ 5766477 w 9759834"/>
                <a:gd name="connsiteY539" fmla="*/ 1606550 h 1762127"/>
                <a:gd name="connsiteX540" fmla="*/ 5680752 w 9759834"/>
                <a:gd name="connsiteY540" fmla="*/ 1606550 h 1762127"/>
                <a:gd name="connsiteX541" fmla="*/ 5714884 w 9759834"/>
                <a:gd name="connsiteY541" fmla="*/ 1643857 h 1762127"/>
                <a:gd name="connsiteX542" fmla="*/ 5680752 w 9759834"/>
                <a:gd name="connsiteY542" fmla="*/ 1681164 h 1762127"/>
                <a:gd name="connsiteX543" fmla="*/ 5646620 w 9759834"/>
                <a:gd name="connsiteY543" fmla="*/ 1643857 h 1762127"/>
                <a:gd name="connsiteX544" fmla="*/ 5680752 w 9759834"/>
                <a:gd name="connsiteY544" fmla="*/ 1606550 h 1762127"/>
                <a:gd name="connsiteX545" fmla="*/ 5595820 w 9759834"/>
                <a:gd name="connsiteY545" fmla="*/ 1606550 h 1762127"/>
                <a:gd name="connsiteX546" fmla="*/ 5630745 w 9759834"/>
                <a:gd name="connsiteY546" fmla="*/ 1643857 h 1762127"/>
                <a:gd name="connsiteX547" fmla="*/ 5595820 w 9759834"/>
                <a:gd name="connsiteY547" fmla="*/ 1681164 h 1762127"/>
                <a:gd name="connsiteX548" fmla="*/ 5560895 w 9759834"/>
                <a:gd name="connsiteY548" fmla="*/ 1643857 h 1762127"/>
                <a:gd name="connsiteX549" fmla="*/ 5595820 w 9759834"/>
                <a:gd name="connsiteY549" fmla="*/ 1606550 h 1762127"/>
                <a:gd name="connsiteX550" fmla="*/ 5510095 w 9759834"/>
                <a:gd name="connsiteY550" fmla="*/ 1606550 h 1762127"/>
                <a:gd name="connsiteX551" fmla="*/ 5545020 w 9759834"/>
                <a:gd name="connsiteY551" fmla="*/ 1643857 h 1762127"/>
                <a:gd name="connsiteX552" fmla="*/ 5510095 w 9759834"/>
                <a:gd name="connsiteY552" fmla="*/ 1681164 h 1762127"/>
                <a:gd name="connsiteX553" fmla="*/ 5475170 w 9759834"/>
                <a:gd name="connsiteY553" fmla="*/ 1643857 h 1762127"/>
                <a:gd name="connsiteX554" fmla="*/ 5510095 w 9759834"/>
                <a:gd name="connsiteY554" fmla="*/ 1606550 h 1762127"/>
                <a:gd name="connsiteX555" fmla="*/ 5429927 w 9759834"/>
                <a:gd name="connsiteY555" fmla="*/ 1606550 h 1762127"/>
                <a:gd name="connsiteX556" fmla="*/ 5464059 w 9759834"/>
                <a:gd name="connsiteY556" fmla="*/ 1643857 h 1762127"/>
                <a:gd name="connsiteX557" fmla="*/ 5429927 w 9759834"/>
                <a:gd name="connsiteY557" fmla="*/ 1681164 h 1762127"/>
                <a:gd name="connsiteX558" fmla="*/ 5395795 w 9759834"/>
                <a:gd name="connsiteY558" fmla="*/ 1643857 h 1762127"/>
                <a:gd name="connsiteX559" fmla="*/ 5429927 w 9759834"/>
                <a:gd name="connsiteY559" fmla="*/ 1606550 h 1762127"/>
                <a:gd name="connsiteX560" fmla="*/ 5344202 w 9759834"/>
                <a:gd name="connsiteY560" fmla="*/ 1606550 h 1762127"/>
                <a:gd name="connsiteX561" fmla="*/ 5378334 w 9759834"/>
                <a:gd name="connsiteY561" fmla="*/ 1643857 h 1762127"/>
                <a:gd name="connsiteX562" fmla="*/ 5344202 w 9759834"/>
                <a:gd name="connsiteY562" fmla="*/ 1681164 h 1762127"/>
                <a:gd name="connsiteX563" fmla="*/ 5310070 w 9759834"/>
                <a:gd name="connsiteY563" fmla="*/ 1643857 h 1762127"/>
                <a:gd name="connsiteX564" fmla="*/ 5344202 w 9759834"/>
                <a:gd name="connsiteY564" fmla="*/ 1606550 h 1762127"/>
                <a:gd name="connsiteX565" fmla="*/ 5258477 w 9759834"/>
                <a:gd name="connsiteY565" fmla="*/ 1606550 h 1762127"/>
                <a:gd name="connsiteX566" fmla="*/ 5292609 w 9759834"/>
                <a:gd name="connsiteY566" fmla="*/ 1643857 h 1762127"/>
                <a:gd name="connsiteX567" fmla="*/ 5258477 w 9759834"/>
                <a:gd name="connsiteY567" fmla="*/ 1681164 h 1762127"/>
                <a:gd name="connsiteX568" fmla="*/ 5224345 w 9759834"/>
                <a:gd name="connsiteY568" fmla="*/ 1643857 h 1762127"/>
                <a:gd name="connsiteX569" fmla="*/ 5258477 w 9759834"/>
                <a:gd name="connsiteY569" fmla="*/ 1606550 h 1762127"/>
                <a:gd name="connsiteX570" fmla="*/ 4921927 w 9759834"/>
                <a:gd name="connsiteY570" fmla="*/ 1606550 h 1762127"/>
                <a:gd name="connsiteX571" fmla="*/ 4956059 w 9759834"/>
                <a:gd name="connsiteY571" fmla="*/ 1643857 h 1762127"/>
                <a:gd name="connsiteX572" fmla="*/ 4921927 w 9759834"/>
                <a:gd name="connsiteY572" fmla="*/ 1681164 h 1762127"/>
                <a:gd name="connsiteX573" fmla="*/ 4887795 w 9759834"/>
                <a:gd name="connsiteY573" fmla="*/ 1643857 h 1762127"/>
                <a:gd name="connsiteX574" fmla="*/ 4921927 w 9759834"/>
                <a:gd name="connsiteY574" fmla="*/ 1606550 h 1762127"/>
                <a:gd name="connsiteX575" fmla="*/ 4752065 w 9759834"/>
                <a:gd name="connsiteY575" fmla="*/ 1606550 h 1762127"/>
                <a:gd name="connsiteX576" fmla="*/ 4786197 w 9759834"/>
                <a:gd name="connsiteY576" fmla="*/ 1643857 h 1762127"/>
                <a:gd name="connsiteX577" fmla="*/ 4752065 w 9759834"/>
                <a:gd name="connsiteY577" fmla="*/ 1681164 h 1762127"/>
                <a:gd name="connsiteX578" fmla="*/ 4717933 w 9759834"/>
                <a:gd name="connsiteY578" fmla="*/ 1643857 h 1762127"/>
                <a:gd name="connsiteX579" fmla="*/ 4752065 w 9759834"/>
                <a:gd name="connsiteY579" fmla="*/ 1606550 h 1762127"/>
                <a:gd name="connsiteX580" fmla="*/ 3405070 w 9759834"/>
                <a:gd name="connsiteY580" fmla="*/ 1606550 h 1762127"/>
                <a:gd name="connsiteX581" fmla="*/ 3439995 w 9759834"/>
                <a:gd name="connsiteY581" fmla="*/ 1643857 h 1762127"/>
                <a:gd name="connsiteX582" fmla="*/ 3405070 w 9759834"/>
                <a:gd name="connsiteY582" fmla="*/ 1681164 h 1762127"/>
                <a:gd name="connsiteX583" fmla="*/ 3370145 w 9759834"/>
                <a:gd name="connsiteY583" fmla="*/ 1643857 h 1762127"/>
                <a:gd name="connsiteX584" fmla="*/ 3405070 w 9759834"/>
                <a:gd name="connsiteY584" fmla="*/ 1606550 h 1762127"/>
                <a:gd name="connsiteX585" fmla="*/ 3320139 w 9759834"/>
                <a:gd name="connsiteY585" fmla="*/ 1606550 h 1762127"/>
                <a:gd name="connsiteX586" fmla="*/ 3354271 w 9759834"/>
                <a:gd name="connsiteY586" fmla="*/ 1643857 h 1762127"/>
                <a:gd name="connsiteX587" fmla="*/ 3320139 w 9759834"/>
                <a:gd name="connsiteY587" fmla="*/ 1681164 h 1762127"/>
                <a:gd name="connsiteX588" fmla="*/ 3286007 w 9759834"/>
                <a:gd name="connsiteY588" fmla="*/ 1643857 h 1762127"/>
                <a:gd name="connsiteX589" fmla="*/ 3320139 w 9759834"/>
                <a:gd name="connsiteY589" fmla="*/ 1606550 h 1762127"/>
                <a:gd name="connsiteX590" fmla="*/ 3234414 w 9759834"/>
                <a:gd name="connsiteY590" fmla="*/ 1606550 h 1762127"/>
                <a:gd name="connsiteX591" fmla="*/ 3268546 w 9759834"/>
                <a:gd name="connsiteY591" fmla="*/ 1643857 h 1762127"/>
                <a:gd name="connsiteX592" fmla="*/ 3234414 w 9759834"/>
                <a:gd name="connsiteY592" fmla="*/ 1681164 h 1762127"/>
                <a:gd name="connsiteX593" fmla="*/ 3200282 w 9759834"/>
                <a:gd name="connsiteY593" fmla="*/ 1643857 h 1762127"/>
                <a:gd name="connsiteX594" fmla="*/ 3234414 w 9759834"/>
                <a:gd name="connsiteY594" fmla="*/ 1606550 h 1762127"/>
                <a:gd name="connsiteX595" fmla="*/ 3153452 w 9759834"/>
                <a:gd name="connsiteY595" fmla="*/ 1606550 h 1762127"/>
                <a:gd name="connsiteX596" fmla="*/ 3187584 w 9759834"/>
                <a:gd name="connsiteY596" fmla="*/ 1643857 h 1762127"/>
                <a:gd name="connsiteX597" fmla="*/ 3153452 w 9759834"/>
                <a:gd name="connsiteY597" fmla="*/ 1681164 h 1762127"/>
                <a:gd name="connsiteX598" fmla="*/ 3119320 w 9759834"/>
                <a:gd name="connsiteY598" fmla="*/ 1643857 h 1762127"/>
                <a:gd name="connsiteX599" fmla="*/ 3153452 w 9759834"/>
                <a:gd name="connsiteY599" fmla="*/ 1606550 h 1762127"/>
                <a:gd name="connsiteX600" fmla="*/ 3068520 w 9759834"/>
                <a:gd name="connsiteY600" fmla="*/ 1606550 h 1762127"/>
                <a:gd name="connsiteX601" fmla="*/ 3103445 w 9759834"/>
                <a:gd name="connsiteY601" fmla="*/ 1643857 h 1762127"/>
                <a:gd name="connsiteX602" fmla="*/ 3068520 w 9759834"/>
                <a:gd name="connsiteY602" fmla="*/ 1681164 h 1762127"/>
                <a:gd name="connsiteX603" fmla="*/ 3033595 w 9759834"/>
                <a:gd name="connsiteY603" fmla="*/ 1643857 h 1762127"/>
                <a:gd name="connsiteX604" fmla="*/ 3068520 w 9759834"/>
                <a:gd name="connsiteY604" fmla="*/ 1606550 h 1762127"/>
                <a:gd name="connsiteX605" fmla="*/ 2983589 w 9759834"/>
                <a:gd name="connsiteY605" fmla="*/ 1606550 h 1762127"/>
                <a:gd name="connsiteX606" fmla="*/ 3017721 w 9759834"/>
                <a:gd name="connsiteY606" fmla="*/ 1643857 h 1762127"/>
                <a:gd name="connsiteX607" fmla="*/ 2983589 w 9759834"/>
                <a:gd name="connsiteY607" fmla="*/ 1681164 h 1762127"/>
                <a:gd name="connsiteX608" fmla="*/ 2949457 w 9759834"/>
                <a:gd name="connsiteY608" fmla="*/ 1643857 h 1762127"/>
                <a:gd name="connsiteX609" fmla="*/ 2983589 w 9759834"/>
                <a:gd name="connsiteY609" fmla="*/ 1606550 h 1762127"/>
                <a:gd name="connsiteX610" fmla="*/ 2897864 w 9759834"/>
                <a:gd name="connsiteY610" fmla="*/ 1606550 h 1762127"/>
                <a:gd name="connsiteX611" fmla="*/ 2931996 w 9759834"/>
                <a:gd name="connsiteY611" fmla="*/ 1643857 h 1762127"/>
                <a:gd name="connsiteX612" fmla="*/ 2897864 w 9759834"/>
                <a:gd name="connsiteY612" fmla="*/ 1681164 h 1762127"/>
                <a:gd name="connsiteX613" fmla="*/ 2863732 w 9759834"/>
                <a:gd name="connsiteY613" fmla="*/ 1643857 h 1762127"/>
                <a:gd name="connsiteX614" fmla="*/ 2897864 w 9759834"/>
                <a:gd name="connsiteY614" fmla="*/ 1606550 h 1762127"/>
                <a:gd name="connsiteX615" fmla="*/ 2814520 w 9759834"/>
                <a:gd name="connsiteY615" fmla="*/ 1606550 h 1762127"/>
                <a:gd name="connsiteX616" fmla="*/ 2851033 w 9759834"/>
                <a:gd name="connsiteY616" fmla="*/ 1643857 h 1762127"/>
                <a:gd name="connsiteX617" fmla="*/ 2814520 w 9759834"/>
                <a:gd name="connsiteY617" fmla="*/ 1681164 h 1762127"/>
                <a:gd name="connsiteX618" fmla="*/ 2778007 w 9759834"/>
                <a:gd name="connsiteY618" fmla="*/ 1643857 h 1762127"/>
                <a:gd name="connsiteX619" fmla="*/ 2814520 w 9759834"/>
                <a:gd name="connsiteY619" fmla="*/ 1606550 h 1762127"/>
                <a:gd name="connsiteX620" fmla="*/ 2646410 w 9759834"/>
                <a:gd name="connsiteY620" fmla="*/ 1606550 h 1762127"/>
                <a:gd name="connsiteX621" fmla="*/ 2681334 w 9759834"/>
                <a:gd name="connsiteY621" fmla="*/ 1643857 h 1762127"/>
                <a:gd name="connsiteX622" fmla="*/ 2646410 w 9759834"/>
                <a:gd name="connsiteY622" fmla="*/ 1681164 h 1762127"/>
                <a:gd name="connsiteX623" fmla="*/ 2611483 w 9759834"/>
                <a:gd name="connsiteY623" fmla="*/ 1643857 h 1762127"/>
                <a:gd name="connsiteX624" fmla="*/ 2646410 w 9759834"/>
                <a:gd name="connsiteY624" fmla="*/ 1606550 h 1762127"/>
                <a:gd name="connsiteX625" fmla="*/ 2561479 w 9759834"/>
                <a:gd name="connsiteY625" fmla="*/ 1606550 h 1762127"/>
                <a:gd name="connsiteX626" fmla="*/ 2595609 w 9759834"/>
                <a:gd name="connsiteY626" fmla="*/ 1643857 h 1762127"/>
                <a:gd name="connsiteX627" fmla="*/ 2561479 w 9759834"/>
                <a:gd name="connsiteY627" fmla="*/ 1681164 h 1762127"/>
                <a:gd name="connsiteX628" fmla="*/ 2527342 w 9759834"/>
                <a:gd name="connsiteY628" fmla="*/ 1643857 h 1762127"/>
                <a:gd name="connsiteX629" fmla="*/ 2561479 w 9759834"/>
                <a:gd name="connsiteY629" fmla="*/ 1606550 h 1762127"/>
                <a:gd name="connsiteX630" fmla="*/ 2309856 w 9759834"/>
                <a:gd name="connsiteY630" fmla="*/ 1606550 h 1762127"/>
                <a:gd name="connsiteX631" fmla="*/ 2344781 w 9759834"/>
                <a:gd name="connsiteY631" fmla="*/ 1643857 h 1762127"/>
                <a:gd name="connsiteX632" fmla="*/ 2309856 w 9759834"/>
                <a:gd name="connsiteY632" fmla="*/ 1681164 h 1762127"/>
                <a:gd name="connsiteX633" fmla="*/ 2274920 w 9759834"/>
                <a:gd name="connsiteY633" fmla="*/ 1643857 h 1762127"/>
                <a:gd name="connsiteX634" fmla="*/ 2309856 w 9759834"/>
                <a:gd name="connsiteY634" fmla="*/ 1606550 h 1762127"/>
                <a:gd name="connsiteX635" fmla="*/ 2139044 w 9759834"/>
                <a:gd name="connsiteY635" fmla="*/ 1606550 h 1762127"/>
                <a:gd name="connsiteX636" fmla="*/ 2173176 w 9759834"/>
                <a:gd name="connsiteY636" fmla="*/ 1643857 h 1762127"/>
                <a:gd name="connsiteX637" fmla="*/ 2139044 w 9759834"/>
                <a:gd name="connsiteY637" fmla="*/ 1681164 h 1762127"/>
                <a:gd name="connsiteX638" fmla="*/ 2104912 w 9759834"/>
                <a:gd name="connsiteY638" fmla="*/ 1643857 h 1762127"/>
                <a:gd name="connsiteX639" fmla="*/ 2139044 w 9759834"/>
                <a:gd name="connsiteY639" fmla="*/ 1606550 h 1762127"/>
                <a:gd name="connsiteX640" fmla="*/ 2055700 w 9759834"/>
                <a:gd name="connsiteY640" fmla="*/ 1606550 h 1762127"/>
                <a:gd name="connsiteX641" fmla="*/ 2092213 w 9759834"/>
                <a:gd name="connsiteY641" fmla="*/ 1643857 h 1762127"/>
                <a:gd name="connsiteX642" fmla="*/ 2055700 w 9759834"/>
                <a:gd name="connsiteY642" fmla="*/ 1681164 h 1762127"/>
                <a:gd name="connsiteX643" fmla="*/ 2019187 w 9759834"/>
                <a:gd name="connsiteY643" fmla="*/ 1643857 h 1762127"/>
                <a:gd name="connsiteX644" fmla="*/ 2055700 w 9759834"/>
                <a:gd name="connsiteY644" fmla="*/ 1606550 h 1762127"/>
                <a:gd name="connsiteX645" fmla="*/ 1973150 w 9759834"/>
                <a:gd name="connsiteY645" fmla="*/ 1606550 h 1762127"/>
                <a:gd name="connsiteX646" fmla="*/ 2008075 w 9759834"/>
                <a:gd name="connsiteY646" fmla="*/ 1643857 h 1762127"/>
                <a:gd name="connsiteX647" fmla="*/ 1973150 w 9759834"/>
                <a:gd name="connsiteY647" fmla="*/ 1681164 h 1762127"/>
                <a:gd name="connsiteX648" fmla="*/ 1938226 w 9759834"/>
                <a:gd name="connsiteY648" fmla="*/ 1643857 h 1762127"/>
                <a:gd name="connsiteX649" fmla="*/ 1973150 w 9759834"/>
                <a:gd name="connsiteY649" fmla="*/ 1606550 h 1762127"/>
                <a:gd name="connsiteX650" fmla="*/ 1888219 w 9759834"/>
                <a:gd name="connsiteY650" fmla="*/ 1606550 h 1762127"/>
                <a:gd name="connsiteX651" fmla="*/ 1922352 w 9759834"/>
                <a:gd name="connsiteY651" fmla="*/ 1643857 h 1762127"/>
                <a:gd name="connsiteX652" fmla="*/ 1888219 w 9759834"/>
                <a:gd name="connsiteY652" fmla="*/ 1681164 h 1762127"/>
                <a:gd name="connsiteX653" fmla="*/ 1854088 w 9759834"/>
                <a:gd name="connsiteY653" fmla="*/ 1643857 h 1762127"/>
                <a:gd name="connsiteX654" fmla="*/ 1888219 w 9759834"/>
                <a:gd name="connsiteY654" fmla="*/ 1606550 h 1762127"/>
                <a:gd name="connsiteX655" fmla="*/ 1802495 w 9759834"/>
                <a:gd name="connsiteY655" fmla="*/ 1606550 h 1762127"/>
                <a:gd name="connsiteX656" fmla="*/ 1836627 w 9759834"/>
                <a:gd name="connsiteY656" fmla="*/ 1643857 h 1762127"/>
                <a:gd name="connsiteX657" fmla="*/ 1802495 w 9759834"/>
                <a:gd name="connsiteY657" fmla="*/ 1681164 h 1762127"/>
                <a:gd name="connsiteX658" fmla="*/ 1768363 w 9759834"/>
                <a:gd name="connsiteY658" fmla="*/ 1643857 h 1762127"/>
                <a:gd name="connsiteX659" fmla="*/ 1802495 w 9759834"/>
                <a:gd name="connsiteY659" fmla="*/ 1606550 h 1762127"/>
                <a:gd name="connsiteX660" fmla="*/ 1719151 w 9759834"/>
                <a:gd name="connsiteY660" fmla="*/ 1606550 h 1762127"/>
                <a:gd name="connsiteX661" fmla="*/ 1755664 w 9759834"/>
                <a:gd name="connsiteY661" fmla="*/ 1643857 h 1762127"/>
                <a:gd name="connsiteX662" fmla="*/ 1719151 w 9759834"/>
                <a:gd name="connsiteY662" fmla="*/ 1681164 h 1762127"/>
                <a:gd name="connsiteX663" fmla="*/ 1682638 w 9759834"/>
                <a:gd name="connsiteY663" fmla="*/ 1643857 h 1762127"/>
                <a:gd name="connsiteX664" fmla="*/ 1719151 w 9759834"/>
                <a:gd name="connsiteY664" fmla="*/ 1606550 h 1762127"/>
                <a:gd name="connsiteX665" fmla="*/ 1636608 w 9759834"/>
                <a:gd name="connsiteY665" fmla="*/ 1606550 h 1762127"/>
                <a:gd name="connsiteX666" fmla="*/ 1671533 w 9759834"/>
                <a:gd name="connsiteY666" fmla="*/ 1643857 h 1762127"/>
                <a:gd name="connsiteX667" fmla="*/ 1636608 w 9759834"/>
                <a:gd name="connsiteY667" fmla="*/ 1681164 h 1762127"/>
                <a:gd name="connsiteX668" fmla="*/ 1601683 w 9759834"/>
                <a:gd name="connsiteY668" fmla="*/ 1643857 h 1762127"/>
                <a:gd name="connsiteX669" fmla="*/ 1636608 w 9759834"/>
                <a:gd name="connsiteY669" fmla="*/ 1606550 h 1762127"/>
                <a:gd name="connsiteX670" fmla="*/ 1551677 w 9759834"/>
                <a:gd name="connsiteY670" fmla="*/ 1606550 h 1762127"/>
                <a:gd name="connsiteX671" fmla="*/ 1585810 w 9759834"/>
                <a:gd name="connsiteY671" fmla="*/ 1643857 h 1762127"/>
                <a:gd name="connsiteX672" fmla="*/ 1551677 w 9759834"/>
                <a:gd name="connsiteY672" fmla="*/ 1681164 h 1762127"/>
                <a:gd name="connsiteX673" fmla="*/ 1517545 w 9759834"/>
                <a:gd name="connsiteY673" fmla="*/ 1643857 h 1762127"/>
                <a:gd name="connsiteX674" fmla="*/ 1551677 w 9759834"/>
                <a:gd name="connsiteY674" fmla="*/ 1606550 h 1762127"/>
                <a:gd name="connsiteX675" fmla="*/ 1466114 w 9759834"/>
                <a:gd name="connsiteY675" fmla="*/ 1606550 h 1762127"/>
                <a:gd name="connsiteX676" fmla="*/ 1500247 w 9759834"/>
                <a:gd name="connsiteY676" fmla="*/ 1643857 h 1762127"/>
                <a:gd name="connsiteX677" fmla="*/ 1466114 w 9759834"/>
                <a:gd name="connsiteY677" fmla="*/ 1681164 h 1762127"/>
                <a:gd name="connsiteX678" fmla="*/ 1431983 w 9759834"/>
                <a:gd name="connsiteY678" fmla="*/ 1643857 h 1762127"/>
                <a:gd name="connsiteX679" fmla="*/ 1466114 w 9759834"/>
                <a:gd name="connsiteY679" fmla="*/ 1606550 h 1762127"/>
                <a:gd name="connsiteX680" fmla="*/ 9474877 w 9759834"/>
                <a:gd name="connsiteY680" fmla="*/ 1527175 h 1762127"/>
                <a:gd name="connsiteX681" fmla="*/ 9509009 w 9759834"/>
                <a:gd name="connsiteY681" fmla="*/ 1561307 h 1762127"/>
                <a:gd name="connsiteX682" fmla="*/ 9474877 w 9759834"/>
                <a:gd name="connsiteY682" fmla="*/ 1595439 h 1762127"/>
                <a:gd name="connsiteX683" fmla="*/ 9440745 w 9759834"/>
                <a:gd name="connsiteY683" fmla="*/ 1561307 h 1762127"/>
                <a:gd name="connsiteX684" fmla="*/ 9474877 w 9759834"/>
                <a:gd name="connsiteY684" fmla="*/ 1527175 h 1762127"/>
                <a:gd name="connsiteX685" fmla="*/ 9138327 w 9759834"/>
                <a:gd name="connsiteY685" fmla="*/ 1527175 h 1762127"/>
                <a:gd name="connsiteX686" fmla="*/ 9172459 w 9759834"/>
                <a:gd name="connsiteY686" fmla="*/ 1561307 h 1762127"/>
                <a:gd name="connsiteX687" fmla="*/ 9138327 w 9759834"/>
                <a:gd name="connsiteY687" fmla="*/ 1595439 h 1762127"/>
                <a:gd name="connsiteX688" fmla="*/ 9104195 w 9759834"/>
                <a:gd name="connsiteY688" fmla="*/ 1561307 h 1762127"/>
                <a:gd name="connsiteX689" fmla="*/ 9138327 w 9759834"/>
                <a:gd name="connsiteY689" fmla="*/ 1527175 h 1762127"/>
                <a:gd name="connsiteX690" fmla="*/ 9052602 w 9759834"/>
                <a:gd name="connsiteY690" fmla="*/ 1527175 h 1762127"/>
                <a:gd name="connsiteX691" fmla="*/ 9086734 w 9759834"/>
                <a:gd name="connsiteY691" fmla="*/ 1561307 h 1762127"/>
                <a:gd name="connsiteX692" fmla="*/ 9052602 w 9759834"/>
                <a:gd name="connsiteY692" fmla="*/ 1595439 h 1762127"/>
                <a:gd name="connsiteX693" fmla="*/ 9018470 w 9759834"/>
                <a:gd name="connsiteY693" fmla="*/ 1561307 h 1762127"/>
                <a:gd name="connsiteX694" fmla="*/ 9052602 w 9759834"/>
                <a:gd name="connsiteY694" fmla="*/ 1527175 h 1762127"/>
                <a:gd name="connsiteX695" fmla="*/ 8966877 w 9759834"/>
                <a:gd name="connsiteY695" fmla="*/ 1527175 h 1762127"/>
                <a:gd name="connsiteX696" fmla="*/ 9001009 w 9759834"/>
                <a:gd name="connsiteY696" fmla="*/ 1561307 h 1762127"/>
                <a:gd name="connsiteX697" fmla="*/ 8966877 w 9759834"/>
                <a:gd name="connsiteY697" fmla="*/ 1595439 h 1762127"/>
                <a:gd name="connsiteX698" fmla="*/ 8932745 w 9759834"/>
                <a:gd name="connsiteY698" fmla="*/ 1561307 h 1762127"/>
                <a:gd name="connsiteX699" fmla="*/ 8966877 w 9759834"/>
                <a:gd name="connsiteY699" fmla="*/ 1527175 h 1762127"/>
                <a:gd name="connsiteX700" fmla="*/ 8884327 w 9759834"/>
                <a:gd name="connsiteY700" fmla="*/ 1527175 h 1762127"/>
                <a:gd name="connsiteX701" fmla="*/ 8921634 w 9759834"/>
                <a:gd name="connsiteY701" fmla="*/ 1561307 h 1762127"/>
                <a:gd name="connsiteX702" fmla="*/ 8884327 w 9759834"/>
                <a:gd name="connsiteY702" fmla="*/ 1595439 h 1762127"/>
                <a:gd name="connsiteX703" fmla="*/ 8847020 w 9759834"/>
                <a:gd name="connsiteY703" fmla="*/ 1561307 h 1762127"/>
                <a:gd name="connsiteX704" fmla="*/ 8884327 w 9759834"/>
                <a:gd name="connsiteY704" fmla="*/ 1527175 h 1762127"/>
                <a:gd name="connsiteX705" fmla="*/ 8801777 w 9759834"/>
                <a:gd name="connsiteY705" fmla="*/ 1527175 h 1762127"/>
                <a:gd name="connsiteX706" fmla="*/ 8835909 w 9759834"/>
                <a:gd name="connsiteY706" fmla="*/ 1561307 h 1762127"/>
                <a:gd name="connsiteX707" fmla="*/ 8801777 w 9759834"/>
                <a:gd name="connsiteY707" fmla="*/ 1595439 h 1762127"/>
                <a:gd name="connsiteX708" fmla="*/ 8767645 w 9759834"/>
                <a:gd name="connsiteY708" fmla="*/ 1561307 h 1762127"/>
                <a:gd name="connsiteX709" fmla="*/ 8801777 w 9759834"/>
                <a:gd name="connsiteY709" fmla="*/ 1527175 h 1762127"/>
                <a:gd name="connsiteX710" fmla="*/ 8716052 w 9759834"/>
                <a:gd name="connsiteY710" fmla="*/ 1527175 h 1762127"/>
                <a:gd name="connsiteX711" fmla="*/ 8750184 w 9759834"/>
                <a:gd name="connsiteY711" fmla="*/ 1561307 h 1762127"/>
                <a:gd name="connsiteX712" fmla="*/ 8716052 w 9759834"/>
                <a:gd name="connsiteY712" fmla="*/ 1595439 h 1762127"/>
                <a:gd name="connsiteX713" fmla="*/ 8681920 w 9759834"/>
                <a:gd name="connsiteY713" fmla="*/ 1561307 h 1762127"/>
                <a:gd name="connsiteX714" fmla="*/ 8716052 w 9759834"/>
                <a:gd name="connsiteY714" fmla="*/ 1527175 h 1762127"/>
                <a:gd name="connsiteX715" fmla="*/ 8630327 w 9759834"/>
                <a:gd name="connsiteY715" fmla="*/ 1527175 h 1762127"/>
                <a:gd name="connsiteX716" fmla="*/ 8664459 w 9759834"/>
                <a:gd name="connsiteY716" fmla="*/ 1561307 h 1762127"/>
                <a:gd name="connsiteX717" fmla="*/ 8630327 w 9759834"/>
                <a:gd name="connsiteY717" fmla="*/ 1595439 h 1762127"/>
                <a:gd name="connsiteX718" fmla="*/ 8596195 w 9759834"/>
                <a:gd name="connsiteY718" fmla="*/ 1561307 h 1762127"/>
                <a:gd name="connsiteX719" fmla="*/ 8630327 w 9759834"/>
                <a:gd name="connsiteY719" fmla="*/ 1527175 h 1762127"/>
                <a:gd name="connsiteX720" fmla="*/ 8544602 w 9759834"/>
                <a:gd name="connsiteY720" fmla="*/ 1527175 h 1762127"/>
                <a:gd name="connsiteX721" fmla="*/ 8578734 w 9759834"/>
                <a:gd name="connsiteY721" fmla="*/ 1561307 h 1762127"/>
                <a:gd name="connsiteX722" fmla="*/ 8544602 w 9759834"/>
                <a:gd name="connsiteY722" fmla="*/ 1595439 h 1762127"/>
                <a:gd name="connsiteX723" fmla="*/ 8510470 w 9759834"/>
                <a:gd name="connsiteY723" fmla="*/ 1561307 h 1762127"/>
                <a:gd name="connsiteX724" fmla="*/ 8544602 w 9759834"/>
                <a:gd name="connsiteY724" fmla="*/ 1527175 h 1762127"/>
                <a:gd name="connsiteX725" fmla="*/ 8465227 w 9759834"/>
                <a:gd name="connsiteY725" fmla="*/ 1527175 h 1762127"/>
                <a:gd name="connsiteX726" fmla="*/ 8499359 w 9759834"/>
                <a:gd name="connsiteY726" fmla="*/ 1561307 h 1762127"/>
                <a:gd name="connsiteX727" fmla="*/ 8465227 w 9759834"/>
                <a:gd name="connsiteY727" fmla="*/ 1595439 h 1762127"/>
                <a:gd name="connsiteX728" fmla="*/ 8431095 w 9759834"/>
                <a:gd name="connsiteY728" fmla="*/ 1561307 h 1762127"/>
                <a:gd name="connsiteX729" fmla="*/ 8465227 w 9759834"/>
                <a:gd name="connsiteY729" fmla="*/ 1527175 h 1762127"/>
                <a:gd name="connsiteX730" fmla="*/ 8379502 w 9759834"/>
                <a:gd name="connsiteY730" fmla="*/ 1527175 h 1762127"/>
                <a:gd name="connsiteX731" fmla="*/ 8413634 w 9759834"/>
                <a:gd name="connsiteY731" fmla="*/ 1561307 h 1762127"/>
                <a:gd name="connsiteX732" fmla="*/ 8379502 w 9759834"/>
                <a:gd name="connsiteY732" fmla="*/ 1595439 h 1762127"/>
                <a:gd name="connsiteX733" fmla="*/ 8345370 w 9759834"/>
                <a:gd name="connsiteY733" fmla="*/ 1561307 h 1762127"/>
                <a:gd name="connsiteX734" fmla="*/ 8379502 w 9759834"/>
                <a:gd name="connsiteY734" fmla="*/ 1527175 h 1762127"/>
                <a:gd name="connsiteX735" fmla="*/ 8293777 w 9759834"/>
                <a:gd name="connsiteY735" fmla="*/ 1527175 h 1762127"/>
                <a:gd name="connsiteX736" fmla="*/ 8327909 w 9759834"/>
                <a:gd name="connsiteY736" fmla="*/ 1561307 h 1762127"/>
                <a:gd name="connsiteX737" fmla="*/ 8293777 w 9759834"/>
                <a:gd name="connsiteY737" fmla="*/ 1595439 h 1762127"/>
                <a:gd name="connsiteX738" fmla="*/ 8259645 w 9759834"/>
                <a:gd name="connsiteY738" fmla="*/ 1561307 h 1762127"/>
                <a:gd name="connsiteX739" fmla="*/ 8293777 w 9759834"/>
                <a:gd name="connsiteY739" fmla="*/ 1527175 h 1762127"/>
                <a:gd name="connsiteX740" fmla="*/ 8208052 w 9759834"/>
                <a:gd name="connsiteY740" fmla="*/ 1527175 h 1762127"/>
                <a:gd name="connsiteX741" fmla="*/ 8242184 w 9759834"/>
                <a:gd name="connsiteY741" fmla="*/ 1561307 h 1762127"/>
                <a:gd name="connsiteX742" fmla="*/ 8208052 w 9759834"/>
                <a:gd name="connsiteY742" fmla="*/ 1595439 h 1762127"/>
                <a:gd name="connsiteX743" fmla="*/ 8173920 w 9759834"/>
                <a:gd name="connsiteY743" fmla="*/ 1561307 h 1762127"/>
                <a:gd name="connsiteX744" fmla="*/ 8208052 w 9759834"/>
                <a:gd name="connsiteY744" fmla="*/ 1527175 h 1762127"/>
                <a:gd name="connsiteX745" fmla="*/ 8125502 w 9759834"/>
                <a:gd name="connsiteY745" fmla="*/ 1527175 h 1762127"/>
                <a:gd name="connsiteX746" fmla="*/ 8162809 w 9759834"/>
                <a:gd name="connsiteY746" fmla="*/ 1561307 h 1762127"/>
                <a:gd name="connsiteX747" fmla="*/ 8125502 w 9759834"/>
                <a:gd name="connsiteY747" fmla="*/ 1595439 h 1762127"/>
                <a:gd name="connsiteX748" fmla="*/ 8088195 w 9759834"/>
                <a:gd name="connsiteY748" fmla="*/ 1561307 h 1762127"/>
                <a:gd name="connsiteX749" fmla="*/ 8125502 w 9759834"/>
                <a:gd name="connsiteY749" fmla="*/ 1527175 h 1762127"/>
                <a:gd name="connsiteX750" fmla="*/ 7871502 w 9759834"/>
                <a:gd name="connsiteY750" fmla="*/ 1527175 h 1762127"/>
                <a:gd name="connsiteX751" fmla="*/ 7905634 w 9759834"/>
                <a:gd name="connsiteY751" fmla="*/ 1561307 h 1762127"/>
                <a:gd name="connsiteX752" fmla="*/ 7871502 w 9759834"/>
                <a:gd name="connsiteY752" fmla="*/ 1595439 h 1762127"/>
                <a:gd name="connsiteX753" fmla="*/ 7837370 w 9759834"/>
                <a:gd name="connsiteY753" fmla="*/ 1561307 h 1762127"/>
                <a:gd name="connsiteX754" fmla="*/ 7871502 w 9759834"/>
                <a:gd name="connsiteY754" fmla="*/ 1527175 h 1762127"/>
                <a:gd name="connsiteX755" fmla="*/ 7785777 w 9759834"/>
                <a:gd name="connsiteY755" fmla="*/ 1527175 h 1762127"/>
                <a:gd name="connsiteX756" fmla="*/ 7819909 w 9759834"/>
                <a:gd name="connsiteY756" fmla="*/ 1561307 h 1762127"/>
                <a:gd name="connsiteX757" fmla="*/ 7785777 w 9759834"/>
                <a:gd name="connsiteY757" fmla="*/ 1595439 h 1762127"/>
                <a:gd name="connsiteX758" fmla="*/ 7751645 w 9759834"/>
                <a:gd name="connsiteY758" fmla="*/ 1561307 h 1762127"/>
                <a:gd name="connsiteX759" fmla="*/ 7785777 w 9759834"/>
                <a:gd name="connsiteY759" fmla="*/ 1527175 h 1762127"/>
                <a:gd name="connsiteX760" fmla="*/ 7706402 w 9759834"/>
                <a:gd name="connsiteY760" fmla="*/ 1527175 h 1762127"/>
                <a:gd name="connsiteX761" fmla="*/ 7740534 w 9759834"/>
                <a:gd name="connsiteY761" fmla="*/ 1561307 h 1762127"/>
                <a:gd name="connsiteX762" fmla="*/ 7706402 w 9759834"/>
                <a:gd name="connsiteY762" fmla="*/ 1595439 h 1762127"/>
                <a:gd name="connsiteX763" fmla="*/ 7672270 w 9759834"/>
                <a:gd name="connsiteY763" fmla="*/ 1561307 h 1762127"/>
                <a:gd name="connsiteX764" fmla="*/ 7706402 w 9759834"/>
                <a:gd name="connsiteY764" fmla="*/ 1527175 h 1762127"/>
                <a:gd name="connsiteX765" fmla="*/ 7620677 w 9759834"/>
                <a:gd name="connsiteY765" fmla="*/ 1527175 h 1762127"/>
                <a:gd name="connsiteX766" fmla="*/ 7654809 w 9759834"/>
                <a:gd name="connsiteY766" fmla="*/ 1561307 h 1762127"/>
                <a:gd name="connsiteX767" fmla="*/ 7620677 w 9759834"/>
                <a:gd name="connsiteY767" fmla="*/ 1595439 h 1762127"/>
                <a:gd name="connsiteX768" fmla="*/ 7586545 w 9759834"/>
                <a:gd name="connsiteY768" fmla="*/ 1561307 h 1762127"/>
                <a:gd name="connsiteX769" fmla="*/ 7620677 w 9759834"/>
                <a:gd name="connsiteY769" fmla="*/ 1527175 h 1762127"/>
                <a:gd name="connsiteX770" fmla="*/ 7534952 w 9759834"/>
                <a:gd name="connsiteY770" fmla="*/ 1527175 h 1762127"/>
                <a:gd name="connsiteX771" fmla="*/ 7569084 w 9759834"/>
                <a:gd name="connsiteY771" fmla="*/ 1561307 h 1762127"/>
                <a:gd name="connsiteX772" fmla="*/ 7534952 w 9759834"/>
                <a:gd name="connsiteY772" fmla="*/ 1595439 h 1762127"/>
                <a:gd name="connsiteX773" fmla="*/ 7500820 w 9759834"/>
                <a:gd name="connsiteY773" fmla="*/ 1561307 h 1762127"/>
                <a:gd name="connsiteX774" fmla="*/ 7534952 w 9759834"/>
                <a:gd name="connsiteY774" fmla="*/ 1527175 h 1762127"/>
                <a:gd name="connsiteX775" fmla="*/ 7449227 w 9759834"/>
                <a:gd name="connsiteY775" fmla="*/ 1527175 h 1762127"/>
                <a:gd name="connsiteX776" fmla="*/ 7483359 w 9759834"/>
                <a:gd name="connsiteY776" fmla="*/ 1561307 h 1762127"/>
                <a:gd name="connsiteX777" fmla="*/ 7449227 w 9759834"/>
                <a:gd name="connsiteY777" fmla="*/ 1595439 h 1762127"/>
                <a:gd name="connsiteX778" fmla="*/ 7415095 w 9759834"/>
                <a:gd name="connsiteY778" fmla="*/ 1561307 h 1762127"/>
                <a:gd name="connsiteX779" fmla="*/ 7449227 w 9759834"/>
                <a:gd name="connsiteY779" fmla="*/ 1527175 h 1762127"/>
                <a:gd name="connsiteX780" fmla="*/ 7366677 w 9759834"/>
                <a:gd name="connsiteY780" fmla="*/ 1527175 h 1762127"/>
                <a:gd name="connsiteX781" fmla="*/ 7403984 w 9759834"/>
                <a:gd name="connsiteY781" fmla="*/ 1561307 h 1762127"/>
                <a:gd name="connsiteX782" fmla="*/ 7366677 w 9759834"/>
                <a:gd name="connsiteY782" fmla="*/ 1595439 h 1762127"/>
                <a:gd name="connsiteX783" fmla="*/ 7329370 w 9759834"/>
                <a:gd name="connsiteY783" fmla="*/ 1561307 h 1762127"/>
                <a:gd name="connsiteX784" fmla="*/ 7366677 w 9759834"/>
                <a:gd name="connsiteY784" fmla="*/ 1527175 h 1762127"/>
                <a:gd name="connsiteX785" fmla="*/ 7284127 w 9759834"/>
                <a:gd name="connsiteY785" fmla="*/ 1527175 h 1762127"/>
                <a:gd name="connsiteX786" fmla="*/ 7318259 w 9759834"/>
                <a:gd name="connsiteY786" fmla="*/ 1561307 h 1762127"/>
                <a:gd name="connsiteX787" fmla="*/ 7284127 w 9759834"/>
                <a:gd name="connsiteY787" fmla="*/ 1595439 h 1762127"/>
                <a:gd name="connsiteX788" fmla="*/ 7249995 w 9759834"/>
                <a:gd name="connsiteY788" fmla="*/ 1561307 h 1762127"/>
                <a:gd name="connsiteX789" fmla="*/ 7284127 w 9759834"/>
                <a:gd name="connsiteY789" fmla="*/ 1527175 h 1762127"/>
                <a:gd name="connsiteX790" fmla="*/ 7198402 w 9759834"/>
                <a:gd name="connsiteY790" fmla="*/ 1527175 h 1762127"/>
                <a:gd name="connsiteX791" fmla="*/ 7232534 w 9759834"/>
                <a:gd name="connsiteY791" fmla="*/ 1561307 h 1762127"/>
                <a:gd name="connsiteX792" fmla="*/ 7198402 w 9759834"/>
                <a:gd name="connsiteY792" fmla="*/ 1595439 h 1762127"/>
                <a:gd name="connsiteX793" fmla="*/ 7164270 w 9759834"/>
                <a:gd name="connsiteY793" fmla="*/ 1561307 h 1762127"/>
                <a:gd name="connsiteX794" fmla="*/ 7198402 w 9759834"/>
                <a:gd name="connsiteY794" fmla="*/ 1527175 h 1762127"/>
                <a:gd name="connsiteX795" fmla="*/ 7112677 w 9759834"/>
                <a:gd name="connsiteY795" fmla="*/ 1527175 h 1762127"/>
                <a:gd name="connsiteX796" fmla="*/ 7146809 w 9759834"/>
                <a:gd name="connsiteY796" fmla="*/ 1561307 h 1762127"/>
                <a:gd name="connsiteX797" fmla="*/ 7112677 w 9759834"/>
                <a:gd name="connsiteY797" fmla="*/ 1595439 h 1762127"/>
                <a:gd name="connsiteX798" fmla="*/ 7078545 w 9759834"/>
                <a:gd name="connsiteY798" fmla="*/ 1561307 h 1762127"/>
                <a:gd name="connsiteX799" fmla="*/ 7112677 w 9759834"/>
                <a:gd name="connsiteY799" fmla="*/ 1527175 h 1762127"/>
                <a:gd name="connsiteX800" fmla="*/ 7027745 w 9759834"/>
                <a:gd name="connsiteY800" fmla="*/ 1527175 h 1762127"/>
                <a:gd name="connsiteX801" fmla="*/ 7062670 w 9759834"/>
                <a:gd name="connsiteY801" fmla="*/ 1561307 h 1762127"/>
                <a:gd name="connsiteX802" fmla="*/ 7027745 w 9759834"/>
                <a:gd name="connsiteY802" fmla="*/ 1595439 h 1762127"/>
                <a:gd name="connsiteX803" fmla="*/ 6992820 w 9759834"/>
                <a:gd name="connsiteY803" fmla="*/ 1561307 h 1762127"/>
                <a:gd name="connsiteX804" fmla="*/ 7027745 w 9759834"/>
                <a:gd name="connsiteY804" fmla="*/ 1527175 h 1762127"/>
                <a:gd name="connsiteX805" fmla="*/ 6947577 w 9759834"/>
                <a:gd name="connsiteY805" fmla="*/ 1527175 h 1762127"/>
                <a:gd name="connsiteX806" fmla="*/ 6981709 w 9759834"/>
                <a:gd name="connsiteY806" fmla="*/ 1561307 h 1762127"/>
                <a:gd name="connsiteX807" fmla="*/ 6947577 w 9759834"/>
                <a:gd name="connsiteY807" fmla="*/ 1595439 h 1762127"/>
                <a:gd name="connsiteX808" fmla="*/ 6913445 w 9759834"/>
                <a:gd name="connsiteY808" fmla="*/ 1561307 h 1762127"/>
                <a:gd name="connsiteX809" fmla="*/ 6947577 w 9759834"/>
                <a:gd name="connsiteY809" fmla="*/ 1527175 h 1762127"/>
                <a:gd name="connsiteX810" fmla="*/ 6861852 w 9759834"/>
                <a:gd name="connsiteY810" fmla="*/ 1527175 h 1762127"/>
                <a:gd name="connsiteX811" fmla="*/ 6895984 w 9759834"/>
                <a:gd name="connsiteY811" fmla="*/ 1561307 h 1762127"/>
                <a:gd name="connsiteX812" fmla="*/ 6861852 w 9759834"/>
                <a:gd name="connsiteY812" fmla="*/ 1595439 h 1762127"/>
                <a:gd name="connsiteX813" fmla="*/ 6827720 w 9759834"/>
                <a:gd name="connsiteY813" fmla="*/ 1561307 h 1762127"/>
                <a:gd name="connsiteX814" fmla="*/ 6861852 w 9759834"/>
                <a:gd name="connsiteY814" fmla="*/ 1527175 h 1762127"/>
                <a:gd name="connsiteX815" fmla="*/ 6776127 w 9759834"/>
                <a:gd name="connsiteY815" fmla="*/ 1527175 h 1762127"/>
                <a:gd name="connsiteX816" fmla="*/ 6810259 w 9759834"/>
                <a:gd name="connsiteY816" fmla="*/ 1561307 h 1762127"/>
                <a:gd name="connsiteX817" fmla="*/ 6776127 w 9759834"/>
                <a:gd name="connsiteY817" fmla="*/ 1595439 h 1762127"/>
                <a:gd name="connsiteX818" fmla="*/ 6741995 w 9759834"/>
                <a:gd name="connsiteY818" fmla="*/ 1561307 h 1762127"/>
                <a:gd name="connsiteX819" fmla="*/ 6776127 w 9759834"/>
                <a:gd name="connsiteY819" fmla="*/ 1527175 h 1762127"/>
                <a:gd name="connsiteX820" fmla="*/ 6691195 w 9759834"/>
                <a:gd name="connsiteY820" fmla="*/ 1527175 h 1762127"/>
                <a:gd name="connsiteX821" fmla="*/ 6726120 w 9759834"/>
                <a:gd name="connsiteY821" fmla="*/ 1561307 h 1762127"/>
                <a:gd name="connsiteX822" fmla="*/ 6691195 w 9759834"/>
                <a:gd name="connsiteY822" fmla="*/ 1595439 h 1762127"/>
                <a:gd name="connsiteX823" fmla="*/ 6656270 w 9759834"/>
                <a:gd name="connsiteY823" fmla="*/ 1561307 h 1762127"/>
                <a:gd name="connsiteX824" fmla="*/ 6691195 w 9759834"/>
                <a:gd name="connsiteY824" fmla="*/ 1527175 h 1762127"/>
                <a:gd name="connsiteX825" fmla="*/ 6607852 w 9759834"/>
                <a:gd name="connsiteY825" fmla="*/ 1527175 h 1762127"/>
                <a:gd name="connsiteX826" fmla="*/ 6645159 w 9759834"/>
                <a:gd name="connsiteY826" fmla="*/ 1561307 h 1762127"/>
                <a:gd name="connsiteX827" fmla="*/ 6607852 w 9759834"/>
                <a:gd name="connsiteY827" fmla="*/ 1595439 h 1762127"/>
                <a:gd name="connsiteX828" fmla="*/ 6570545 w 9759834"/>
                <a:gd name="connsiteY828" fmla="*/ 1561307 h 1762127"/>
                <a:gd name="connsiteX829" fmla="*/ 6607852 w 9759834"/>
                <a:gd name="connsiteY829" fmla="*/ 1527175 h 1762127"/>
                <a:gd name="connsiteX830" fmla="*/ 6525302 w 9759834"/>
                <a:gd name="connsiteY830" fmla="*/ 1527175 h 1762127"/>
                <a:gd name="connsiteX831" fmla="*/ 6559434 w 9759834"/>
                <a:gd name="connsiteY831" fmla="*/ 1561307 h 1762127"/>
                <a:gd name="connsiteX832" fmla="*/ 6525302 w 9759834"/>
                <a:gd name="connsiteY832" fmla="*/ 1595439 h 1762127"/>
                <a:gd name="connsiteX833" fmla="*/ 6491170 w 9759834"/>
                <a:gd name="connsiteY833" fmla="*/ 1561307 h 1762127"/>
                <a:gd name="connsiteX834" fmla="*/ 6525302 w 9759834"/>
                <a:gd name="connsiteY834" fmla="*/ 1527175 h 1762127"/>
                <a:gd name="connsiteX835" fmla="*/ 6439577 w 9759834"/>
                <a:gd name="connsiteY835" fmla="*/ 1527175 h 1762127"/>
                <a:gd name="connsiteX836" fmla="*/ 6473709 w 9759834"/>
                <a:gd name="connsiteY836" fmla="*/ 1561307 h 1762127"/>
                <a:gd name="connsiteX837" fmla="*/ 6439577 w 9759834"/>
                <a:gd name="connsiteY837" fmla="*/ 1595439 h 1762127"/>
                <a:gd name="connsiteX838" fmla="*/ 6405445 w 9759834"/>
                <a:gd name="connsiteY838" fmla="*/ 1561307 h 1762127"/>
                <a:gd name="connsiteX839" fmla="*/ 6439577 w 9759834"/>
                <a:gd name="connsiteY839" fmla="*/ 1527175 h 1762127"/>
                <a:gd name="connsiteX840" fmla="*/ 6353852 w 9759834"/>
                <a:gd name="connsiteY840" fmla="*/ 1527175 h 1762127"/>
                <a:gd name="connsiteX841" fmla="*/ 6387984 w 9759834"/>
                <a:gd name="connsiteY841" fmla="*/ 1561307 h 1762127"/>
                <a:gd name="connsiteX842" fmla="*/ 6353852 w 9759834"/>
                <a:gd name="connsiteY842" fmla="*/ 1595439 h 1762127"/>
                <a:gd name="connsiteX843" fmla="*/ 6319720 w 9759834"/>
                <a:gd name="connsiteY843" fmla="*/ 1561307 h 1762127"/>
                <a:gd name="connsiteX844" fmla="*/ 6353852 w 9759834"/>
                <a:gd name="connsiteY844" fmla="*/ 1527175 h 1762127"/>
                <a:gd name="connsiteX845" fmla="*/ 6268920 w 9759834"/>
                <a:gd name="connsiteY845" fmla="*/ 1527175 h 1762127"/>
                <a:gd name="connsiteX846" fmla="*/ 6303845 w 9759834"/>
                <a:gd name="connsiteY846" fmla="*/ 1561307 h 1762127"/>
                <a:gd name="connsiteX847" fmla="*/ 6268920 w 9759834"/>
                <a:gd name="connsiteY847" fmla="*/ 1595439 h 1762127"/>
                <a:gd name="connsiteX848" fmla="*/ 6233995 w 9759834"/>
                <a:gd name="connsiteY848" fmla="*/ 1561307 h 1762127"/>
                <a:gd name="connsiteX849" fmla="*/ 6268920 w 9759834"/>
                <a:gd name="connsiteY849" fmla="*/ 1527175 h 1762127"/>
                <a:gd name="connsiteX850" fmla="*/ 6188752 w 9759834"/>
                <a:gd name="connsiteY850" fmla="*/ 1527175 h 1762127"/>
                <a:gd name="connsiteX851" fmla="*/ 6222884 w 9759834"/>
                <a:gd name="connsiteY851" fmla="*/ 1561307 h 1762127"/>
                <a:gd name="connsiteX852" fmla="*/ 6188752 w 9759834"/>
                <a:gd name="connsiteY852" fmla="*/ 1595439 h 1762127"/>
                <a:gd name="connsiteX853" fmla="*/ 6154620 w 9759834"/>
                <a:gd name="connsiteY853" fmla="*/ 1561307 h 1762127"/>
                <a:gd name="connsiteX854" fmla="*/ 6188752 w 9759834"/>
                <a:gd name="connsiteY854" fmla="*/ 1527175 h 1762127"/>
                <a:gd name="connsiteX855" fmla="*/ 6103027 w 9759834"/>
                <a:gd name="connsiteY855" fmla="*/ 1527175 h 1762127"/>
                <a:gd name="connsiteX856" fmla="*/ 6137159 w 9759834"/>
                <a:gd name="connsiteY856" fmla="*/ 1561307 h 1762127"/>
                <a:gd name="connsiteX857" fmla="*/ 6103027 w 9759834"/>
                <a:gd name="connsiteY857" fmla="*/ 1595439 h 1762127"/>
                <a:gd name="connsiteX858" fmla="*/ 6068895 w 9759834"/>
                <a:gd name="connsiteY858" fmla="*/ 1561307 h 1762127"/>
                <a:gd name="connsiteX859" fmla="*/ 6103027 w 9759834"/>
                <a:gd name="connsiteY859" fmla="*/ 1527175 h 1762127"/>
                <a:gd name="connsiteX860" fmla="*/ 6017302 w 9759834"/>
                <a:gd name="connsiteY860" fmla="*/ 1527175 h 1762127"/>
                <a:gd name="connsiteX861" fmla="*/ 6051434 w 9759834"/>
                <a:gd name="connsiteY861" fmla="*/ 1561307 h 1762127"/>
                <a:gd name="connsiteX862" fmla="*/ 6017302 w 9759834"/>
                <a:gd name="connsiteY862" fmla="*/ 1595439 h 1762127"/>
                <a:gd name="connsiteX863" fmla="*/ 5983170 w 9759834"/>
                <a:gd name="connsiteY863" fmla="*/ 1561307 h 1762127"/>
                <a:gd name="connsiteX864" fmla="*/ 6017302 w 9759834"/>
                <a:gd name="connsiteY864" fmla="*/ 1527175 h 1762127"/>
                <a:gd name="connsiteX865" fmla="*/ 5932370 w 9759834"/>
                <a:gd name="connsiteY865" fmla="*/ 1527175 h 1762127"/>
                <a:gd name="connsiteX866" fmla="*/ 5967295 w 9759834"/>
                <a:gd name="connsiteY866" fmla="*/ 1561307 h 1762127"/>
                <a:gd name="connsiteX867" fmla="*/ 5932370 w 9759834"/>
                <a:gd name="connsiteY867" fmla="*/ 1595439 h 1762127"/>
                <a:gd name="connsiteX868" fmla="*/ 5897445 w 9759834"/>
                <a:gd name="connsiteY868" fmla="*/ 1561307 h 1762127"/>
                <a:gd name="connsiteX869" fmla="*/ 5932370 w 9759834"/>
                <a:gd name="connsiteY869" fmla="*/ 1527175 h 1762127"/>
                <a:gd name="connsiteX870" fmla="*/ 5849821 w 9759834"/>
                <a:gd name="connsiteY870" fmla="*/ 1527175 h 1762127"/>
                <a:gd name="connsiteX871" fmla="*/ 5886334 w 9759834"/>
                <a:gd name="connsiteY871" fmla="*/ 1561307 h 1762127"/>
                <a:gd name="connsiteX872" fmla="*/ 5849821 w 9759834"/>
                <a:gd name="connsiteY872" fmla="*/ 1595439 h 1762127"/>
                <a:gd name="connsiteX873" fmla="*/ 5813308 w 9759834"/>
                <a:gd name="connsiteY873" fmla="*/ 1561307 h 1762127"/>
                <a:gd name="connsiteX874" fmla="*/ 5849821 w 9759834"/>
                <a:gd name="connsiteY874" fmla="*/ 1527175 h 1762127"/>
                <a:gd name="connsiteX875" fmla="*/ 5766477 w 9759834"/>
                <a:gd name="connsiteY875" fmla="*/ 1527175 h 1762127"/>
                <a:gd name="connsiteX876" fmla="*/ 5800609 w 9759834"/>
                <a:gd name="connsiteY876" fmla="*/ 1561307 h 1762127"/>
                <a:gd name="connsiteX877" fmla="*/ 5766477 w 9759834"/>
                <a:gd name="connsiteY877" fmla="*/ 1595439 h 1762127"/>
                <a:gd name="connsiteX878" fmla="*/ 5732345 w 9759834"/>
                <a:gd name="connsiteY878" fmla="*/ 1561307 h 1762127"/>
                <a:gd name="connsiteX879" fmla="*/ 5766477 w 9759834"/>
                <a:gd name="connsiteY879" fmla="*/ 1527175 h 1762127"/>
                <a:gd name="connsiteX880" fmla="*/ 5680752 w 9759834"/>
                <a:gd name="connsiteY880" fmla="*/ 1527175 h 1762127"/>
                <a:gd name="connsiteX881" fmla="*/ 5714884 w 9759834"/>
                <a:gd name="connsiteY881" fmla="*/ 1561307 h 1762127"/>
                <a:gd name="connsiteX882" fmla="*/ 5680752 w 9759834"/>
                <a:gd name="connsiteY882" fmla="*/ 1595439 h 1762127"/>
                <a:gd name="connsiteX883" fmla="*/ 5646620 w 9759834"/>
                <a:gd name="connsiteY883" fmla="*/ 1561307 h 1762127"/>
                <a:gd name="connsiteX884" fmla="*/ 5680752 w 9759834"/>
                <a:gd name="connsiteY884" fmla="*/ 1527175 h 1762127"/>
                <a:gd name="connsiteX885" fmla="*/ 5595820 w 9759834"/>
                <a:gd name="connsiteY885" fmla="*/ 1527175 h 1762127"/>
                <a:gd name="connsiteX886" fmla="*/ 5630745 w 9759834"/>
                <a:gd name="connsiteY886" fmla="*/ 1561307 h 1762127"/>
                <a:gd name="connsiteX887" fmla="*/ 5595820 w 9759834"/>
                <a:gd name="connsiteY887" fmla="*/ 1595439 h 1762127"/>
                <a:gd name="connsiteX888" fmla="*/ 5560895 w 9759834"/>
                <a:gd name="connsiteY888" fmla="*/ 1561307 h 1762127"/>
                <a:gd name="connsiteX889" fmla="*/ 5595820 w 9759834"/>
                <a:gd name="connsiteY889" fmla="*/ 1527175 h 1762127"/>
                <a:gd name="connsiteX890" fmla="*/ 5258477 w 9759834"/>
                <a:gd name="connsiteY890" fmla="*/ 1527175 h 1762127"/>
                <a:gd name="connsiteX891" fmla="*/ 5292609 w 9759834"/>
                <a:gd name="connsiteY891" fmla="*/ 1561307 h 1762127"/>
                <a:gd name="connsiteX892" fmla="*/ 5258477 w 9759834"/>
                <a:gd name="connsiteY892" fmla="*/ 1595439 h 1762127"/>
                <a:gd name="connsiteX893" fmla="*/ 5224345 w 9759834"/>
                <a:gd name="connsiteY893" fmla="*/ 1561307 h 1762127"/>
                <a:gd name="connsiteX894" fmla="*/ 5258477 w 9759834"/>
                <a:gd name="connsiteY894" fmla="*/ 1527175 h 1762127"/>
                <a:gd name="connsiteX895" fmla="*/ 4921927 w 9759834"/>
                <a:gd name="connsiteY895" fmla="*/ 1527175 h 1762127"/>
                <a:gd name="connsiteX896" fmla="*/ 4956059 w 9759834"/>
                <a:gd name="connsiteY896" fmla="*/ 1561307 h 1762127"/>
                <a:gd name="connsiteX897" fmla="*/ 4921927 w 9759834"/>
                <a:gd name="connsiteY897" fmla="*/ 1595439 h 1762127"/>
                <a:gd name="connsiteX898" fmla="*/ 4887795 w 9759834"/>
                <a:gd name="connsiteY898" fmla="*/ 1561307 h 1762127"/>
                <a:gd name="connsiteX899" fmla="*/ 4921927 w 9759834"/>
                <a:gd name="connsiteY899" fmla="*/ 1527175 h 1762127"/>
                <a:gd name="connsiteX900" fmla="*/ 3320139 w 9759834"/>
                <a:gd name="connsiteY900" fmla="*/ 1527175 h 1762127"/>
                <a:gd name="connsiteX901" fmla="*/ 3354271 w 9759834"/>
                <a:gd name="connsiteY901" fmla="*/ 1561307 h 1762127"/>
                <a:gd name="connsiteX902" fmla="*/ 3320139 w 9759834"/>
                <a:gd name="connsiteY902" fmla="*/ 1595439 h 1762127"/>
                <a:gd name="connsiteX903" fmla="*/ 3286007 w 9759834"/>
                <a:gd name="connsiteY903" fmla="*/ 1561307 h 1762127"/>
                <a:gd name="connsiteX904" fmla="*/ 3320139 w 9759834"/>
                <a:gd name="connsiteY904" fmla="*/ 1527175 h 1762127"/>
                <a:gd name="connsiteX905" fmla="*/ 3234414 w 9759834"/>
                <a:gd name="connsiteY905" fmla="*/ 1527175 h 1762127"/>
                <a:gd name="connsiteX906" fmla="*/ 3268546 w 9759834"/>
                <a:gd name="connsiteY906" fmla="*/ 1561307 h 1762127"/>
                <a:gd name="connsiteX907" fmla="*/ 3234414 w 9759834"/>
                <a:gd name="connsiteY907" fmla="*/ 1595439 h 1762127"/>
                <a:gd name="connsiteX908" fmla="*/ 3200282 w 9759834"/>
                <a:gd name="connsiteY908" fmla="*/ 1561307 h 1762127"/>
                <a:gd name="connsiteX909" fmla="*/ 3234414 w 9759834"/>
                <a:gd name="connsiteY909" fmla="*/ 1527175 h 1762127"/>
                <a:gd name="connsiteX910" fmla="*/ 3153452 w 9759834"/>
                <a:gd name="connsiteY910" fmla="*/ 1527175 h 1762127"/>
                <a:gd name="connsiteX911" fmla="*/ 3187584 w 9759834"/>
                <a:gd name="connsiteY911" fmla="*/ 1561307 h 1762127"/>
                <a:gd name="connsiteX912" fmla="*/ 3153452 w 9759834"/>
                <a:gd name="connsiteY912" fmla="*/ 1595439 h 1762127"/>
                <a:gd name="connsiteX913" fmla="*/ 3119320 w 9759834"/>
                <a:gd name="connsiteY913" fmla="*/ 1561307 h 1762127"/>
                <a:gd name="connsiteX914" fmla="*/ 3153452 w 9759834"/>
                <a:gd name="connsiteY914" fmla="*/ 1527175 h 1762127"/>
                <a:gd name="connsiteX915" fmla="*/ 3068520 w 9759834"/>
                <a:gd name="connsiteY915" fmla="*/ 1527175 h 1762127"/>
                <a:gd name="connsiteX916" fmla="*/ 3103445 w 9759834"/>
                <a:gd name="connsiteY916" fmla="*/ 1561307 h 1762127"/>
                <a:gd name="connsiteX917" fmla="*/ 3068520 w 9759834"/>
                <a:gd name="connsiteY917" fmla="*/ 1595439 h 1762127"/>
                <a:gd name="connsiteX918" fmla="*/ 3033595 w 9759834"/>
                <a:gd name="connsiteY918" fmla="*/ 1561307 h 1762127"/>
                <a:gd name="connsiteX919" fmla="*/ 3068520 w 9759834"/>
                <a:gd name="connsiteY919" fmla="*/ 1527175 h 1762127"/>
                <a:gd name="connsiteX920" fmla="*/ 2983589 w 9759834"/>
                <a:gd name="connsiteY920" fmla="*/ 1527175 h 1762127"/>
                <a:gd name="connsiteX921" fmla="*/ 3017721 w 9759834"/>
                <a:gd name="connsiteY921" fmla="*/ 1561307 h 1762127"/>
                <a:gd name="connsiteX922" fmla="*/ 2983589 w 9759834"/>
                <a:gd name="connsiteY922" fmla="*/ 1595439 h 1762127"/>
                <a:gd name="connsiteX923" fmla="*/ 2949457 w 9759834"/>
                <a:gd name="connsiteY923" fmla="*/ 1561307 h 1762127"/>
                <a:gd name="connsiteX924" fmla="*/ 2983589 w 9759834"/>
                <a:gd name="connsiteY924" fmla="*/ 1527175 h 1762127"/>
                <a:gd name="connsiteX925" fmla="*/ 2897864 w 9759834"/>
                <a:gd name="connsiteY925" fmla="*/ 1527175 h 1762127"/>
                <a:gd name="connsiteX926" fmla="*/ 2931996 w 9759834"/>
                <a:gd name="connsiteY926" fmla="*/ 1561307 h 1762127"/>
                <a:gd name="connsiteX927" fmla="*/ 2897864 w 9759834"/>
                <a:gd name="connsiteY927" fmla="*/ 1595439 h 1762127"/>
                <a:gd name="connsiteX928" fmla="*/ 2863732 w 9759834"/>
                <a:gd name="connsiteY928" fmla="*/ 1561307 h 1762127"/>
                <a:gd name="connsiteX929" fmla="*/ 2897864 w 9759834"/>
                <a:gd name="connsiteY929" fmla="*/ 1527175 h 1762127"/>
                <a:gd name="connsiteX930" fmla="*/ 2814520 w 9759834"/>
                <a:gd name="connsiteY930" fmla="*/ 1527175 h 1762127"/>
                <a:gd name="connsiteX931" fmla="*/ 2851033 w 9759834"/>
                <a:gd name="connsiteY931" fmla="*/ 1561307 h 1762127"/>
                <a:gd name="connsiteX932" fmla="*/ 2814520 w 9759834"/>
                <a:gd name="connsiteY932" fmla="*/ 1595439 h 1762127"/>
                <a:gd name="connsiteX933" fmla="*/ 2778007 w 9759834"/>
                <a:gd name="connsiteY933" fmla="*/ 1561307 h 1762127"/>
                <a:gd name="connsiteX934" fmla="*/ 2814520 w 9759834"/>
                <a:gd name="connsiteY934" fmla="*/ 1527175 h 1762127"/>
                <a:gd name="connsiteX935" fmla="*/ 2646410 w 9759834"/>
                <a:gd name="connsiteY935" fmla="*/ 1527175 h 1762127"/>
                <a:gd name="connsiteX936" fmla="*/ 2681334 w 9759834"/>
                <a:gd name="connsiteY936" fmla="*/ 1561307 h 1762127"/>
                <a:gd name="connsiteX937" fmla="*/ 2646410 w 9759834"/>
                <a:gd name="connsiteY937" fmla="*/ 1595439 h 1762127"/>
                <a:gd name="connsiteX938" fmla="*/ 2611483 w 9759834"/>
                <a:gd name="connsiteY938" fmla="*/ 1561307 h 1762127"/>
                <a:gd name="connsiteX939" fmla="*/ 2646410 w 9759834"/>
                <a:gd name="connsiteY939" fmla="*/ 1527175 h 1762127"/>
                <a:gd name="connsiteX940" fmla="*/ 2561479 w 9759834"/>
                <a:gd name="connsiteY940" fmla="*/ 1527175 h 1762127"/>
                <a:gd name="connsiteX941" fmla="*/ 2595609 w 9759834"/>
                <a:gd name="connsiteY941" fmla="*/ 1561307 h 1762127"/>
                <a:gd name="connsiteX942" fmla="*/ 2561479 w 9759834"/>
                <a:gd name="connsiteY942" fmla="*/ 1595439 h 1762127"/>
                <a:gd name="connsiteX943" fmla="*/ 2527342 w 9759834"/>
                <a:gd name="connsiteY943" fmla="*/ 1561307 h 1762127"/>
                <a:gd name="connsiteX944" fmla="*/ 2561479 w 9759834"/>
                <a:gd name="connsiteY944" fmla="*/ 1527175 h 1762127"/>
                <a:gd name="connsiteX945" fmla="*/ 2475754 w 9759834"/>
                <a:gd name="connsiteY945" fmla="*/ 1527175 h 1762127"/>
                <a:gd name="connsiteX946" fmla="*/ 2509883 w 9759834"/>
                <a:gd name="connsiteY946" fmla="*/ 1561307 h 1762127"/>
                <a:gd name="connsiteX947" fmla="*/ 2475754 w 9759834"/>
                <a:gd name="connsiteY947" fmla="*/ 1595439 h 1762127"/>
                <a:gd name="connsiteX948" fmla="*/ 2441619 w 9759834"/>
                <a:gd name="connsiteY948" fmla="*/ 1561307 h 1762127"/>
                <a:gd name="connsiteX949" fmla="*/ 2475754 w 9759834"/>
                <a:gd name="connsiteY949" fmla="*/ 1527175 h 1762127"/>
                <a:gd name="connsiteX950" fmla="*/ 2394790 w 9759834"/>
                <a:gd name="connsiteY950" fmla="*/ 1527175 h 1762127"/>
                <a:gd name="connsiteX951" fmla="*/ 2428919 w 9759834"/>
                <a:gd name="connsiteY951" fmla="*/ 1561307 h 1762127"/>
                <a:gd name="connsiteX952" fmla="*/ 2394790 w 9759834"/>
                <a:gd name="connsiteY952" fmla="*/ 1595439 h 1762127"/>
                <a:gd name="connsiteX953" fmla="*/ 2360656 w 9759834"/>
                <a:gd name="connsiteY953" fmla="*/ 1561307 h 1762127"/>
                <a:gd name="connsiteX954" fmla="*/ 2394790 w 9759834"/>
                <a:gd name="connsiteY954" fmla="*/ 1527175 h 1762127"/>
                <a:gd name="connsiteX955" fmla="*/ 2309856 w 9759834"/>
                <a:gd name="connsiteY955" fmla="*/ 1527175 h 1762127"/>
                <a:gd name="connsiteX956" fmla="*/ 2344781 w 9759834"/>
                <a:gd name="connsiteY956" fmla="*/ 1561307 h 1762127"/>
                <a:gd name="connsiteX957" fmla="*/ 2309856 w 9759834"/>
                <a:gd name="connsiteY957" fmla="*/ 1595439 h 1762127"/>
                <a:gd name="connsiteX958" fmla="*/ 2274920 w 9759834"/>
                <a:gd name="connsiteY958" fmla="*/ 1561307 h 1762127"/>
                <a:gd name="connsiteX959" fmla="*/ 2309856 w 9759834"/>
                <a:gd name="connsiteY959" fmla="*/ 1527175 h 1762127"/>
                <a:gd name="connsiteX960" fmla="*/ 2139049 w 9759834"/>
                <a:gd name="connsiteY960" fmla="*/ 1527175 h 1762127"/>
                <a:gd name="connsiteX961" fmla="*/ 2173182 w 9759834"/>
                <a:gd name="connsiteY961" fmla="*/ 1561307 h 1762127"/>
                <a:gd name="connsiteX962" fmla="*/ 2139049 w 9759834"/>
                <a:gd name="connsiteY962" fmla="*/ 1595439 h 1762127"/>
                <a:gd name="connsiteX963" fmla="*/ 2104917 w 9759834"/>
                <a:gd name="connsiteY963" fmla="*/ 1561307 h 1762127"/>
                <a:gd name="connsiteX964" fmla="*/ 2139049 w 9759834"/>
                <a:gd name="connsiteY964" fmla="*/ 1527175 h 1762127"/>
                <a:gd name="connsiteX965" fmla="*/ 2055706 w 9759834"/>
                <a:gd name="connsiteY965" fmla="*/ 1527175 h 1762127"/>
                <a:gd name="connsiteX966" fmla="*/ 2092218 w 9759834"/>
                <a:gd name="connsiteY966" fmla="*/ 1561307 h 1762127"/>
                <a:gd name="connsiteX967" fmla="*/ 2055706 w 9759834"/>
                <a:gd name="connsiteY967" fmla="*/ 1595439 h 1762127"/>
                <a:gd name="connsiteX968" fmla="*/ 2019193 w 9759834"/>
                <a:gd name="connsiteY968" fmla="*/ 1561307 h 1762127"/>
                <a:gd name="connsiteX969" fmla="*/ 2055706 w 9759834"/>
                <a:gd name="connsiteY969" fmla="*/ 1527175 h 1762127"/>
                <a:gd name="connsiteX970" fmla="*/ 1973156 w 9759834"/>
                <a:gd name="connsiteY970" fmla="*/ 1527175 h 1762127"/>
                <a:gd name="connsiteX971" fmla="*/ 2008081 w 9759834"/>
                <a:gd name="connsiteY971" fmla="*/ 1561307 h 1762127"/>
                <a:gd name="connsiteX972" fmla="*/ 1973156 w 9759834"/>
                <a:gd name="connsiteY972" fmla="*/ 1595439 h 1762127"/>
                <a:gd name="connsiteX973" fmla="*/ 1938231 w 9759834"/>
                <a:gd name="connsiteY973" fmla="*/ 1561307 h 1762127"/>
                <a:gd name="connsiteX974" fmla="*/ 1973156 w 9759834"/>
                <a:gd name="connsiteY974" fmla="*/ 1527175 h 1762127"/>
                <a:gd name="connsiteX975" fmla="*/ 1888226 w 9759834"/>
                <a:gd name="connsiteY975" fmla="*/ 1527175 h 1762127"/>
                <a:gd name="connsiteX976" fmla="*/ 1922358 w 9759834"/>
                <a:gd name="connsiteY976" fmla="*/ 1561307 h 1762127"/>
                <a:gd name="connsiteX977" fmla="*/ 1888226 w 9759834"/>
                <a:gd name="connsiteY977" fmla="*/ 1595439 h 1762127"/>
                <a:gd name="connsiteX978" fmla="*/ 1854094 w 9759834"/>
                <a:gd name="connsiteY978" fmla="*/ 1561307 h 1762127"/>
                <a:gd name="connsiteX979" fmla="*/ 1888226 w 9759834"/>
                <a:gd name="connsiteY979" fmla="*/ 1527175 h 1762127"/>
                <a:gd name="connsiteX980" fmla="*/ 1802501 w 9759834"/>
                <a:gd name="connsiteY980" fmla="*/ 1527175 h 1762127"/>
                <a:gd name="connsiteX981" fmla="*/ 1836634 w 9759834"/>
                <a:gd name="connsiteY981" fmla="*/ 1561307 h 1762127"/>
                <a:gd name="connsiteX982" fmla="*/ 1802501 w 9759834"/>
                <a:gd name="connsiteY982" fmla="*/ 1595439 h 1762127"/>
                <a:gd name="connsiteX983" fmla="*/ 1768370 w 9759834"/>
                <a:gd name="connsiteY983" fmla="*/ 1561307 h 1762127"/>
                <a:gd name="connsiteX984" fmla="*/ 1802501 w 9759834"/>
                <a:gd name="connsiteY984" fmla="*/ 1527175 h 1762127"/>
                <a:gd name="connsiteX985" fmla="*/ 1719157 w 9759834"/>
                <a:gd name="connsiteY985" fmla="*/ 1527175 h 1762127"/>
                <a:gd name="connsiteX986" fmla="*/ 1755671 w 9759834"/>
                <a:gd name="connsiteY986" fmla="*/ 1561307 h 1762127"/>
                <a:gd name="connsiteX987" fmla="*/ 1719157 w 9759834"/>
                <a:gd name="connsiteY987" fmla="*/ 1595439 h 1762127"/>
                <a:gd name="connsiteX988" fmla="*/ 1682645 w 9759834"/>
                <a:gd name="connsiteY988" fmla="*/ 1561307 h 1762127"/>
                <a:gd name="connsiteX989" fmla="*/ 1719157 w 9759834"/>
                <a:gd name="connsiteY989" fmla="*/ 1527175 h 1762127"/>
                <a:gd name="connsiteX990" fmla="*/ 1636608 w 9759834"/>
                <a:gd name="connsiteY990" fmla="*/ 1527175 h 1762127"/>
                <a:gd name="connsiteX991" fmla="*/ 1671533 w 9759834"/>
                <a:gd name="connsiteY991" fmla="*/ 1561307 h 1762127"/>
                <a:gd name="connsiteX992" fmla="*/ 1636608 w 9759834"/>
                <a:gd name="connsiteY992" fmla="*/ 1595439 h 1762127"/>
                <a:gd name="connsiteX993" fmla="*/ 1601683 w 9759834"/>
                <a:gd name="connsiteY993" fmla="*/ 1561307 h 1762127"/>
                <a:gd name="connsiteX994" fmla="*/ 1636608 w 9759834"/>
                <a:gd name="connsiteY994" fmla="*/ 1527175 h 1762127"/>
                <a:gd name="connsiteX995" fmla="*/ 1551677 w 9759834"/>
                <a:gd name="connsiteY995" fmla="*/ 1527175 h 1762127"/>
                <a:gd name="connsiteX996" fmla="*/ 1585810 w 9759834"/>
                <a:gd name="connsiteY996" fmla="*/ 1561307 h 1762127"/>
                <a:gd name="connsiteX997" fmla="*/ 1551677 w 9759834"/>
                <a:gd name="connsiteY997" fmla="*/ 1595439 h 1762127"/>
                <a:gd name="connsiteX998" fmla="*/ 1517545 w 9759834"/>
                <a:gd name="connsiteY998" fmla="*/ 1561307 h 1762127"/>
                <a:gd name="connsiteX999" fmla="*/ 1551677 w 9759834"/>
                <a:gd name="connsiteY999" fmla="*/ 1527175 h 1762127"/>
                <a:gd name="connsiteX1000" fmla="*/ 1466114 w 9759834"/>
                <a:gd name="connsiteY1000" fmla="*/ 1527175 h 1762127"/>
                <a:gd name="connsiteX1001" fmla="*/ 1500247 w 9759834"/>
                <a:gd name="connsiteY1001" fmla="*/ 1561307 h 1762127"/>
                <a:gd name="connsiteX1002" fmla="*/ 1466114 w 9759834"/>
                <a:gd name="connsiteY1002" fmla="*/ 1595439 h 1762127"/>
                <a:gd name="connsiteX1003" fmla="*/ 1431983 w 9759834"/>
                <a:gd name="connsiteY1003" fmla="*/ 1561307 h 1762127"/>
                <a:gd name="connsiteX1004" fmla="*/ 1466114 w 9759834"/>
                <a:gd name="connsiteY1004" fmla="*/ 1527175 h 1762127"/>
                <a:gd name="connsiteX1005" fmla="*/ 9138327 w 9759834"/>
                <a:gd name="connsiteY1005" fmla="*/ 1441450 h 1762127"/>
                <a:gd name="connsiteX1006" fmla="*/ 9172459 w 9759834"/>
                <a:gd name="connsiteY1006" fmla="*/ 1475582 h 1762127"/>
                <a:gd name="connsiteX1007" fmla="*/ 9138327 w 9759834"/>
                <a:gd name="connsiteY1007" fmla="*/ 1509714 h 1762127"/>
                <a:gd name="connsiteX1008" fmla="*/ 9104195 w 9759834"/>
                <a:gd name="connsiteY1008" fmla="*/ 1475582 h 1762127"/>
                <a:gd name="connsiteX1009" fmla="*/ 9138327 w 9759834"/>
                <a:gd name="connsiteY1009" fmla="*/ 1441450 h 1762127"/>
                <a:gd name="connsiteX1010" fmla="*/ 8966877 w 9759834"/>
                <a:gd name="connsiteY1010" fmla="*/ 1441450 h 1762127"/>
                <a:gd name="connsiteX1011" fmla="*/ 9001009 w 9759834"/>
                <a:gd name="connsiteY1011" fmla="*/ 1475582 h 1762127"/>
                <a:gd name="connsiteX1012" fmla="*/ 8966877 w 9759834"/>
                <a:gd name="connsiteY1012" fmla="*/ 1509714 h 1762127"/>
                <a:gd name="connsiteX1013" fmla="*/ 8932745 w 9759834"/>
                <a:gd name="connsiteY1013" fmla="*/ 1475582 h 1762127"/>
                <a:gd name="connsiteX1014" fmla="*/ 8966877 w 9759834"/>
                <a:gd name="connsiteY1014" fmla="*/ 1441450 h 1762127"/>
                <a:gd name="connsiteX1015" fmla="*/ 8884327 w 9759834"/>
                <a:gd name="connsiteY1015" fmla="*/ 1441450 h 1762127"/>
                <a:gd name="connsiteX1016" fmla="*/ 8921634 w 9759834"/>
                <a:gd name="connsiteY1016" fmla="*/ 1475582 h 1762127"/>
                <a:gd name="connsiteX1017" fmla="*/ 8884327 w 9759834"/>
                <a:gd name="connsiteY1017" fmla="*/ 1509714 h 1762127"/>
                <a:gd name="connsiteX1018" fmla="*/ 8847020 w 9759834"/>
                <a:gd name="connsiteY1018" fmla="*/ 1475582 h 1762127"/>
                <a:gd name="connsiteX1019" fmla="*/ 8884327 w 9759834"/>
                <a:gd name="connsiteY1019" fmla="*/ 1441450 h 1762127"/>
                <a:gd name="connsiteX1020" fmla="*/ 8801777 w 9759834"/>
                <a:gd name="connsiteY1020" fmla="*/ 1441450 h 1762127"/>
                <a:gd name="connsiteX1021" fmla="*/ 8835909 w 9759834"/>
                <a:gd name="connsiteY1021" fmla="*/ 1475582 h 1762127"/>
                <a:gd name="connsiteX1022" fmla="*/ 8801777 w 9759834"/>
                <a:gd name="connsiteY1022" fmla="*/ 1509714 h 1762127"/>
                <a:gd name="connsiteX1023" fmla="*/ 8767645 w 9759834"/>
                <a:gd name="connsiteY1023" fmla="*/ 1475582 h 1762127"/>
                <a:gd name="connsiteX1024" fmla="*/ 8801777 w 9759834"/>
                <a:gd name="connsiteY1024" fmla="*/ 1441450 h 1762127"/>
                <a:gd name="connsiteX1025" fmla="*/ 8716052 w 9759834"/>
                <a:gd name="connsiteY1025" fmla="*/ 1441450 h 1762127"/>
                <a:gd name="connsiteX1026" fmla="*/ 8750184 w 9759834"/>
                <a:gd name="connsiteY1026" fmla="*/ 1475582 h 1762127"/>
                <a:gd name="connsiteX1027" fmla="*/ 8716052 w 9759834"/>
                <a:gd name="connsiteY1027" fmla="*/ 1509714 h 1762127"/>
                <a:gd name="connsiteX1028" fmla="*/ 8681920 w 9759834"/>
                <a:gd name="connsiteY1028" fmla="*/ 1475582 h 1762127"/>
                <a:gd name="connsiteX1029" fmla="*/ 8716052 w 9759834"/>
                <a:gd name="connsiteY1029" fmla="*/ 1441450 h 1762127"/>
                <a:gd name="connsiteX1030" fmla="*/ 8630327 w 9759834"/>
                <a:gd name="connsiteY1030" fmla="*/ 1441450 h 1762127"/>
                <a:gd name="connsiteX1031" fmla="*/ 8664459 w 9759834"/>
                <a:gd name="connsiteY1031" fmla="*/ 1475582 h 1762127"/>
                <a:gd name="connsiteX1032" fmla="*/ 8630327 w 9759834"/>
                <a:gd name="connsiteY1032" fmla="*/ 1509714 h 1762127"/>
                <a:gd name="connsiteX1033" fmla="*/ 8596195 w 9759834"/>
                <a:gd name="connsiteY1033" fmla="*/ 1475582 h 1762127"/>
                <a:gd name="connsiteX1034" fmla="*/ 8630327 w 9759834"/>
                <a:gd name="connsiteY1034" fmla="*/ 1441450 h 1762127"/>
                <a:gd name="connsiteX1035" fmla="*/ 8544602 w 9759834"/>
                <a:gd name="connsiteY1035" fmla="*/ 1441450 h 1762127"/>
                <a:gd name="connsiteX1036" fmla="*/ 8578734 w 9759834"/>
                <a:gd name="connsiteY1036" fmla="*/ 1475582 h 1762127"/>
                <a:gd name="connsiteX1037" fmla="*/ 8544602 w 9759834"/>
                <a:gd name="connsiteY1037" fmla="*/ 1509714 h 1762127"/>
                <a:gd name="connsiteX1038" fmla="*/ 8510470 w 9759834"/>
                <a:gd name="connsiteY1038" fmla="*/ 1475582 h 1762127"/>
                <a:gd name="connsiteX1039" fmla="*/ 8544602 w 9759834"/>
                <a:gd name="connsiteY1039" fmla="*/ 1441450 h 1762127"/>
                <a:gd name="connsiteX1040" fmla="*/ 8465227 w 9759834"/>
                <a:gd name="connsiteY1040" fmla="*/ 1441450 h 1762127"/>
                <a:gd name="connsiteX1041" fmla="*/ 8499359 w 9759834"/>
                <a:gd name="connsiteY1041" fmla="*/ 1475582 h 1762127"/>
                <a:gd name="connsiteX1042" fmla="*/ 8465227 w 9759834"/>
                <a:gd name="connsiteY1042" fmla="*/ 1509714 h 1762127"/>
                <a:gd name="connsiteX1043" fmla="*/ 8431095 w 9759834"/>
                <a:gd name="connsiteY1043" fmla="*/ 1475582 h 1762127"/>
                <a:gd name="connsiteX1044" fmla="*/ 8465227 w 9759834"/>
                <a:gd name="connsiteY1044" fmla="*/ 1441450 h 1762127"/>
                <a:gd name="connsiteX1045" fmla="*/ 8379502 w 9759834"/>
                <a:gd name="connsiteY1045" fmla="*/ 1441450 h 1762127"/>
                <a:gd name="connsiteX1046" fmla="*/ 8413634 w 9759834"/>
                <a:gd name="connsiteY1046" fmla="*/ 1475582 h 1762127"/>
                <a:gd name="connsiteX1047" fmla="*/ 8379502 w 9759834"/>
                <a:gd name="connsiteY1047" fmla="*/ 1509714 h 1762127"/>
                <a:gd name="connsiteX1048" fmla="*/ 8345370 w 9759834"/>
                <a:gd name="connsiteY1048" fmla="*/ 1475582 h 1762127"/>
                <a:gd name="connsiteX1049" fmla="*/ 8379502 w 9759834"/>
                <a:gd name="connsiteY1049" fmla="*/ 1441450 h 1762127"/>
                <a:gd name="connsiteX1050" fmla="*/ 8293777 w 9759834"/>
                <a:gd name="connsiteY1050" fmla="*/ 1441450 h 1762127"/>
                <a:gd name="connsiteX1051" fmla="*/ 8327909 w 9759834"/>
                <a:gd name="connsiteY1051" fmla="*/ 1475582 h 1762127"/>
                <a:gd name="connsiteX1052" fmla="*/ 8293777 w 9759834"/>
                <a:gd name="connsiteY1052" fmla="*/ 1509714 h 1762127"/>
                <a:gd name="connsiteX1053" fmla="*/ 8259645 w 9759834"/>
                <a:gd name="connsiteY1053" fmla="*/ 1475582 h 1762127"/>
                <a:gd name="connsiteX1054" fmla="*/ 8293777 w 9759834"/>
                <a:gd name="connsiteY1054" fmla="*/ 1441450 h 1762127"/>
                <a:gd name="connsiteX1055" fmla="*/ 8208052 w 9759834"/>
                <a:gd name="connsiteY1055" fmla="*/ 1441450 h 1762127"/>
                <a:gd name="connsiteX1056" fmla="*/ 8242184 w 9759834"/>
                <a:gd name="connsiteY1056" fmla="*/ 1475582 h 1762127"/>
                <a:gd name="connsiteX1057" fmla="*/ 8208052 w 9759834"/>
                <a:gd name="connsiteY1057" fmla="*/ 1509714 h 1762127"/>
                <a:gd name="connsiteX1058" fmla="*/ 8173920 w 9759834"/>
                <a:gd name="connsiteY1058" fmla="*/ 1475582 h 1762127"/>
                <a:gd name="connsiteX1059" fmla="*/ 8208052 w 9759834"/>
                <a:gd name="connsiteY1059" fmla="*/ 1441450 h 1762127"/>
                <a:gd name="connsiteX1060" fmla="*/ 8125502 w 9759834"/>
                <a:gd name="connsiteY1060" fmla="*/ 1441450 h 1762127"/>
                <a:gd name="connsiteX1061" fmla="*/ 8162809 w 9759834"/>
                <a:gd name="connsiteY1061" fmla="*/ 1475582 h 1762127"/>
                <a:gd name="connsiteX1062" fmla="*/ 8125502 w 9759834"/>
                <a:gd name="connsiteY1062" fmla="*/ 1509714 h 1762127"/>
                <a:gd name="connsiteX1063" fmla="*/ 8088195 w 9759834"/>
                <a:gd name="connsiteY1063" fmla="*/ 1475582 h 1762127"/>
                <a:gd name="connsiteX1064" fmla="*/ 8125502 w 9759834"/>
                <a:gd name="connsiteY1064" fmla="*/ 1441450 h 1762127"/>
                <a:gd name="connsiteX1065" fmla="*/ 7957227 w 9759834"/>
                <a:gd name="connsiteY1065" fmla="*/ 1441450 h 1762127"/>
                <a:gd name="connsiteX1066" fmla="*/ 7991359 w 9759834"/>
                <a:gd name="connsiteY1066" fmla="*/ 1475582 h 1762127"/>
                <a:gd name="connsiteX1067" fmla="*/ 7957227 w 9759834"/>
                <a:gd name="connsiteY1067" fmla="*/ 1509714 h 1762127"/>
                <a:gd name="connsiteX1068" fmla="*/ 7923095 w 9759834"/>
                <a:gd name="connsiteY1068" fmla="*/ 1475582 h 1762127"/>
                <a:gd name="connsiteX1069" fmla="*/ 7957227 w 9759834"/>
                <a:gd name="connsiteY1069" fmla="*/ 1441450 h 1762127"/>
                <a:gd name="connsiteX1070" fmla="*/ 7871502 w 9759834"/>
                <a:gd name="connsiteY1070" fmla="*/ 1441450 h 1762127"/>
                <a:gd name="connsiteX1071" fmla="*/ 7905634 w 9759834"/>
                <a:gd name="connsiteY1071" fmla="*/ 1475582 h 1762127"/>
                <a:gd name="connsiteX1072" fmla="*/ 7871502 w 9759834"/>
                <a:gd name="connsiteY1072" fmla="*/ 1509714 h 1762127"/>
                <a:gd name="connsiteX1073" fmla="*/ 7837370 w 9759834"/>
                <a:gd name="connsiteY1073" fmla="*/ 1475582 h 1762127"/>
                <a:gd name="connsiteX1074" fmla="*/ 7871502 w 9759834"/>
                <a:gd name="connsiteY1074" fmla="*/ 1441450 h 1762127"/>
                <a:gd name="connsiteX1075" fmla="*/ 7785777 w 9759834"/>
                <a:gd name="connsiteY1075" fmla="*/ 1441450 h 1762127"/>
                <a:gd name="connsiteX1076" fmla="*/ 7819909 w 9759834"/>
                <a:gd name="connsiteY1076" fmla="*/ 1475582 h 1762127"/>
                <a:gd name="connsiteX1077" fmla="*/ 7785777 w 9759834"/>
                <a:gd name="connsiteY1077" fmla="*/ 1509714 h 1762127"/>
                <a:gd name="connsiteX1078" fmla="*/ 7751645 w 9759834"/>
                <a:gd name="connsiteY1078" fmla="*/ 1475582 h 1762127"/>
                <a:gd name="connsiteX1079" fmla="*/ 7785777 w 9759834"/>
                <a:gd name="connsiteY1079" fmla="*/ 1441450 h 1762127"/>
                <a:gd name="connsiteX1080" fmla="*/ 7706402 w 9759834"/>
                <a:gd name="connsiteY1080" fmla="*/ 1441450 h 1762127"/>
                <a:gd name="connsiteX1081" fmla="*/ 7740534 w 9759834"/>
                <a:gd name="connsiteY1081" fmla="*/ 1475582 h 1762127"/>
                <a:gd name="connsiteX1082" fmla="*/ 7706402 w 9759834"/>
                <a:gd name="connsiteY1082" fmla="*/ 1509714 h 1762127"/>
                <a:gd name="connsiteX1083" fmla="*/ 7672270 w 9759834"/>
                <a:gd name="connsiteY1083" fmla="*/ 1475582 h 1762127"/>
                <a:gd name="connsiteX1084" fmla="*/ 7706402 w 9759834"/>
                <a:gd name="connsiteY1084" fmla="*/ 1441450 h 1762127"/>
                <a:gd name="connsiteX1085" fmla="*/ 7620677 w 9759834"/>
                <a:gd name="connsiteY1085" fmla="*/ 1441450 h 1762127"/>
                <a:gd name="connsiteX1086" fmla="*/ 7654809 w 9759834"/>
                <a:gd name="connsiteY1086" fmla="*/ 1475582 h 1762127"/>
                <a:gd name="connsiteX1087" fmla="*/ 7620677 w 9759834"/>
                <a:gd name="connsiteY1087" fmla="*/ 1509714 h 1762127"/>
                <a:gd name="connsiteX1088" fmla="*/ 7586545 w 9759834"/>
                <a:gd name="connsiteY1088" fmla="*/ 1475582 h 1762127"/>
                <a:gd name="connsiteX1089" fmla="*/ 7620677 w 9759834"/>
                <a:gd name="connsiteY1089" fmla="*/ 1441450 h 1762127"/>
                <a:gd name="connsiteX1090" fmla="*/ 7534952 w 9759834"/>
                <a:gd name="connsiteY1090" fmla="*/ 1441450 h 1762127"/>
                <a:gd name="connsiteX1091" fmla="*/ 7569084 w 9759834"/>
                <a:gd name="connsiteY1091" fmla="*/ 1475582 h 1762127"/>
                <a:gd name="connsiteX1092" fmla="*/ 7534952 w 9759834"/>
                <a:gd name="connsiteY1092" fmla="*/ 1509714 h 1762127"/>
                <a:gd name="connsiteX1093" fmla="*/ 7500820 w 9759834"/>
                <a:gd name="connsiteY1093" fmla="*/ 1475582 h 1762127"/>
                <a:gd name="connsiteX1094" fmla="*/ 7534952 w 9759834"/>
                <a:gd name="connsiteY1094" fmla="*/ 1441450 h 1762127"/>
                <a:gd name="connsiteX1095" fmla="*/ 7449227 w 9759834"/>
                <a:gd name="connsiteY1095" fmla="*/ 1441450 h 1762127"/>
                <a:gd name="connsiteX1096" fmla="*/ 7483359 w 9759834"/>
                <a:gd name="connsiteY1096" fmla="*/ 1475582 h 1762127"/>
                <a:gd name="connsiteX1097" fmla="*/ 7449227 w 9759834"/>
                <a:gd name="connsiteY1097" fmla="*/ 1509714 h 1762127"/>
                <a:gd name="connsiteX1098" fmla="*/ 7415095 w 9759834"/>
                <a:gd name="connsiteY1098" fmla="*/ 1475582 h 1762127"/>
                <a:gd name="connsiteX1099" fmla="*/ 7449227 w 9759834"/>
                <a:gd name="connsiteY1099" fmla="*/ 1441450 h 1762127"/>
                <a:gd name="connsiteX1100" fmla="*/ 7366677 w 9759834"/>
                <a:gd name="connsiteY1100" fmla="*/ 1441450 h 1762127"/>
                <a:gd name="connsiteX1101" fmla="*/ 7403984 w 9759834"/>
                <a:gd name="connsiteY1101" fmla="*/ 1475582 h 1762127"/>
                <a:gd name="connsiteX1102" fmla="*/ 7366677 w 9759834"/>
                <a:gd name="connsiteY1102" fmla="*/ 1509714 h 1762127"/>
                <a:gd name="connsiteX1103" fmla="*/ 7329370 w 9759834"/>
                <a:gd name="connsiteY1103" fmla="*/ 1475582 h 1762127"/>
                <a:gd name="connsiteX1104" fmla="*/ 7366677 w 9759834"/>
                <a:gd name="connsiteY1104" fmla="*/ 1441450 h 1762127"/>
                <a:gd name="connsiteX1105" fmla="*/ 7284127 w 9759834"/>
                <a:gd name="connsiteY1105" fmla="*/ 1441450 h 1762127"/>
                <a:gd name="connsiteX1106" fmla="*/ 7318259 w 9759834"/>
                <a:gd name="connsiteY1106" fmla="*/ 1475582 h 1762127"/>
                <a:gd name="connsiteX1107" fmla="*/ 7284127 w 9759834"/>
                <a:gd name="connsiteY1107" fmla="*/ 1509714 h 1762127"/>
                <a:gd name="connsiteX1108" fmla="*/ 7249995 w 9759834"/>
                <a:gd name="connsiteY1108" fmla="*/ 1475582 h 1762127"/>
                <a:gd name="connsiteX1109" fmla="*/ 7284127 w 9759834"/>
                <a:gd name="connsiteY1109" fmla="*/ 1441450 h 1762127"/>
                <a:gd name="connsiteX1110" fmla="*/ 7198402 w 9759834"/>
                <a:gd name="connsiteY1110" fmla="*/ 1441450 h 1762127"/>
                <a:gd name="connsiteX1111" fmla="*/ 7232534 w 9759834"/>
                <a:gd name="connsiteY1111" fmla="*/ 1475582 h 1762127"/>
                <a:gd name="connsiteX1112" fmla="*/ 7198402 w 9759834"/>
                <a:gd name="connsiteY1112" fmla="*/ 1509714 h 1762127"/>
                <a:gd name="connsiteX1113" fmla="*/ 7164270 w 9759834"/>
                <a:gd name="connsiteY1113" fmla="*/ 1475582 h 1762127"/>
                <a:gd name="connsiteX1114" fmla="*/ 7198402 w 9759834"/>
                <a:gd name="connsiteY1114" fmla="*/ 1441450 h 1762127"/>
                <a:gd name="connsiteX1115" fmla="*/ 7112677 w 9759834"/>
                <a:gd name="connsiteY1115" fmla="*/ 1441450 h 1762127"/>
                <a:gd name="connsiteX1116" fmla="*/ 7146809 w 9759834"/>
                <a:gd name="connsiteY1116" fmla="*/ 1475582 h 1762127"/>
                <a:gd name="connsiteX1117" fmla="*/ 7112677 w 9759834"/>
                <a:gd name="connsiteY1117" fmla="*/ 1509714 h 1762127"/>
                <a:gd name="connsiteX1118" fmla="*/ 7078545 w 9759834"/>
                <a:gd name="connsiteY1118" fmla="*/ 1475582 h 1762127"/>
                <a:gd name="connsiteX1119" fmla="*/ 7112677 w 9759834"/>
                <a:gd name="connsiteY1119" fmla="*/ 1441450 h 1762127"/>
                <a:gd name="connsiteX1120" fmla="*/ 7027745 w 9759834"/>
                <a:gd name="connsiteY1120" fmla="*/ 1441450 h 1762127"/>
                <a:gd name="connsiteX1121" fmla="*/ 7062670 w 9759834"/>
                <a:gd name="connsiteY1121" fmla="*/ 1475582 h 1762127"/>
                <a:gd name="connsiteX1122" fmla="*/ 7027745 w 9759834"/>
                <a:gd name="connsiteY1122" fmla="*/ 1509714 h 1762127"/>
                <a:gd name="connsiteX1123" fmla="*/ 6992820 w 9759834"/>
                <a:gd name="connsiteY1123" fmla="*/ 1475582 h 1762127"/>
                <a:gd name="connsiteX1124" fmla="*/ 7027745 w 9759834"/>
                <a:gd name="connsiteY1124" fmla="*/ 1441450 h 1762127"/>
                <a:gd name="connsiteX1125" fmla="*/ 6947577 w 9759834"/>
                <a:gd name="connsiteY1125" fmla="*/ 1441450 h 1762127"/>
                <a:gd name="connsiteX1126" fmla="*/ 6981709 w 9759834"/>
                <a:gd name="connsiteY1126" fmla="*/ 1475582 h 1762127"/>
                <a:gd name="connsiteX1127" fmla="*/ 6947577 w 9759834"/>
                <a:gd name="connsiteY1127" fmla="*/ 1509714 h 1762127"/>
                <a:gd name="connsiteX1128" fmla="*/ 6913445 w 9759834"/>
                <a:gd name="connsiteY1128" fmla="*/ 1475582 h 1762127"/>
                <a:gd name="connsiteX1129" fmla="*/ 6947577 w 9759834"/>
                <a:gd name="connsiteY1129" fmla="*/ 1441450 h 1762127"/>
                <a:gd name="connsiteX1130" fmla="*/ 6861852 w 9759834"/>
                <a:gd name="connsiteY1130" fmla="*/ 1441450 h 1762127"/>
                <a:gd name="connsiteX1131" fmla="*/ 6895984 w 9759834"/>
                <a:gd name="connsiteY1131" fmla="*/ 1475582 h 1762127"/>
                <a:gd name="connsiteX1132" fmla="*/ 6861852 w 9759834"/>
                <a:gd name="connsiteY1132" fmla="*/ 1509714 h 1762127"/>
                <a:gd name="connsiteX1133" fmla="*/ 6827720 w 9759834"/>
                <a:gd name="connsiteY1133" fmla="*/ 1475582 h 1762127"/>
                <a:gd name="connsiteX1134" fmla="*/ 6861852 w 9759834"/>
                <a:gd name="connsiteY1134" fmla="*/ 1441450 h 1762127"/>
                <a:gd name="connsiteX1135" fmla="*/ 6776127 w 9759834"/>
                <a:gd name="connsiteY1135" fmla="*/ 1441450 h 1762127"/>
                <a:gd name="connsiteX1136" fmla="*/ 6810259 w 9759834"/>
                <a:gd name="connsiteY1136" fmla="*/ 1475582 h 1762127"/>
                <a:gd name="connsiteX1137" fmla="*/ 6776127 w 9759834"/>
                <a:gd name="connsiteY1137" fmla="*/ 1509714 h 1762127"/>
                <a:gd name="connsiteX1138" fmla="*/ 6741995 w 9759834"/>
                <a:gd name="connsiteY1138" fmla="*/ 1475582 h 1762127"/>
                <a:gd name="connsiteX1139" fmla="*/ 6776127 w 9759834"/>
                <a:gd name="connsiteY1139" fmla="*/ 1441450 h 1762127"/>
                <a:gd name="connsiteX1140" fmla="*/ 6691195 w 9759834"/>
                <a:gd name="connsiteY1140" fmla="*/ 1441450 h 1762127"/>
                <a:gd name="connsiteX1141" fmla="*/ 6726120 w 9759834"/>
                <a:gd name="connsiteY1141" fmla="*/ 1475582 h 1762127"/>
                <a:gd name="connsiteX1142" fmla="*/ 6691195 w 9759834"/>
                <a:gd name="connsiteY1142" fmla="*/ 1509714 h 1762127"/>
                <a:gd name="connsiteX1143" fmla="*/ 6656270 w 9759834"/>
                <a:gd name="connsiteY1143" fmla="*/ 1475582 h 1762127"/>
                <a:gd name="connsiteX1144" fmla="*/ 6691195 w 9759834"/>
                <a:gd name="connsiteY1144" fmla="*/ 1441450 h 1762127"/>
                <a:gd name="connsiteX1145" fmla="*/ 6607852 w 9759834"/>
                <a:gd name="connsiteY1145" fmla="*/ 1441450 h 1762127"/>
                <a:gd name="connsiteX1146" fmla="*/ 6645159 w 9759834"/>
                <a:gd name="connsiteY1146" fmla="*/ 1475582 h 1762127"/>
                <a:gd name="connsiteX1147" fmla="*/ 6607852 w 9759834"/>
                <a:gd name="connsiteY1147" fmla="*/ 1509714 h 1762127"/>
                <a:gd name="connsiteX1148" fmla="*/ 6570545 w 9759834"/>
                <a:gd name="connsiteY1148" fmla="*/ 1475582 h 1762127"/>
                <a:gd name="connsiteX1149" fmla="*/ 6607852 w 9759834"/>
                <a:gd name="connsiteY1149" fmla="*/ 1441450 h 1762127"/>
                <a:gd name="connsiteX1150" fmla="*/ 6525302 w 9759834"/>
                <a:gd name="connsiteY1150" fmla="*/ 1441450 h 1762127"/>
                <a:gd name="connsiteX1151" fmla="*/ 6559434 w 9759834"/>
                <a:gd name="connsiteY1151" fmla="*/ 1475582 h 1762127"/>
                <a:gd name="connsiteX1152" fmla="*/ 6525302 w 9759834"/>
                <a:gd name="connsiteY1152" fmla="*/ 1509714 h 1762127"/>
                <a:gd name="connsiteX1153" fmla="*/ 6491170 w 9759834"/>
                <a:gd name="connsiteY1153" fmla="*/ 1475582 h 1762127"/>
                <a:gd name="connsiteX1154" fmla="*/ 6525302 w 9759834"/>
                <a:gd name="connsiteY1154" fmla="*/ 1441450 h 1762127"/>
                <a:gd name="connsiteX1155" fmla="*/ 6439577 w 9759834"/>
                <a:gd name="connsiteY1155" fmla="*/ 1441450 h 1762127"/>
                <a:gd name="connsiteX1156" fmla="*/ 6473709 w 9759834"/>
                <a:gd name="connsiteY1156" fmla="*/ 1475582 h 1762127"/>
                <a:gd name="connsiteX1157" fmla="*/ 6439577 w 9759834"/>
                <a:gd name="connsiteY1157" fmla="*/ 1509714 h 1762127"/>
                <a:gd name="connsiteX1158" fmla="*/ 6405445 w 9759834"/>
                <a:gd name="connsiteY1158" fmla="*/ 1475582 h 1762127"/>
                <a:gd name="connsiteX1159" fmla="*/ 6439577 w 9759834"/>
                <a:gd name="connsiteY1159" fmla="*/ 1441450 h 1762127"/>
                <a:gd name="connsiteX1160" fmla="*/ 6353852 w 9759834"/>
                <a:gd name="connsiteY1160" fmla="*/ 1441450 h 1762127"/>
                <a:gd name="connsiteX1161" fmla="*/ 6387984 w 9759834"/>
                <a:gd name="connsiteY1161" fmla="*/ 1475582 h 1762127"/>
                <a:gd name="connsiteX1162" fmla="*/ 6353852 w 9759834"/>
                <a:gd name="connsiteY1162" fmla="*/ 1509714 h 1762127"/>
                <a:gd name="connsiteX1163" fmla="*/ 6319720 w 9759834"/>
                <a:gd name="connsiteY1163" fmla="*/ 1475582 h 1762127"/>
                <a:gd name="connsiteX1164" fmla="*/ 6353852 w 9759834"/>
                <a:gd name="connsiteY1164" fmla="*/ 1441450 h 1762127"/>
                <a:gd name="connsiteX1165" fmla="*/ 6268920 w 9759834"/>
                <a:gd name="connsiteY1165" fmla="*/ 1441450 h 1762127"/>
                <a:gd name="connsiteX1166" fmla="*/ 6303845 w 9759834"/>
                <a:gd name="connsiteY1166" fmla="*/ 1475582 h 1762127"/>
                <a:gd name="connsiteX1167" fmla="*/ 6268920 w 9759834"/>
                <a:gd name="connsiteY1167" fmla="*/ 1509714 h 1762127"/>
                <a:gd name="connsiteX1168" fmla="*/ 6233995 w 9759834"/>
                <a:gd name="connsiteY1168" fmla="*/ 1475582 h 1762127"/>
                <a:gd name="connsiteX1169" fmla="*/ 6268920 w 9759834"/>
                <a:gd name="connsiteY1169" fmla="*/ 1441450 h 1762127"/>
                <a:gd name="connsiteX1170" fmla="*/ 6188752 w 9759834"/>
                <a:gd name="connsiteY1170" fmla="*/ 1441450 h 1762127"/>
                <a:gd name="connsiteX1171" fmla="*/ 6222884 w 9759834"/>
                <a:gd name="connsiteY1171" fmla="*/ 1475582 h 1762127"/>
                <a:gd name="connsiteX1172" fmla="*/ 6188752 w 9759834"/>
                <a:gd name="connsiteY1172" fmla="*/ 1509714 h 1762127"/>
                <a:gd name="connsiteX1173" fmla="*/ 6154620 w 9759834"/>
                <a:gd name="connsiteY1173" fmla="*/ 1475582 h 1762127"/>
                <a:gd name="connsiteX1174" fmla="*/ 6188752 w 9759834"/>
                <a:gd name="connsiteY1174" fmla="*/ 1441450 h 1762127"/>
                <a:gd name="connsiteX1175" fmla="*/ 6103027 w 9759834"/>
                <a:gd name="connsiteY1175" fmla="*/ 1441450 h 1762127"/>
                <a:gd name="connsiteX1176" fmla="*/ 6137159 w 9759834"/>
                <a:gd name="connsiteY1176" fmla="*/ 1475582 h 1762127"/>
                <a:gd name="connsiteX1177" fmla="*/ 6103027 w 9759834"/>
                <a:gd name="connsiteY1177" fmla="*/ 1509714 h 1762127"/>
                <a:gd name="connsiteX1178" fmla="*/ 6068895 w 9759834"/>
                <a:gd name="connsiteY1178" fmla="*/ 1475582 h 1762127"/>
                <a:gd name="connsiteX1179" fmla="*/ 6103027 w 9759834"/>
                <a:gd name="connsiteY1179" fmla="*/ 1441450 h 1762127"/>
                <a:gd name="connsiteX1180" fmla="*/ 6017302 w 9759834"/>
                <a:gd name="connsiteY1180" fmla="*/ 1441450 h 1762127"/>
                <a:gd name="connsiteX1181" fmla="*/ 6051434 w 9759834"/>
                <a:gd name="connsiteY1181" fmla="*/ 1475582 h 1762127"/>
                <a:gd name="connsiteX1182" fmla="*/ 6017302 w 9759834"/>
                <a:gd name="connsiteY1182" fmla="*/ 1509714 h 1762127"/>
                <a:gd name="connsiteX1183" fmla="*/ 5983170 w 9759834"/>
                <a:gd name="connsiteY1183" fmla="*/ 1475582 h 1762127"/>
                <a:gd name="connsiteX1184" fmla="*/ 6017302 w 9759834"/>
                <a:gd name="connsiteY1184" fmla="*/ 1441450 h 1762127"/>
                <a:gd name="connsiteX1185" fmla="*/ 5932370 w 9759834"/>
                <a:gd name="connsiteY1185" fmla="*/ 1441450 h 1762127"/>
                <a:gd name="connsiteX1186" fmla="*/ 5967295 w 9759834"/>
                <a:gd name="connsiteY1186" fmla="*/ 1475582 h 1762127"/>
                <a:gd name="connsiteX1187" fmla="*/ 5932370 w 9759834"/>
                <a:gd name="connsiteY1187" fmla="*/ 1509714 h 1762127"/>
                <a:gd name="connsiteX1188" fmla="*/ 5897445 w 9759834"/>
                <a:gd name="connsiteY1188" fmla="*/ 1475582 h 1762127"/>
                <a:gd name="connsiteX1189" fmla="*/ 5932370 w 9759834"/>
                <a:gd name="connsiteY1189" fmla="*/ 1441450 h 1762127"/>
                <a:gd name="connsiteX1190" fmla="*/ 5849821 w 9759834"/>
                <a:gd name="connsiteY1190" fmla="*/ 1441450 h 1762127"/>
                <a:gd name="connsiteX1191" fmla="*/ 5886334 w 9759834"/>
                <a:gd name="connsiteY1191" fmla="*/ 1475582 h 1762127"/>
                <a:gd name="connsiteX1192" fmla="*/ 5849821 w 9759834"/>
                <a:gd name="connsiteY1192" fmla="*/ 1509714 h 1762127"/>
                <a:gd name="connsiteX1193" fmla="*/ 5813308 w 9759834"/>
                <a:gd name="connsiteY1193" fmla="*/ 1475582 h 1762127"/>
                <a:gd name="connsiteX1194" fmla="*/ 5849821 w 9759834"/>
                <a:gd name="connsiteY1194" fmla="*/ 1441450 h 1762127"/>
                <a:gd name="connsiteX1195" fmla="*/ 5766477 w 9759834"/>
                <a:gd name="connsiteY1195" fmla="*/ 1441450 h 1762127"/>
                <a:gd name="connsiteX1196" fmla="*/ 5800609 w 9759834"/>
                <a:gd name="connsiteY1196" fmla="*/ 1475582 h 1762127"/>
                <a:gd name="connsiteX1197" fmla="*/ 5766477 w 9759834"/>
                <a:gd name="connsiteY1197" fmla="*/ 1509714 h 1762127"/>
                <a:gd name="connsiteX1198" fmla="*/ 5732345 w 9759834"/>
                <a:gd name="connsiteY1198" fmla="*/ 1475582 h 1762127"/>
                <a:gd name="connsiteX1199" fmla="*/ 5766477 w 9759834"/>
                <a:gd name="connsiteY1199" fmla="*/ 1441450 h 1762127"/>
                <a:gd name="connsiteX1200" fmla="*/ 5680752 w 9759834"/>
                <a:gd name="connsiteY1200" fmla="*/ 1441450 h 1762127"/>
                <a:gd name="connsiteX1201" fmla="*/ 5714884 w 9759834"/>
                <a:gd name="connsiteY1201" fmla="*/ 1475582 h 1762127"/>
                <a:gd name="connsiteX1202" fmla="*/ 5680752 w 9759834"/>
                <a:gd name="connsiteY1202" fmla="*/ 1509714 h 1762127"/>
                <a:gd name="connsiteX1203" fmla="*/ 5646620 w 9759834"/>
                <a:gd name="connsiteY1203" fmla="*/ 1475582 h 1762127"/>
                <a:gd name="connsiteX1204" fmla="*/ 5680752 w 9759834"/>
                <a:gd name="connsiteY1204" fmla="*/ 1441450 h 1762127"/>
                <a:gd name="connsiteX1205" fmla="*/ 5595820 w 9759834"/>
                <a:gd name="connsiteY1205" fmla="*/ 1441450 h 1762127"/>
                <a:gd name="connsiteX1206" fmla="*/ 5630745 w 9759834"/>
                <a:gd name="connsiteY1206" fmla="*/ 1475582 h 1762127"/>
                <a:gd name="connsiteX1207" fmla="*/ 5595820 w 9759834"/>
                <a:gd name="connsiteY1207" fmla="*/ 1509714 h 1762127"/>
                <a:gd name="connsiteX1208" fmla="*/ 5560895 w 9759834"/>
                <a:gd name="connsiteY1208" fmla="*/ 1475582 h 1762127"/>
                <a:gd name="connsiteX1209" fmla="*/ 5595820 w 9759834"/>
                <a:gd name="connsiteY1209" fmla="*/ 1441450 h 1762127"/>
                <a:gd name="connsiteX1210" fmla="*/ 5344202 w 9759834"/>
                <a:gd name="connsiteY1210" fmla="*/ 1441450 h 1762127"/>
                <a:gd name="connsiteX1211" fmla="*/ 5378334 w 9759834"/>
                <a:gd name="connsiteY1211" fmla="*/ 1475582 h 1762127"/>
                <a:gd name="connsiteX1212" fmla="*/ 5344202 w 9759834"/>
                <a:gd name="connsiteY1212" fmla="*/ 1509714 h 1762127"/>
                <a:gd name="connsiteX1213" fmla="*/ 5310070 w 9759834"/>
                <a:gd name="connsiteY1213" fmla="*/ 1475582 h 1762127"/>
                <a:gd name="connsiteX1214" fmla="*/ 5344202 w 9759834"/>
                <a:gd name="connsiteY1214" fmla="*/ 1441450 h 1762127"/>
                <a:gd name="connsiteX1215" fmla="*/ 4836995 w 9759834"/>
                <a:gd name="connsiteY1215" fmla="*/ 1441450 h 1762127"/>
                <a:gd name="connsiteX1216" fmla="*/ 4871920 w 9759834"/>
                <a:gd name="connsiteY1216" fmla="*/ 1475582 h 1762127"/>
                <a:gd name="connsiteX1217" fmla="*/ 4836995 w 9759834"/>
                <a:gd name="connsiteY1217" fmla="*/ 1509714 h 1762127"/>
                <a:gd name="connsiteX1218" fmla="*/ 4802070 w 9759834"/>
                <a:gd name="connsiteY1218" fmla="*/ 1475582 h 1762127"/>
                <a:gd name="connsiteX1219" fmla="*/ 4836995 w 9759834"/>
                <a:gd name="connsiteY1219" fmla="*/ 1441450 h 1762127"/>
                <a:gd name="connsiteX1220" fmla="*/ 3234414 w 9759834"/>
                <a:gd name="connsiteY1220" fmla="*/ 1441450 h 1762127"/>
                <a:gd name="connsiteX1221" fmla="*/ 3268546 w 9759834"/>
                <a:gd name="connsiteY1221" fmla="*/ 1475582 h 1762127"/>
                <a:gd name="connsiteX1222" fmla="*/ 3234414 w 9759834"/>
                <a:gd name="connsiteY1222" fmla="*/ 1509714 h 1762127"/>
                <a:gd name="connsiteX1223" fmla="*/ 3200282 w 9759834"/>
                <a:gd name="connsiteY1223" fmla="*/ 1475582 h 1762127"/>
                <a:gd name="connsiteX1224" fmla="*/ 3234414 w 9759834"/>
                <a:gd name="connsiteY1224" fmla="*/ 1441450 h 1762127"/>
                <a:gd name="connsiteX1225" fmla="*/ 3153452 w 9759834"/>
                <a:gd name="connsiteY1225" fmla="*/ 1441450 h 1762127"/>
                <a:gd name="connsiteX1226" fmla="*/ 3187584 w 9759834"/>
                <a:gd name="connsiteY1226" fmla="*/ 1475582 h 1762127"/>
                <a:gd name="connsiteX1227" fmla="*/ 3153452 w 9759834"/>
                <a:gd name="connsiteY1227" fmla="*/ 1509714 h 1762127"/>
                <a:gd name="connsiteX1228" fmla="*/ 3119320 w 9759834"/>
                <a:gd name="connsiteY1228" fmla="*/ 1475582 h 1762127"/>
                <a:gd name="connsiteX1229" fmla="*/ 3153452 w 9759834"/>
                <a:gd name="connsiteY1229" fmla="*/ 1441450 h 1762127"/>
                <a:gd name="connsiteX1230" fmla="*/ 3068520 w 9759834"/>
                <a:gd name="connsiteY1230" fmla="*/ 1441450 h 1762127"/>
                <a:gd name="connsiteX1231" fmla="*/ 3103445 w 9759834"/>
                <a:gd name="connsiteY1231" fmla="*/ 1475582 h 1762127"/>
                <a:gd name="connsiteX1232" fmla="*/ 3068520 w 9759834"/>
                <a:gd name="connsiteY1232" fmla="*/ 1509714 h 1762127"/>
                <a:gd name="connsiteX1233" fmla="*/ 3033595 w 9759834"/>
                <a:gd name="connsiteY1233" fmla="*/ 1475582 h 1762127"/>
                <a:gd name="connsiteX1234" fmla="*/ 3068520 w 9759834"/>
                <a:gd name="connsiteY1234" fmla="*/ 1441450 h 1762127"/>
                <a:gd name="connsiteX1235" fmla="*/ 2983589 w 9759834"/>
                <a:gd name="connsiteY1235" fmla="*/ 1441450 h 1762127"/>
                <a:gd name="connsiteX1236" fmla="*/ 3017721 w 9759834"/>
                <a:gd name="connsiteY1236" fmla="*/ 1475582 h 1762127"/>
                <a:gd name="connsiteX1237" fmla="*/ 2983589 w 9759834"/>
                <a:gd name="connsiteY1237" fmla="*/ 1509714 h 1762127"/>
                <a:gd name="connsiteX1238" fmla="*/ 2949457 w 9759834"/>
                <a:gd name="connsiteY1238" fmla="*/ 1475582 h 1762127"/>
                <a:gd name="connsiteX1239" fmla="*/ 2983589 w 9759834"/>
                <a:gd name="connsiteY1239" fmla="*/ 1441450 h 1762127"/>
                <a:gd name="connsiteX1240" fmla="*/ 2897864 w 9759834"/>
                <a:gd name="connsiteY1240" fmla="*/ 1441450 h 1762127"/>
                <a:gd name="connsiteX1241" fmla="*/ 2931996 w 9759834"/>
                <a:gd name="connsiteY1241" fmla="*/ 1475582 h 1762127"/>
                <a:gd name="connsiteX1242" fmla="*/ 2897864 w 9759834"/>
                <a:gd name="connsiteY1242" fmla="*/ 1509714 h 1762127"/>
                <a:gd name="connsiteX1243" fmla="*/ 2863732 w 9759834"/>
                <a:gd name="connsiteY1243" fmla="*/ 1475582 h 1762127"/>
                <a:gd name="connsiteX1244" fmla="*/ 2897864 w 9759834"/>
                <a:gd name="connsiteY1244" fmla="*/ 1441450 h 1762127"/>
                <a:gd name="connsiteX1245" fmla="*/ 2646410 w 9759834"/>
                <a:gd name="connsiteY1245" fmla="*/ 1441450 h 1762127"/>
                <a:gd name="connsiteX1246" fmla="*/ 2681334 w 9759834"/>
                <a:gd name="connsiteY1246" fmla="*/ 1475582 h 1762127"/>
                <a:gd name="connsiteX1247" fmla="*/ 2646410 w 9759834"/>
                <a:gd name="connsiteY1247" fmla="*/ 1509714 h 1762127"/>
                <a:gd name="connsiteX1248" fmla="*/ 2611483 w 9759834"/>
                <a:gd name="connsiteY1248" fmla="*/ 1475582 h 1762127"/>
                <a:gd name="connsiteX1249" fmla="*/ 2646410 w 9759834"/>
                <a:gd name="connsiteY1249" fmla="*/ 1441450 h 1762127"/>
                <a:gd name="connsiteX1250" fmla="*/ 2561479 w 9759834"/>
                <a:gd name="connsiteY1250" fmla="*/ 1441450 h 1762127"/>
                <a:gd name="connsiteX1251" fmla="*/ 2595609 w 9759834"/>
                <a:gd name="connsiteY1251" fmla="*/ 1475582 h 1762127"/>
                <a:gd name="connsiteX1252" fmla="*/ 2561479 w 9759834"/>
                <a:gd name="connsiteY1252" fmla="*/ 1509714 h 1762127"/>
                <a:gd name="connsiteX1253" fmla="*/ 2527342 w 9759834"/>
                <a:gd name="connsiteY1253" fmla="*/ 1475582 h 1762127"/>
                <a:gd name="connsiteX1254" fmla="*/ 2561479 w 9759834"/>
                <a:gd name="connsiteY1254" fmla="*/ 1441450 h 1762127"/>
                <a:gd name="connsiteX1255" fmla="*/ 2475754 w 9759834"/>
                <a:gd name="connsiteY1255" fmla="*/ 1441450 h 1762127"/>
                <a:gd name="connsiteX1256" fmla="*/ 2509883 w 9759834"/>
                <a:gd name="connsiteY1256" fmla="*/ 1475582 h 1762127"/>
                <a:gd name="connsiteX1257" fmla="*/ 2475754 w 9759834"/>
                <a:gd name="connsiteY1257" fmla="*/ 1509714 h 1762127"/>
                <a:gd name="connsiteX1258" fmla="*/ 2441619 w 9759834"/>
                <a:gd name="connsiteY1258" fmla="*/ 1475582 h 1762127"/>
                <a:gd name="connsiteX1259" fmla="*/ 2475754 w 9759834"/>
                <a:gd name="connsiteY1259" fmla="*/ 1441450 h 1762127"/>
                <a:gd name="connsiteX1260" fmla="*/ 2309856 w 9759834"/>
                <a:gd name="connsiteY1260" fmla="*/ 1441450 h 1762127"/>
                <a:gd name="connsiteX1261" fmla="*/ 2344781 w 9759834"/>
                <a:gd name="connsiteY1261" fmla="*/ 1475582 h 1762127"/>
                <a:gd name="connsiteX1262" fmla="*/ 2309856 w 9759834"/>
                <a:gd name="connsiteY1262" fmla="*/ 1509714 h 1762127"/>
                <a:gd name="connsiteX1263" fmla="*/ 2274920 w 9759834"/>
                <a:gd name="connsiteY1263" fmla="*/ 1475582 h 1762127"/>
                <a:gd name="connsiteX1264" fmla="*/ 2309856 w 9759834"/>
                <a:gd name="connsiteY1264" fmla="*/ 1441450 h 1762127"/>
                <a:gd name="connsiteX1265" fmla="*/ 2139049 w 9759834"/>
                <a:gd name="connsiteY1265" fmla="*/ 1441450 h 1762127"/>
                <a:gd name="connsiteX1266" fmla="*/ 2173180 w 9759834"/>
                <a:gd name="connsiteY1266" fmla="*/ 1475582 h 1762127"/>
                <a:gd name="connsiteX1267" fmla="*/ 2139049 w 9759834"/>
                <a:gd name="connsiteY1267" fmla="*/ 1509714 h 1762127"/>
                <a:gd name="connsiteX1268" fmla="*/ 2104917 w 9759834"/>
                <a:gd name="connsiteY1268" fmla="*/ 1475582 h 1762127"/>
                <a:gd name="connsiteX1269" fmla="*/ 2139049 w 9759834"/>
                <a:gd name="connsiteY1269" fmla="*/ 1441450 h 1762127"/>
                <a:gd name="connsiteX1270" fmla="*/ 2055705 w 9759834"/>
                <a:gd name="connsiteY1270" fmla="*/ 1441450 h 1762127"/>
                <a:gd name="connsiteX1271" fmla="*/ 2092218 w 9759834"/>
                <a:gd name="connsiteY1271" fmla="*/ 1475582 h 1762127"/>
                <a:gd name="connsiteX1272" fmla="*/ 2055705 w 9759834"/>
                <a:gd name="connsiteY1272" fmla="*/ 1509714 h 1762127"/>
                <a:gd name="connsiteX1273" fmla="*/ 2019193 w 9759834"/>
                <a:gd name="connsiteY1273" fmla="*/ 1475582 h 1762127"/>
                <a:gd name="connsiteX1274" fmla="*/ 2055705 w 9759834"/>
                <a:gd name="connsiteY1274" fmla="*/ 1441450 h 1762127"/>
                <a:gd name="connsiteX1275" fmla="*/ 1973155 w 9759834"/>
                <a:gd name="connsiteY1275" fmla="*/ 1441450 h 1762127"/>
                <a:gd name="connsiteX1276" fmla="*/ 2008080 w 9759834"/>
                <a:gd name="connsiteY1276" fmla="*/ 1475582 h 1762127"/>
                <a:gd name="connsiteX1277" fmla="*/ 1973155 w 9759834"/>
                <a:gd name="connsiteY1277" fmla="*/ 1509714 h 1762127"/>
                <a:gd name="connsiteX1278" fmla="*/ 1938230 w 9759834"/>
                <a:gd name="connsiteY1278" fmla="*/ 1475582 h 1762127"/>
                <a:gd name="connsiteX1279" fmla="*/ 1973155 w 9759834"/>
                <a:gd name="connsiteY1279" fmla="*/ 1441450 h 1762127"/>
                <a:gd name="connsiteX1280" fmla="*/ 1888224 w 9759834"/>
                <a:gd name="connsiteY1280" fmla="*/ 1441450 h 1762127"/>
                <a:gd name="connsiteX1281" fmla="*/ 1922356 w 9759834"/>
                <a:gd name="connsiteY1281" fmla="*/ 1475582 h 1762127"/>
                <a:gd name="connsiteX1282" fmla="*/ 1888224 w 9759834"/>
                <a:gd name="connsiteY1282" fmla="*/ 1509714 h 1762127"/>
                <a:gd name="connsiteX1283" fmla="*/ 1854092 w 9759834"/>
                <a:gd name="connsiteY1283" fmla="*/ 1475582 h 1762127"/>
                <a:gd name="connsiteX1284" fmla="*/ 1888224 w 9759834"/>
                <a:gd name="connsiteY1284" fmla="*/ 1441450 h 1762127"/>
                <a:gd name="connsiteX1285" fmla="*/ 1802499 w 9759834"/>
                <a:gd name="connsiteY1285" fmla="*/ 1441450 h 1762127"/>
                <a:gd name="connsiteX1286" fmla="*/ 1836631 w 9759834"/>
                <a:gd name="connsiteY1286" fmla="*/ 1475582 h 1762127"/>
                <a:gd name="connsiteX1287" fmla="*/ 1802499 w 9759834"/>
                <a:gd name="connsiteY1287" fmla="*/ 1509714 h 1762127"/>
                <a:gd name="connsiteX1288" fmla="*/ 1768367 w 9759834"/>
                <a:gd name="connsiteY1288" fmla="*/ 1475582 h 1762127"/>
                <a:gd name="connsiteX1289" fmla="*/ 1802499 w 9759834"/>
                <a:gd name="connsiteY1289" fmla="*/ 1441450 h 1762127"/>
                <a:gd name="connsiteX1290" fmla="*/ 1719155 w 9759834"/>
                <a:gd name="connsiteY1290" fmla="*/ 1441450 h 1762127"/>
                <a:gd name="connsiteX1291" fmla="*/ 1755668 w 9759834"/>
                <a:gd name="connsiteY1291" fmla="*/ 1475582 h 1762127"/>
                <a:gd name="connsiteX1292" fmla="*/ 1719155 w 9759834"/>
                <a:gd name="connsiteY1292" fmla="*/ 1509714 h 1762127"/>
                <a:gd name="connsiteX1293" fmla="*/ 1682642 w 9759834"/>
                <a:gd name="connsiteY1293" fmla="*/ 1475582 h 1762127"/>
                <a:gd name="connsiteX1294" fmla="*/ 1719155 w 9759834"/>
                <a:gd name="connsiteY1294" fmla="*/ 1441450 h 1762127"/>
                <a:gd name="connsiteX1295" fmla="*/ 1636604 w 9759834"/>
                <a:gd name="connsiteY1295" fmla="*/ 1441450 h 1762127"/>
                <a:gd name="connsiteX1296" fmla="*/ 1671530 w 9759834"/>
                <a:gd name="connsiteY1296" fmla="*/ 1475582 h 1762127"/>
                <a:gd name="connsiteX1297" fmla="*/ 1636604 w 9759834"/>
                <a:gd name="connsiteY1297" fmla="*/ 1509714 h 1762127"/>
                <a:gd name="connsiteX1298" fmla="*/ 1601679 w 9759834"/>
                <a:gd name="connsiteY1298" fmla="*/ 1475582 h 1762127"/>
                <a:gd name="connsiteX1299" fmla="*/ 1636604 w 9759834"/>
                <a:gd name="connsiteY1299" fmla="*/ 1441450 h 1762127"/>
                <a:gd name="connsiteX1300" fmla="*/ 1551677 w 9759834"/>
                <a:gd name="connsiteY1300" fmla="*/ 1441450 h 1762127"/>
                <a:gd name="connsiteX1301" fmla="*/ 1585810 w 9759834"/>
                <a:gd name="connsiteY1301" fmla="*/ 1475582 h 1762127"/>
                <a:gd name="connsiteX1302" fmla="*/ 1551677 w 9759834"/>
                <a:gd name="connsiteY1302" fmla="*/ 1509714 h 1762127"/>
                <a:gd name="connsiteX1303" fmla="*/ 1517546 w 9759834"/>
                <a:gd name="connsiteY1303" fmla="*/ 1475582 h 1762127"/>
                <a:gd name="connsiteX1304" fmla="*/ 1551677 w 9759834"/>
                <a:gd name="connsiteY1304" fmla="*/ 1441450 h 1762127"/>
                <a:gd name="connsiteX1305" fmla="*/ 1466114 w 9759834"/>
                <a:gd name="connsiteY1305" fmla="*/ 1441450 h 1762127"/>
                <a:gd name="connsiteX1306" fmla="*/ 1500247 w 9759834"/>
                <a:gd name="connsiteY1306" fmla="*/ 1475582 h 1762127"/>
                <a:gd name="connsiteX1307" fmla="*/ 1466114 w 9759834"/>
                <a:gd name="connsiteY1307" fmla="*/ 1509714 h 1762127"/>
                <a:gd name="connsiteX1308" fmla="*/ 1431983 w 9759834"/>
                <a:gd name="connsiteY1308" fmla="*/ 1475582 h 1762127"/>
                <a:gd name="connsiteX1309" fmla="*/ 1466114 w 9759834"/>
                <a:gd name="connsiteY1309" fmla="*/ 1441450 h 1762127"/>
                <a:gd name="connsiteX1310" fmla="*/ 1380392 w 9759834"/>
                <a:gd name="connsiteY1310" fmla="*/ 1441450 h 1762127"/>
                <a:gd name="connsiteX1311" fmla="*/ 1414522 w 9759834"/>
                <a:gd name="connsiteY1311" fmla="*/ 1475582 h 1762127"/>
                <a:gd name="connsiteX1312" fmla="*/ 1380392 w 9759834"/>
                <a:gd name="connsiteY1312" fmla="*/ 1509714 h 1762127"/>
                <a:gd name="connsiteX1313" fmla="*/ 1346258 w 9759834"/>
                <a:gd name="connsiteY1313" fmla="*/ 1475582 h 1762127"/>
                <a:gd name="connsiteX1314" fmla="*/ 1380392 w 9759834"/>
                <a:gd name="connsiteY1314" fmla="*/ 1441450 h 1762127"/>
                <a:gd name="connsiteX1315" fmla="*/ 9474877 w 9759834"/>
                <a:gd name="connsiteY1315" fmla="*/ 1354138 h 1762127"/>
                <a:gd name="connsiteX1316" fmla="*/ 9509009 w 9759834"/>
                <a:gd name="connsiteY1316" fmla="*/ 1389063 h 1762127"/>
                <a:gd name="connsiteX1317" fmla="*/ 9474877 w 9759834"/>
                <a:gd name="connsiteY1317" fmla="*/ 1423988 h 1762127"/>
                <a:gd name="connsiteX1318" fmla="*/ 9440745 w 9759834"/>
                <a:gd name="connsiteY1318" fmla="*/ 1389063 h 1762127"/>
                <a:gd name="connsiteX1319" fmla="*/ 9474877 w 9759834"/>
                <a:gd name="connsiteY1319" fmla="*/ 1354138 h 1762127"/>
                <a:gd name="connsiteX1320" fmla="*/ 9052602 w 9759834"/>
                <a:gd name="connsiteY1320" fmla="*/ 1354138 h 1762127"/>
                <a:gd name="connsiteX1321" fmla="*/ 9086734 w 9759834"/>
                <a:gd name="connsiteY1321" fmla="*/ 1389063 h 1762127"/>
                <a:gd name="connsiteX1322" fmla="*/ 9052602 w 9759834"/>
                <a:gd name="connsiteY1322" fmla="*/ 1423988 h 1762127"/>
                <a:gd name="connsiteX1323" fmla="*/ 9018470 w 9759834"/>
                <a:gd name="connsiteY1323" fmla="*/ 1389063 h 1762127"/>
                <a:gd name="connsiteX1324" fmla="*/ 9052602 w 9759834"/>
                <a:gd name="connsiteY1324" fmla="*/ 1354138 h 1762127"/>
                <a:gd name="connsiteX1325" fmla="*/ 8966877 w 9759834"/>
                <a:gd name="connsiteY1325" fmla="*/ 1354138 h 1762127"/>
                <a:gd name="connsiteX1326" fmla="*/ 9001009 w 9759834"/>
                <a:gd name="connsiteY1326" fmla="*/ 1389063 h 1762127"/>
                <a:gd name="connsiteX1327" fmla="*/ 8966877 w 9759834"/>
                <a:gd name="connsiteY1327" fmla="*/ 1423988 h 1762127"/>
                <a:gd name="connsiteX1328" fmla="*/ 8932745 w 9759834"/>
                <a:gd name="connsiteY1328" fmla="*/ 1389063 h 1762127"/>
                <a:gd name="connsiteX1329" fmla="*/ 8966877 w 9759834"/>
                <a:gd name="connsiteY1329" fmla="*/ 1354138 h 1762127"/>
                <a:gd name="connsiteX1330" fmla="*/ 8884327 w 9759834"/>
                <a:gd name="connsiteY1330" fmla="*/ 1354138 h 1762127"/>
                <a:gd name="connsiteX1331" fmla="*/ 8921634 w 9759834"/>
                <a:gd name="connsiteY1331" fmla="*/ 1389063 h 1762127"/>
                <a:gd name="connsiteX1332" fmla="*/ 8884327 w 9759834"/>
                <a:gd name="connsiteY1332" fmla="*/ 1423988 h 1762127"/>
                <a:gd name="connsiteX1333" fmla="*/ 8847020 w 9759834"/>
                <a:gd name="connsiteY1333" fmla="*/ 1389063 h 1762127"/>
                <a:gd name="connsiteX1334" fmla="*/ 8884327 w 9759834"/>
                <a:gd name="connsiteY1334" fmla="*/ 1354138 h 1762127"/>
                <a:gd name="connsiteX1335" fmla="*/ 8801777 w 9759834"/>
                <a:gd name="connsiteY1335" fmla="*/ 1354138 h 1762127"/>
                <a:gd name="connsiteX1336" fmla="*/ 8835909 w 9759834"/>
                <a:gd name="connsiteY1336" fmla="*/ 1389063 h 1762127"/>
                <a:gd name="connsiteX1337" fmla="*/ 8801777 w 9759834"/>
                <a:gd name="connsiteY1337" fmla="*/ 1423988 h 1762127"/>
                <a:gd name="connsiteX1338" fmla="*/ 8767645 w 9759834"/>
                <a:gd name="connsiteY1338" fmla="*/ 1389063 h 1762127"/>
                <a:gd name="connsiteX1339" fmla="*/ 8801777 w 9759834"/>
                <a:gd name="connsiteY1339" fmla="*/ 1354138 h 1762127"/>
                <a:gd name="connsiteX1340" fmla="*/ 8716052 w 9759834"/>
                <a:gd name="connsiteY1340" fmla="*/ 1354138 h 1762127"/>
                <a:gd name="connsiteX1341" fmla="*/ 8750184 w 9759834"/>
                <a:gd name="connsiteY1341" fmla="*/ 1389063 h 1762127"/>
                <a:gd name="connsiteX1342" fmla="*/ 8716052 w 9759834"/>
                <a:gd name="connsiteY1342" fmla="*/ 1423988 h 1762127"/>
                <a:gd name="connsiteX1343" fmla="*/ 8681920 w 9759834"/>
                <a:gd name="connsiteY1343" fmla="*/ 1389063 h 1762127"/>
                <a:gd name="connsiteX1344" fmla="*/ 8716052 w 9759834"/>
                <a:gd name="connsiteY1344" fmla="*/ 1354138 h 1762127"/>
                <a:gd name="connsiteX1345" fmla="*/ 8630327 w 9759834"/>
                <a:gd name="connsiteY1345" fmla="*/ 1354138 h 1762127"/>
                <a:gd name="connsiteX1346" fmla="*/ 8664459 w 9759834"/>
                <a:gd name="connsiteY1346" fmla="*/ 1389063 h 1762127"/>
                <a:gd name="connsiteX1347" fmla="*/ 8630327 w 9759834"/>
                <a:gd name="connsiteY1347" fmla="*/ 1423988 h 1762127"/>
                <a:gd name="connsiteX1348" fmla="*/ 8596195 w 9759834"/>
                <a:gd name="connsiteY1348" fmla="*/ 1389063 h 1762127"/>
                <a:gd name="connsiteX1349" fmla="*/ 8630327 w 9759834"/>
                <a:gd name="connsiteY1349" fmla="*/ 1354138 h 1762127"/>
                <a:gd name="connsiteX1350" fmla="*/ 8544602 w 9759834"/>
                <a:gd name="connsiteY1350" fmla="*/ 1354138 h 1762127"/>
                <a:gd name="connsiteX1351" fmla="*/ 8578734 w 9759834"/>
                <a:gd name="connsiteY1351" fmla="*/ 1389063 h 1762127"/>
                <a:gd name="connsiteX1352" fmla="*/ 8544602 w 9759834"/>
                <a:gd name="connsiteY1352" fmla="*/ 1423988 h 1762127"/>
                <a:gd name="connsiteX1353" fmla="*/ 8510470 w 9759834"/>
                <a:gd name="connsiteY1353" fmla="*/ 1389063 h 1762127"/>
                <a:gd name="connsiteX1354" fmla="*/ 8544602 w 9759834"/>
                <a:gd name="connsiteY1354" fmla="*/ 1354138 h 1762127"/>
                <a:gd name="connsiteX1355" fmla="*/ 8465227 w 9759834"/>
                <a:gd name="connsiteY1355" fmla="*/ 1354138 h 1762127"/>
                <a:gd name="connsiteX1356" fmla="*/ 8499359 w 9759834"/>
                <a:gd name="connsiteY1356" fmla="*/ 1389063 h 1762127"/>
                <a:gd name="connsiteX1357" fmla="*/ 8465227 w 9759834"/>
                <a:gd name="connsiteY1357" fmla="*/ 1423988 h 1762127"/>
                <a:gd name="connsiteX1358" fmla="*/ 8431095 w 9759834"/>
                <a:gd name="connsiteY1358" fmla="*/ 1389063 h 1762127"/>
                <a:gd name="connsiteX1359" fmla="*/ 8465227 w 9759834"/>
                <a:gd name="connsiteY1359" fmla="*/ 1354138 h 1762127"/>
                <a:gd name="connsiteX1360" fmla="*/ 8379502 w 9759834"/>
                <a:gd name="connsiteY1360" fmla="*/ 1354138 h 1762127"/>
                <a:gd name="connsiteX1361" fmla="*/ 8413634 w 9759834"/>
                <a:gd name="connsiteY1361" fmla="*/ 1389063 h 1762127"/>
                <a:gd name="connsiteX1362" fmla="*/ 8379502 w 9759834"/>
                <a:gd name="connsiteY1362" fmla="*/ 1423988 h 1762127"/>
                <a:gd name="connsiteX1363" fmla="*/ 8345370 w 9759834"/>
                <a:gd name="connsiteY1363" fmla="*/ 1389063 h 1762127"/>
                <a:gd name="connsiteX1364" fmla="*/ 8379502 w 9759834"/>
                <a:gd name="connsiteY1364" fmla="*/ 1354138 h 1762127"/>
                <a:gd name="connsiteX1365" fmla="*/ 8293777 w 9759834"/>
                <a:gd name="connsiteY1365" fmla="*/ 1354138 h 1762127"/>
                <a:gd name="connsiteX1366" fmla="*/ 8327909 w 9759834"/>
                <a:gd name="connsiteY1366" fmla="*/ 1389063 h 1762127"/>
                <a:gd name="connsiteX1367" fmla="*/ 8293777 w 9759834"/>
                <a:gd name="connsiteY1367" fmla="*/ 1423988 h 1762127"/>
                <a:gd name="connsiteX1368" fmla="*/ 8259645 w 9759834"/>
                <a:gd name="connsiteY1368" fmla="*/ 1389063 h 1762127"/>
                <a:gd name="connsiteX1369" fmla="*/ 8293777 w 9759834"/>
                <a:gd name="connsiteY1369" fmla="*/ 1354138 h 1762127"/>
                <a:gd name="connsiteX1370" fmla="*/ 8208052 w 9759834"/>
                <a:gd name="connsiteY1370" fmla="*/ 1354138 h 1762127"/>
                <a:gd name="connsiteX1371" fmla="*/ 8242184 w 9759834"/>
                <a:gd name="connsiteY1371" fmla="*/ 1389063 h 1762127"/>
                <a:gd name="connsiteX1372" fmla="*/ 8208052 w 9759834"/>
                <a:gd name="connsiteY1372" fmla="*/ 1423988 h 1762127"/>
                <a:gd name="connsiteX1373" fmla="*/ 8173920 w 9759834"/>
                <a:gd name="connsiteY1373" fmla="*/ 1389063 h 1762127"/>
                <a:gd name="connsiteX1374" fmla="*/ 8208052 w 9759834"/>
                <a:gd name="connsiteY1374" fmla="*/ 1354138 h 1762127"/>
                <a:gd name="connsiteX1375" fmla="*/ 8125502 w 9759834"/>
                <a:gd name="connsiteY1375" fmla="*/ 1354138 h 1762127"/>
                <a:gd name="connsiteX1376" fmla="*/ 8162809 w 9759834"/>
                <a:gd name="connsiteY1376" fmla="*/ 1389063 h 1762127"/>
                <a:gd name="connsiteX1377" fmla="*/ 8125502 w 9759834"/>
                <a:gd name="connsiteY1377" fmla="*/ 1423988 h 1762127"/>
                <a:gd name="connsiteX1378" fmla="*/ 8088195 w 9759834"/>
                <a:gd name="connsiteY1378" fmla="*/ 1389063 h 1762127"/>
                <a:gd name="connsiteX1379" fmla="*/ 8125502 w 9759834"/>
                <a:gd name="connsiteY1379" fmla="*/ 1354138 h 1762127"/>
                <a:gd name="connsiteX1380" fmla="*/ 8042952 w 9759834"/>
                <a:gd name="connsiteY1380" fmla="*/ 1354138 h 1762127"/>
                <a:gd name="connsiteX1381" fmla="*/ 8077084 w 9759834"/>
                <a:gd name="connsiteY1381" fmla="*/ 1389063 h 1762127"/>
                <a:gd name="connsiteX1382" fmla="*/ 8042952 w 9759834"/>
                <a:gd name="connsiteY1382" fmla="*/ 1423988 h 1762127"/>
                <a:gd name="connsiteX1383" fmla="*/ 8008820 w 9759834"/>
                <a:gd name="connsiteY1383" fmla="*/ 1389063 h 1762127"/>
                <a:gd name="connsiteX1384" fmla="*/ 8042952 w 9759834"/>
                <a:gd name="connsiteY1384" fmla="*/ 1354138 h 1762127"/>
                <a:gd name="connsiteX1385" fmla="*/ 7957227 w 9759834"/>
                <a:gd name="connsiteY1385" fmla="*/ 1354138 h 1762127"/>
                <a:gd name="connsiteX1386" fmla="*/ 7991359 w 9759834"/>
                <a:gd name="connsiteY1386" fmla="*/ 1389063 h 1762127"/>
                <a:gd name="connsiteX1387" fmla="*/ 7957227 w 9759834"/>
                <a:gd name="connsiteY1387" fmla="*/ 1423988 h 1762127"/>
                <a:gd name="connsiteX1388" fmla="*/ 7923095 w 9759834"/>
                <a:gd name="connsiteY1388" fmla="*/ 1389063 h 1762127"/>
                <a:gd name="connsiteX1389" fmla="*/ 7957227 w 9759834"/>
                <a:gd name="connsiteY1389" fmla="*/ 1354138 h 1762127"/>
                <a:gd name="connsiteX1390" fmla="*/ 7785777 w 9759834"/>
                <a:gd name="connsiteY1390" fmla="*/ 1354138 h 1762127"/>
                <a:gd name="connsiteX1391" fmla="*/ 7819909 w 9759834"/>
                <a:gd name="connsiteY1391" fmla="*/ 1389063 h 1762127"/>
                <a:gd name="connsiteX1392" fmla="*/ 7785777 w 9759834"/>
                <a:gd name="connsiteY1392" fmla="*/ 1423988 h 1762127"/>
                <a:gd name="connsiteX1393" fmla="*/ 7751645 w 9759834"/>
                <a:gd name="connsiteY1393" fmla="*/ 1389063 h 1762127"/>
                <a:gd name="connsiteX1394" fmla="*/ 7785777 w 9759834"/>
                <a:gd name="connsiteY1394" fmla="*/ 1354138 h 1762127"/>
                <a:gd name="connsiteX1395" fmla="*/ 7706402 w 9759834"/>
                <a:gd name="connsiteY1395" fmla="*/ 1354138 h 1762127"/>
                <a:gd name="connsiteX1396" fmla="*/ 7740534 w 9759834"/>
                <a:gd name="connsiteY1396" fmla="*/ 1389063 h 1762127"/>
                <a:gd name="connsiteX1397" fmla="*/ 7706402 w 9759834"/>
                <a:gd name="connsiteY1397" fmla="*/ 1423988 h 1762127"/>
                <a:gd name="connsiteX1398" fmla="*/ 7672270 w 9759834"/>
                <a:gd name="connsiteY1398" fmla="*/ 1389063 h 1762127"/>
                <a:gd name="connsiteX1399" fmla="*/ 7706402 w 9759834"/>
                <a:gd name="connsiteY1399" fmla="*/ 1354138 h 1762127"/>
                <a:gd name="connsiteX1400" fmla="*/ 7620677 w 9759834"/>
                <a:gd name="connsiteY1400" fmla="*/ 1354138 h 1762127"/>
                <a:gd name="connsiteX1401" fmla="*/ 7654809 w 9759834"/>
                <a:gd name="connsiteY1401" fmla="*/ 1389063 h 1762127"/>
                <a:gd name="connsiteX1402" fmla="*/ 7620677 w 9759834"/>
                <a:gd name="connsiteY1402" fmla="*/ 1423988 h 1762127"/>
                <a:gd name="connsiteX1403" fmla="*/ 7586545 w 9759834"/>
                <a:gd name="connsiteY1403" fmla="*/ 1389063 h 1762127"/>
                <a:gd name="connsiteX1404" fmla="*/ 7620677 w 9759834"/>
                <a:gd name="connsiteY1404" fmla="*/ 1354138 h 1762127"/>
                <a:gd name="connsiteX1405" fmla="*/ 7534952 w 9759834"/>
                <a:gd name="connsiteY1405" fmla="*/ 1354138 h 1762127"/>
                <a:gd name="connsiteX1406" fmla="*/ 7569084 w 9759834"/>
                <a:gd name="connsiteY1406" fmla="*/ 1389063 h 1762127"/>
                <a:gd name="connsiteX1407" fmla="*/ 7534952 w 9759834"/>
                <a:gd name="connsiteY1407" fmla="*/ 1423988 h 1762127"/>
                <a:gd name="connsiteX1408" fmla="*/ 7500820 w 9759834"/>
                <a:gd name="connsiteY1408" fmla="*/ 1389063 h 1762127"/>
                <a:gd name="connsiteX1409" fmla="*/ 7534952 w 9759834"/>
                <a:gd name="connsiteY1409" fmla="*/ 1354138 h 1762127"/>
                <a:gd name="connsiteX1410" fmla="*/ 7449227 w 9759834"/>
                <a:gd name="connsiteY1410" fmla="*/ 1354138 h 1762127"/>
                <a:gd name="connsiteX1411" fmla="*/ 7483359 w 9759834"/>
                <a:gd name="connsiteY1411" fmla="*/ 1389063 h 1762127"/>
                <a:gd name="connsiteX1412" fmla="*/ 7449227 w 9759834"/>
                <a:gd name="connsiteY1412" fmla="*/ 1423988 h 1762127"/>
                <a:gd name="connsiteX1413" fmla="*/ 7415095 w 9759834"/>
                <a:gd name="connsiteY1413" fmla="*/ 1389063 h 1762127"/>
                <a:gd name="connsiteX1414" fmla="*/ 7449227 w 9759834"/>
                <a:gd name="connsiteY1414" fmla="*/ 1354138 h 1762127"/>
                <a:gd name="connsiteX1415" fmla="*/ 7366677 w 9759834"/>
                <a:gd name="connsiteY1415" fmla="*/ 1354138 h 1762127"/>
                <a:gd name="connsiteX1416" fmla="*/ 7403984 w 9759834"/>
                <a:gd name="connsiteY1416" fmla="*/ 1389063 h 1762127"/>
                <a:gd name="connsiteX1417" fmla="*/ 7366677 w 9759834"/>
                <a:gd name="connsiteY1417" fmla="*/ 1423988 h 1762127"/>
                <a:gd name="connsiteX1418" fmla="*/ 7329370 w 9759834"/>
                <a:gd name="connsiteY1418" fmla="*/ 1389063 h 1762127"/>
                <a:gd name="connsiteX1419" fmla="*/ 7366677 w 9759834"/>
                <a:gd name="connsiteY1419" fmla="*/ 1354138 h 1762127"/>
                <a:gd name="connsiteX1420" fmla="*/ 7284127 w 9759834"/>
                <a:gd name="connsiteY1420" fmla="*/ 1354138 h 1762127"/>
                <a:gd name="connsiteX1421" fmla="*/ 7318259 w 9759834"/>
                <a:gd name="connsiteY1421" fmla="*/ 1389063 h 1762127"/>
                <a:gd name="connsiteX1422" fmla="*/ 7284127 w 9759834"/>
                <a:gd name="connsiteY1422" fmla="*/ 1423988 h 1762127"/>
                <a:gd name="connsiteX1423" fmla="*/ 7249995 w 9759834"/>
                <a:gd name="connsiteY1423" fmla="*/ 1389063 h 1762127"/>
                <a:gd name="connsiteX1424" fmla="*/ 7284127 w 9759834"/>
                <a:gd name="connsiteY1424" fmla="*/ 1354138 h 1762127"/>
                <a:gd name="connsiteX1425" fmla="*/ 7198402 w 9759834"/>
                <a:gd name="connsiteY1425" fmla="*/ 1354138 h 1762127"/>
                <a:gd name="connsiteX1426" fmla="*/ 7232534 w 9759834"/>
                <a:gd name="connsiteY1426" fmla="*/ 1389063 h 1762127"/>
                <a:gd name="connsiteX1427" fmla="*/ 7198402 w 9759834"/>
                <a:gd name="connsiteY1427" fmla="*/ 1423988 h 1762127"/>
                <a:gd name="connsiteX1428" fmla="*/ 7164270 w 9759834"/>
                <a:gd name="connsiteY1428" fmla="*/ 1389063 h 1762127"/>
                <a:gd name="connsiteX1429" fmla="*/ 7198402 w 9759834"/>
                <a:gd name="connsiteY1429" fmla="*/ 1354138 h 1762127"/>
                <a:gd name="connsiteX1430" fmla="*/ 7112677 w 9759834"/>
                <a:gd name="connsiteY1430" fmla="*/ 1354138 h 1762127"/>
                <a:gd name="connsiteX1431" fmla="*/ 7146809 w 9759834"/>
                <a:gd name="connsiteY1431" fmla="*/ 1389063 h 1762127"/>
                <a:gd name="connsiteX1432" fmla="*/ 7112677 w 9759834"/>
                <a:gd name="connsiteY1432" fmla="*/ 1423988 h 1762127"/>
                <a:gd name="connsiteX1433" fmla="*/ 7078545 w 9759834"/>
                <a:gd name="connsiteY1433" fmla="*/ 1389063 h 1762127"/>
                <a:gd name="connsiteX1434" fmla="*/ 7112677 w 9759834"/>
                <a:gd name="connsiteY1434" fmla="*/ 1354138 h 1762127"/>
                <a:gd name="connsiteX1435" fmla="*/ 7027745 w 9759834"/>
                <a:gd name="connsiteY1435" fmla="*/ 1354138 h 1762127"/>
                <a:gd name="connsiteX1436" fmla="*/ 7062670 w 9759834"/>
                <a:gd name="connsiteY1436" fmla="*/ 1389063 h 1762127"/>
                <a:gd name="connsiteX1437" fmla="*/ 7027745 w 9759834"/>
                <a:gd name="connsiteY1437" fmla="*/ 1423988 h 1762127"/>
                <a:gd name="connsiteX1438" fmla="*/ 6992820 w 9759834"/>
                <a:gd name="connsiteY1438" fmla="*/ 1389063 h 1762127"/>
                <a:gd name="connsiteX1439" fmla="*/ 7027745 w 9759834"/>
                <a:gd name="connsiteY1439" fmla="*/ 1354138 h 1762127"/>
                <a:gd name="connsiteX1440" fmla="*/ 6947577 w 9759834"/>
                <a:gd name="connsiteY1440" fmla="*/ 1354138 h 1762127"/>
                <a:gd name="connsiteX1441" fmla="*/ 6981709 w 9759834"/>
                <a:gd name="connsiteY1441" fmla="*/ 1389063 h 1762127"/>
                <a:gd name="connsiteX1442" fmla="*/ 6947577 w 9759834"/>
                <a:gd name="connsiteY1442" fmla="*/ 1423988 h 1762127"/>
                <a:gd name="connsiteX1443" fmla="*/ 6913445 w 9759834"/>
                <a:gd name="connsiteY1443" fmla="*/ 1389063 h 1762127"/>
                <a:gd name="connsiteX1444" fmla="*/ 6947577 w 9759834"/>
                <a:gd name="connsiteY1444" fmla="*/ 1354138 h 1762127"/>
                <a:gd name="connsiteX1445" fmla="*/ 6861852 w 9759834"/>
                <a:gd name="connsiteY1445" fmla="*/ 1354138 h 1762127"/>
                <a:gd name="connsiteX1446" fmla="*/ 6895984 w 9759834"/>
                <a:gd name="connsiteY1446" fmla="*/ 1389063 h 1762127"/>
                <a:gd name="connsiteX1447" fmla="*/ 6861852 w 9759834"/>
                <a:gd name="connsiteY1447" fmla="*/ 1423988 h 1762127"/>
                <a:gd name="connsiteX1448" fmla="*/ 6827720 w 9759834"/>
                <a:gd name="connsiteY1448" fmla="*/ 1389063 h 1762127"/>
                <a:gd name="connsiteX1449" fmla="*/ 6861852 w 9759834"/>
                <a:gd name="connsiteY1449" fmla="*/ 1354138 h 1762127"/>
                <a:gd name="connsiteX1450" fmla="*/ 6776127 w 9759834"/>
                <a:gd name="connsiteY1450" fmla="*/ 1354138 h 1762127"/>
                <a:gd name="connsiteX1451" fmla="*/ 6810259 w 9759834"/>
                <a:gd name="connsiteY1451" fmla="*/ 1389063 h 1762127"/>
                <a:gd name="connsiteX1452" fmla="*/ 6776127 w 9759834"/>
                <a:gd name="connsiteY1452" fmla="*/ 1423988 h 1762127"/>
                <a:gd name="connsiteX1453" fmla="*/ 6741995 w 9759834"/>
                <a:gd name="connsiteY1453" fmla="*/ 1389063 h 1762127"/>
                <a:gd name="connsiteX1454" fmla="*/ 6776127 w 9759834"/>
                <a:gd name="connsiteY1454" fmla="*/ 1354138 h 1762127"/>
                <a:gd name="connsiteX1455" fmla="*/ 6691195 w 9759834"/>
                <a:gd name="connsiteY1455" fmla="*/ 1354138 h 1762127"/>
                <a:gd name="connsiteX1456" fmla="*/ 6726120 w 9759834"/>
                <a:gd name="connsiteY1456" fmla="*/ 1389063 h 1762127"/>
                <a:gd name="connsiteX1457" fmla="*/ 6691195 w 9759834"/>
                <a:gd name="connsiteY1457" fmla="*/ 1423988 h 1762127"/>
                <a:gd name="connsiteX1458" fmla="*/ 6656270 w 9759834"/>
                <a:gd name="connsiteY1458" fmla="*/ 1389063 h 1762127"/>
                <a:gd name="connsiteX1459" fmla="*/ 6691195 w 9759834"/>
                <a:gd name="connsiteY1459" fmla="*/ 1354138 h 1762127"/>
                <a:gd name="connsiteX1460" fmla="*/ 6607852 w 9759834"/>
                <a:gd name="connsiteY1460" fmla="*/ 1354138 h 1762127"/>
                <a:gd name="connsiteX1461" fmla="*/ 6645159 w 9759834"/>
                <a:gd name="connsiteY1461" fmla="*/ 1389063 h 1762127"/>
                <a:gd name="connsiteX1462" fmla="*/ 6607852 w 9759834"/>
                <a:gd name="connsiteY1462" fmla="*/ 1423988 h 1762127"/>
                <a:gd name="connsiteX1463" fmla="*/ 6570545 w 9759834"/>
                <a:gd name="connsiteY1463" fmla="*/ 1389063 h 1762127"/>
                <a:gd name="connsiteX1464" fmla="*/ 6607852 w 9759834"/>
                <a:gd name="connsiteY1464" fmla="*/ 1354138 h 1762127"/>
                <a:gd name="connsiteX1465" fmla="*/ 6525302 w 9759834"/>
                <a:gd name="connsiteY1465" fmla="*/ 1354138 h 1762127"/>
                <a:gd name="connsiteX1466" fmla="*/ 6559434 w 9759834"/>
                <a:gd name="connsiteY1466" fmla="*/ 1389063 h 1762127"/>
                <a:gd name="connsiteX1467" fmla="*/ 6525302 w 9759834"/>
                <a:gd name="connsiteY1467" fmla="*/ 1423988 h 1762127"/>
                <a:gd name="connsiteX1468" fmla="*/ 6491170 w 9759834"/>
                <a:gd name="connsiteY1468" fmla="*/ 1389063 h 1762127"/>
                <a:gd name="connsiteX1469" fmla="*/ 6525302 w 9759834"/>
                <a:gd name="connsiteY1469" fmla="*/ 1354138 h 1762127"/>
                <a:gd name="connsiteX1470" fmla="*/ 6439577 w 9759834"/>
                <a:gd name="connsiteY1470" fmla="*/ 1354138 h 1762127"/>
                <a:gd name="connsiteX1471" fmla="*/ 6473709 w 9759834"/>
                <a:gd name="connsiteY1471" fmla="*/ 1389063 h 1762127"/>
                <a:gd name="connsiteX1472" fmla="*/ 6439577 w 9759834"/>
                <a:gd name="connsiteY1472" fmla="*/ 1423988 h 1762127"/>
                <a:gd name="connsiteX1473" fmla="*/ 6405445 w 9759834"/>
                <a:gd name="connsiteY1473" fmla="*/ 1389063 h 1762127"/>
                <a:gd name="connsiteX1474" fmla="*/ 6439577 w 9759834"/>
                <a:gd name="connsiteY1474" fmla="*/ 1354138 h 1762127"/>
                <a:gd name="connsiteX1475" fmla="*/ 6353852 w 9759834"/>
                <a:gd name="connsiteY1475" fmla="*/ 1354138 h 1762127"/>
                <a:gd name="connsiteX1476" fmla="*/ 6387984 w 9759834"/>
                <a:gd name="connsiteY1476" fmla="*/ 1389063 h 1762127"/>
                <a:gd name="connsiteX1477" fmla="*/ 6353852 w 9759834"/>
                <a:gd name="connsiteY1477" fmla="*/ 1423988 h 1762127"/>
                <a:gd name="connsiteX1478" fmla="*/ 6319720 w 9759834"/>
                <a:gd name="connsiteY1478" fmla="*/ 1389063 h 1762127"/>
                <a:gd name="connsiteX1479" fmla="*/ 6353852 w 9759834"/>
                <a:gd name="connsiteY1479" fmla="*/ 1354138 h 1762127"/>
                <a:gd name="connsiteX1480" fmla="*/ 6268920 w 9759834"/>
                <a:gd name="connsiteY1480" fmla="*/ 1354138 h 1762127"/>
                <a:gd name="connsiteX1481" fmla="*/ 6303845 w 9759834"/>
                <a:gd name="connsiteY1481" fmla="*/ 1389063 h 1762127"/>
                <a:gd name="connsiteX1482" fmla="*/ 6268920 w 9759834"/>
                <a:gd name="connsiteY1482" fmla="*/ 1423988 h 1762127"/>
                <a:gd name="connsiteX1483" fmla="*/ 6233995 w 9759834"/>
                <a:gd name="connsiteY1483" fmla="*/ 1389063 h 1762127"/>
                <a:gd name="connsiteX1484" fmla="*/ 6268920 w 9759834"/>
                <a:gd name="connsiteY1484" fmla="*/ 1354138 h 1762127"/>
                <a:gd name="connsiteX1485" fmla="*/ 6188752 w 9759834"/>
                <a:gd name="connsiteY1485" fmla="*/ 1354138 h 1762127"/>
                <a:gd name="connsiteX1486" fmla="*/ 6222884 w 9759834"/>
                <a:gd name="connsiteY1486" fmla="*/ 1389063 h 1762127"/>
                <a:gd name="connsiteX1487" fmla="*/ 6188752 w 9759834"/>
                <a:gd name="connsiteY1487" fmla="*/ 1423988 h 1762127"/>
                <a:gd name="connsiteX1488" fmla="*/ 6154620 w 9759834"/>
                <a:gd name="connsiteY1488" fmla="*/ 1389063 h 1762127"/>
                <a:gd name="connsiteX1489" fmla="*/ 6188752 w 9759834"/>
                <a:gd name="connsiteY1489" fmla="*/ 1354138 h 1762127"/>
                <a:gd name="connsiteX1490" fmla="*/ 6103027 w 9759834"/>
                <a:gd name="connsiteY1490" fmla="*/ 1354138 h 1762127"/>
                <a:gd name="connsiteX1491" fmla="*/ 6137159 w 9759834"/>
                <a:gd name="connsiteY1491" fmla="*/ 1389063 h 1762127"/>
                <a:gd name="connsiteX1492" fmla="*/ 6103027 w 9759834"/>
                <a:gd name="connsiteY1492" fmla="*/ 1423988 h 1762127"/>
                <a:gd name="connsiteX1493" fmla="*/ 6068895 w 9759834"/>
                <a:gd name="connsiteY1493" fmla="*/ 1389063 h 1762127"/>
                <a:gd name="connsiteX1494" fmla="*/ 6103027 w 9759834"/>
                <a:gd name="connsiteY1494" fmla="*/ 1354138 h 1762127"/>
                <a:gd name="connsiteX1495" fmla="*/ 5932370 w 9759834"/>
                <a:gd name="connsiteY1495" fmla="*/ 1354138 h 1762127"/>
                <a:gd name="connsiteX1496" fmla="*/ 5967295 w 9759834"/>
                <a:gd name="connsiteY1496" fmla="*/ 1389063 h 1762127"/>
                <a:gd name="connsiteX1497" fmla="*/ 5932370 w 9759834"/>
                <a:gd name="connsiteY1497" fmla="*/ 1423988 h 1762127"/>
                <a:gd name="connsiteX1498" fmla="*/ 5897445 w 9759834"/>
                <a:gd name="connsiteY1498" fmla="*/ 1389063 h 1762127"/>
                <a:gd name="connsiteX1499" fmla="*/ 5932370 w 9759834"/>
                <a:gd name="connsiteY1499" fmla="*/ 1354138 h 1762127"/>
                <a:gd name="connsiteX1500" fmla="*/ 5849821 w 9759834"/>
                <a:gd name="connsiteY1500" fmla="*/ 1354138 h 1762127"/>
                <a:gd name="connsiteX1501" fmla="*/ 5886334 w 9759834"/>
                <a:gd name="connsiteY1501" fmla="*/ 1389063 h 1762127"/>
                <a:gd name="connsiteX1502" fmla="*/ 5849821 w 9759834"/>
                <a:gd name="connsiteY1502" fmla="*/ 1423988 h 1762127"/>
                <a:gd name="connsiteX1503" fmla="*/ 5813308 w 9759834"/>
                <a:gd name="connsiteY1503" fmla="*/ 1389063 h 1762127"/>
                <a:gd name="connsiteX1504" fmla="*/ 5849821 w 9759834"/>
                <a:gd name="connsiteY1504" fmla="*/ 1354138 h 1762127"/>
                <a:gd name="connsiteX1505" fmla="*/ 5766477 w 9759834"/>
                <a:gd name="connsiteY1505" fmla="*/ 1354138 h 1762127"/>
                <a:gd name="connsiteX1506" fmla="*/ 5800609 w 9759834"/>
                <a:gd name="connsiteY1506" fmla="*/ 1389063 h 1762127"/>
                <a:gd name="connsiteX1507" fmla="*/ 5766477 w 9759834"/>
                <a:gd name="connsiteY1507" fmla="*/ 1423988 h 1762127"/>
                <a:gd name="connsiteX1508" fmla="*/ 5732345 w 9759834"/>
                <a:gd name="connsiteY1508" fmla="*/ 1389063 h 1762127"/>
                <a:gd name="connsiteX1509" fmla="*/ 5766477 w 9759834"/>
                <a:gd name="connsiteY1509" fmla="*/ 1354138 h 1762127"/>
                <a:gd name="connsiteX1510" fmla="*/ 5680752 w 9759834"/>
                <a:gd name="connsiteY1510" fmla="*/ 1354138 h 1762127"/>
                <a:gd name="connsiteX1511" fmla="*/ 5714884 w 9759834"/>
                <a:gd name="connsiteY1511" fmla="*/ 1389063 h 1762127"/>
                <a:gd name="connsiteX1512" fmla="*/ 5680752 w 9759834"/>
                <a:gd name="connsiteY1512" fmla="*/ 1423988 h 1762127"/>
                <a:gd name="connsiteX1513" fmla="*/ 5646620 w 9759834"/>
                <a:gd name="connsiteY1513" fmla="*/ 1389063 h 1762127"/>
                <a:gd name="connsiteX1514" fmla="*/ 5680752 w 9759834"/>
                <a:gd name="connsiteY1514" fmla="*/ 1354138 h 1762127"/>
                <a:gd name="connsiteX1515" fmla="*/ 5429927 w 9759834"/>
                <a:gd name="connsiteY1515" fmla="*/ 1354138 h 1762127"/>
                <a:gd name="connsiteX1516" fmla="*/ 5464059 w 9759834"/>
                <a:gd name="connsiteY1516" fmla="*/ 1389063 h 1762127"/>
                <a:gd name="connsiteX1517" fmla="*/ 5429927 w 9759834"/>
                <a:gd name="connsiteY1517" fmla="*/ 1423988 h 1762127"/>
                <a:gd name="connsiteX1518" fmla="*/ 5395795 w 9759834"/>
                <a:gd name="connsiteY1518" fmla="*/ 1389063 h 1762127"/>
                <a:gd name="connsiteX1519" fmla="*/ 5429927 w 9759834"/>
                <a:gd name="connsiteY1519" fmla="*/ 1354138 h 1762127"/>
                <a:gd name="connsiteX1520" fmla="*/ 5344202 w 9759834"/>
                <a:gd name="connsiteY1520" fmla="*/ 1354138 h 1762127"/>
                <a:gd name="connsiteX1521" fmla="*/ 5378334 w 9759834"/>
                <a:gd name="connsiteY1521" fmla="*/ 1389063 h 1762127"/>
                <a:gd name="connsiteX1522" fmla="*/ 5344202 w 9759834"/>
                <a:gd name="connsiteY1522" fmla="*/ 1423988 h 1762127"/>
                <a:gd name="connsiteX1523" fmla="*/ 5310070 w 9759834"/>
                <a:gd name="connsiteY1523" fmla="*/ 1389063 h 1762127"/>
                <a:gd name="connsiteX1524" fmla="*/ 5344202 w 9759834"/>
                <a:gd name="connsiteY1524" fmla="*/ 1354138 h 1762127"/>
                <a:gd name="connsiteX1525" fmla="*/ 5173545 w 9759834"/>
                <a:gd name="connsiteY1525" fmla="*/ 1354138 h 1762127"/>
                <a:gd name="connsiteX1526" fmla="*/ 5208470 w 9759834"/>
                <a:gd name="connsiteY1526" fmla="*/ 1389063 h 1762127"/>
                <a:gd name="connsiteX1527" fmla="*/ 5173545 w 9759834"/>
                <a:gd name="connsiteY1527" fmla="*/ 1423988 h 1762127"/>
                <a:gd name="connsiteX1528" fmla="*/ 5138620 w 9759834"/>
                <a:gd name="connsiteY1528" fmla="*/ 1389063 h 1762127"/>
                <a:gd name="connsiteX1529" fmla="*/ 5173545 w 9759834"/>
                <a:gd name="connsiteY1529" fmla="*/ 1354138 h 1762127"/>
                <a:gd name="connsiteX1530" fmla="*/ 3234414 w 9759834"/>
                <a:gd name="connsiteY1530" fmla="*/ 1354138 h 1762127"/>
                <a:gd name="connsiteX1531" fmla="*/ 3268546 w 9759834"/>
                <a:gd name="connsiteY1531" fmla="*/ 1389063 h 1762127"/>
                <a:gd name="connsiteX1532" fmla="*/ 3234414 w 9759834"/>
                <a:gd name="connsiteY1532" fmla="*/ 1423988 h 1762127"/>
                <a:gd name="connsiteX1533" fmla="*/ 3200282 w 9759834"/>
                <a:gd name="connsiteY1533" fmla="*/ 1389063 h 1762127"/>
                <a:gd name="connsiteX1534" fmla="*/ 3234414 w 9759834"/>
                <a:gd name="connsiteY1534" fmla="*/ 1354138 h 1762127"/>
                <a:gd name="connsiteX1535" fmla="*/ 3153452 w 9759834"/>
                <a:gd name="connsiteY1535" fmla="*/ 1354138 h 1762127"/>
                <a:gd name="connsiteX1536" fmla="*/ 3187584 w 9759834"/>
                <a:gd name="connsiteY1536" fmla="*/ 1389063 h 1762127"/>
                <a:gd name="connsiteX1537" fmla="*/ 3153452 w 9759834"/>
                <a:gd name="connsiteY1537" fmla="*/ 1423988 h 1762127"/>
                <a:gd name="connsiteX1538" fmla="*/ 3119320 w 9759834"/>
                <a:gd name="connsiteY1538" fmla="*/ 1389063 h 1762127"/>
                <a:gd name="connsiteX1539" fmla="*/ 3153452 w 9759834"/>
                <a:gd name="connsiteY1539" fmla="*/ 1354138 h 1762127"/>
                <a:gd name="connsiteX1540" fmla="*/ 3068520 w 9759834"/>
                <a:gd name="connsiteY1540" fmla="*/ 1354138 h 1762127"/>
                <a:gd name="connsiteX1541" fmla="*/ 3103445 w 9759834"/>
                <a:gd name="connsiteY1541" fmla="*/ 1389063 h 1762127"/>
                <a:gd name="connsiteX1542" fmla="*/ 3068520 w 9759834"/>
                <a:gd name="connsiteY1542" fmla="*/ 1423988 h 1762127"/>
                <a:gd name="connsiteX1543" fmla="*/ 3033595 w 9759834"/>
                <a:gd name="connsiteY1543" fmla="*/ 1389063 h 1762127"/>
                <a:gd name="connsiteX1544" fmla="*/ 3068520 w 9759834"/>
                <a:gd name="connsiteY1544" fmla="*/ 1354138 h 1762127"/>
                <a:gd name="connsiteX1545" fmla="*/ 2983589 w 9759834"/>
                <a:gd name="connsiteY1545" fmla="*/ 1354138 h 1762127"/>
                <a:gd name="connsiteX1546" fmla="*/ 3017721 w 9759834"/>
                <a:gd name="connsiteY1546" fmla="*/ 1389063 h 1762127"/>
                <a:gd name="connsiteX1547" fmla="*/ 2983589 w 9759834"/>
                <a:gd name="connsiteY1547" fmla="*/ 1423988 h 1762127"/>
                <a:gd name="connsiteX1548" fmla="*/ 2949457 w 9759834"/>
                <a:gd name="connsiteY1548" fmla="*/ 1389063 h 1762127"/>
                <a:gd name="connsiteX1549" fmla="*/ 2983589 w 9759834"/>
                <a:gd name="connsiteY1549" fmla="*/ 1354138 h 1762127"/>
                <a:gd name="connsiteX1550" fmla="*/ 2897864 w 9759834"/>
                <a:gd name="connsiteY1550" fmla="*/ 1354138 h 1762127"/>
                <a:gd name="connsiteX1551" fmla="*/ 2931996 w 9759834"/>
                <a:gd name="connsiteY1551" fmla="*/ 1389063 h 1762127"/>
                <a:gd name="connsiteX1552" fmla="*/ 2897864 w 9759834"/>
                <a:gd name="connsiteY1552" fmla="*/ 1423988 h 1762127"/>
                <a:gd name="connsiteX1553" fmla="*/ 2863732 w 9759834"/>
                <a:gd name="connsiteY1553" fmla="*/ 1389063 h 1762127"/>
                <a:gd name="connsiteX1554" fmla="*/ 2897864 w 9759834"/>
                <a:gd name="connsiteY1554" fmla="*/ 1354138 h 1762127"/>
                <a:gd name="connsiteX1555" fmla="*/ 2475754 w 9759834"/>
                <a:gd name="connsiteY1555" fmla="*/ 1354138 h 1762127"/>
                <a:gd name="connsiteX1556" fmla="*/ 2509883 w 9759834"/>
                <a:gd name="connsiteY1556" fmla="*/ 1389063 h 1762127"/>
                <a:gd name="connsiteX1557" fmla="*/ 2475754 w 9759834"/>
                <a:gd name="connsiteY1557" fmla="*/ 1423988 h 1762127"/>
                <a:gd name="connsiteX1558" fmla="*/ 2441619 w 9759834"/>
                <a:gd name="connsiteY1558" fmla="*/ 1389063 h 1762127"/>
                <a:gd name="connsiteX1559" fmla="*/ 2475754 w 9759834"/>
                <a:gd name="connsiteY1559" fmla="*/ 1354138 h 1762127"/>
                <a:gd name="connsiteX1560" fmla="*/ 2394790 w 9759834"/>
                <a:gd name="connsiteY1560" fmla="*/ 1354138 h 1762127"/>
                <a:gd name="connsiteX1561" fmla="*/ 2428919 w 9759834"/>
                <a:gd name="connsiteY1561" fmla="*/ 1389063 h 1762127"/>
                <a:gd name="connsiteX1562" fmla="*/ 2394790 w 9759834"/>
                <a:gd name="connsiteY1562" fmla="*/ 1423988 h 1762127"/>
                <a:gd name="connsiteX1563" fmla="*/ 2360656 w 9759834"/>
                <a:gd name="connsiteY1563" fmla="*/ 1389063 h 1762127"/>
                <a:gd name="connsiteX1564" fmla="*/ 2394790 w 9759834"/>
                <a:gd name="connsiteY1564" fmla="*/ 1354138 h 1762127"/>
                <a:gd name="connsiteX1565" fmla="*/ 2309856 w 9759834"/>
                <a:gd name="connsiteY1565" fmla="*/ 1354138 h 1762127"/>
                <a:gd name="connsiteX1566" fmla="*/ 2344781 w 9759834"/>
                <a:gd name="connsiteY1566" fmla="*/ 1389063 h 1762127"/>
                <a:gd name="connsiteX1567" fmla="*/ 2309856 w 9759834"/>
                <a:gd name="connsiteY1567" fmla="*/ 1423988 h 1762127"/>
                <a:gd name="connsiteX1568" fmla="*/ 2274920 w 9759834"/>
                <a:gd name="connsiteY1568" fmla="*/ 1389063 h 1762127"/>
                <a:gd name="connsiteX1569" fmla="*/ 2309856 w 9759834"/>
                <a:gd name="connsiteY1569" fmla="*/ 1354138 h 1762127"/>
                <a:gd name="connsiteX1570" fmla="*/ 2224919 w 9759834"/>
                <a:gd name="connsiteY1570" fmla="*/ 1354138 h 1762127"/>
                <a:gd name="connsiteX1571" fmla="*/ 2259040 w 9759834"/>
                <a:gd name="connsiteY1571" fmla="*/ 1389063 h 1762127"/>
                <a:gd name="connsiteX1572" fmla="*/ 2224919 w 9759834"/>
                <a:gd name="connsiteY1572" fmla="*/ 1423988 h 1762127"/>
                <a:gd name="connsiteX1573" fmla="*/ 2190786 w 9759834"/>
                <a:gd name="connsiteY1573" fmla="*/ 1389063 h 1762127"/>
                <a:gd name="connsiteX1574" fmla="*/ 2224919 w 9759834"/>
                <a:gd name="connsiteY1574" fmla="*/ 1354138 h 1762127"/>
                <a:gd name="connsiteX1575" fmla="*/ 2139203 w 9759834"/>
                <a:gd name="connsiteY1575" fmla="*/ 1354138 h 1762127"/>
                <a:gd name="connsiteX1576" fmla="*/ 2173331 w 9759834"/>
                <a:gd name="connsiteY1576" fmla="*/ 1389063 h 1762127"/>
                <a:gd name="connsiteX1577" fmla="*/ 2139203 w 9759834"/>
                <a:gd name="connsiteY1577" fmla="*/ 1423988 h 1762127"/>
                <a:gd name="connsiteX1578" fmla="*/ 2105064 w 9759834"/>
                <a:gd name="connsiteY1578" fmla="*/ 1389063 h 1762127"/>
                <a:gd name="connsiteX1579" fmla="*/ 2139203 w 9759834"/>
                <a:gd name="connsiteY1579" fmla="*/ 1354138 h 1762127"/>
                <a:gd name="connsiteX1580" fmla="*/ 2055704 w 9759834"/>
                <a:gd name="connsiteY1580" fmla="*/ 1354138 h 1762127"/>
                <a:gd name="connsiteX1581" fmla="*/ 2092218 w 9759834"/>
                <a:gd name="connsiteY1581" fmla="*/ 1389063 h 1762127"/>
                <a:gd name="connsiteX1582" fmla="*/ 2055704 w 9759834"/>
                <a:gd name="connsiteY1582" fmla="*/ 1423988 h 1762127"/>
                <a:gd name="connsiteX1583" fmla="*/ 2019192 w 9759834"/>
                <a:gd name="connsiteY1583" fmla="*/ 1389063 h 1762127"/>
                <a:gd name="connsiteX1584" fmla="*/ 2055704 w 9759834"/>
                <a:gd name="connsiteY1584" fmla="*/ 1354138 h 1762127"/>
                <a:gd name="connsiteX1585" fmla="*/ 1973161 w 9759834"/>
                <a:gd name="connsiteY1585" fmla="*/ 1354138 h 1762127"/>
                <a:gd name="connsiteX1586" fmla="*/ 2008085 w 9759834"/>
                <a:gd name="connsiteY1586" fmla="*/ 1389063 h 1762127"/>
                <a:gd name="connsiteX1587" fmla="*/ 1973161 w 9759834"/>
                <a:gd name="connsiteY1587" fmla="*/ 1423988 h 1762127"/>
                <a:gd name="connsiteX1588" fmla="*/ 1938236 w 9759834"/>
                <a:gd name="connsiteY1588" fmla="*/ 1389063 h 1762127"/>
                <a:gd name="connsiteX1589" fmla="*/ 1973161 w 9759834"/>
                <a:gd name="connsiteY1589" fmla="*/ 1354138 h 1762127"/>
                <a:gd name="connsiteX1590" fmla="*/ 1888231 w 9759834"/>
                <a:gd name="connsiteY1590" fmla="*/ 1354138 h 1762127"/>
                <a:gd name="connsiteX1591" fmla="*/ 1922362 w 9759834"/>
                <a:gd name="connsiteY1591" fmla="*/ 1389063 h 1762127"/>
                <a:gd name="connsiteX1592" fmla="*/ 1888231 w 9759834"/>
                <a:gd name="connsiteY1592" fmla="*/ 1423988 h 1762127"/>
                <a:gd name="connsiteX1593" fmla="*/ 1854099 w 9759834"/>
                <a:gd name="connsiteY1593" fmla="*/ 1389063 h 1762127"/>
                <a:gd name="connsiteX1594" fmla="*/ 1888231 w 9759834"/>
                <a:gd name="connsiteY1594" fmla="*/ 1354138 h 1762127"/>
                <a:gd name="connsiteX1595" fmla="*/ 1802511 w 9759834"/>
                <a:gd name="connsiteY1595" fmla="*/ 1354138 h 1762127"/>
                <a:gd name="connsiteX1596" fmla="*/ 1836643 w 9759834"/>
                <a:gd name="connsiteY1596" fmla="*/ 1389063 h 1762127"/>
                <a:gd name="connsiteX1597" fmla="*/ 1802511 w 9759834"/>
                <a:gd name="connsiteY1597" fmla="*/ 1423988 h 1762127"/>
                <a:gd name="connsiteX1598" fmla="*/ 1768379 w 9759834"/>
                <a:gd name="connsiteY1598" fmla="*/ 1389063 h 1762127"/>
                <a:gd name="connsiteX1599" fmla="*/ 1802511 w 9759834"/>
                <a:gd name="connsiteY1599" fmla="*/ 1354138 h 1762127"/>
                <a:gd name="connsiteX1600" fmla="*/ 1719168 w 9759834"/>
                <a:gd name="connsiteY1600" fmla="*/ 1354138 h 1762127"/>
                <a:gd name="connsiteX1601" fmla="*/ 1755682 w 9759834"/>
                <a:gd name="connsiteY1601" fmla="*/ 1389063 h 1762127"/>
                <a:gd name="connsiteX1602" fmla="*/ 1719168 w 9759834"/>
                <a:gd name="connsiteY1602" fmla="*/ 1423988 h 1762127"/>
                <a:gd name="connsiteX1603" fmla="*/ 1682655 w 9759834"/>
                <a:gd name="connsiteY1603" fmla="*/ 1389063 h 1762127"/>
                <a:gd name="connsiteX1604" fmla="*/ 1719168 w 9759834"/>
                <a:gd name="connsiteY1604" fmla="*/ 1354138 h 1762127"/>
                <a:gd name="connsiteX1605" fmla="*/ 1636604 w 9759834"/>
                <a:gd name="connsiteY1605" fmla="*/ 1354138 h 1762127"/>
                <a:gd name="connsiteX1606" fmla="*/ 1671530 w 9759834"/>
                <a:gd name="connsiteY1606" fmla="*/ 1389063 h 1762127"/>
                <a:gd name="connsiteX1607" fmla="*/ 1636604 w 9759834"/>
                <a:gd name="connsiteY1607" fmla="*/ 1423988 h 1762127"/>
                <a:gd name="connsiteX1608" fmla="*/ 1601679 w 9759834"/>
                <a:gd name="connsiteY1608" fmla="*/ 1389063 h 1762127"/>
                <a:gd name="connsiteX1609" fmla="*/ 1636604 w 9759834"/>
                <a:gd name="connsiteY1609" fmla="*/ 1354138 h 1762127"/>
                <a:gd name="connsiteX1610" fmla="*/ 1551678 w 9759834"/>
                <a:gd name="connsiteY1610" fmla="*/ 1354138 h 1762127"/>
                <a:gd name="connsiteX1611" fmla="*/ 1585810 w 9759834"/>
                <a:gd name="connsiteY1611" fmla="*/ 1389063 h 1762127"/>
                <a:gd name="connsiteX1612" fmla="*/ 1551678 w 9759834"/>
                <a:gd name="connsiteY1612" fmla="*/ 1423988 h 1762127"/>
                <a:gd name="connsiteX1613" fmla="*/ 1517546 w 9759834"/>
                <a:gd name="connsiteY1613" fmla="*/ 1389063 h 1762127"/>
                <a:gd name="connsiteX1614" fmla="*/ 1551678 w 9759834"/>
                <a:gd name="connsiteY1614" fmla="*/ 1354138 h 1762127"/>
                <a:gd name="connsiteX1615" fmla="*/ 1465953 w 9759834"/>
                <a:gd name="connsiteY1615" fmla="*/ 1354138 h 1762127"/>
                <a:gd name="connsiteX1616" fmla="*/ 1500085 w 9759834"/>
                <a:gd name="connsiteY1616" fmla="*/ 1389063 h 1762127"/>
                <a:gd name="connsiteX1617" fmla="*/ 1465953 w 9759834"/>
                <a:gd name="connsiteY1617" fmla="*/ 1423988 h 1762127"/>
                <a:gd name="connsiteX1618" fmla="*/ 1431821 w 9759834"/>
                <a:gd name="connsiteY1618" fmla="*/ 1389063 h 1762127"/>
                <a:gd name="connsiteX1619" fmla="*/ 1465953 w 9759834"/>
                <a:gd name="connsiteY1619" fmla="*/ 1354138 h 1762127"/>
                <a:gd name="connsiteX1620" fmla="*/ 1380392 w 9759834"/>
                <a:gd name="connsiteY1620" fmla="*/ 1354138 h 1762127"/>
                <a:gd name="connsiteX1621" fmla="*/ 1414522 w 9759834"/>
                <a:gd name="connsiteY1621" fmla="*/ 1389063 h 1762127"/>
                <a:gd name="connsiteX1622" fmla="*/ 1380392 w 9759834"/>
                <a:gd name="connsiteY1622" fmla="*/ 1423988 h 1762127"/>
                <a:gd name="connsiteX1623" fmla="*/ 1346258 w 9759834"/>
                <a:gd name="connsiteY1623" fmla="*/ 1389063 h 1762127"/>
                <a:gd name="connsiteX1624" fmla="*/ 1380392 w 9759834"/>
                <a:gd name="connsiteY1624" fmla="*/ 1354138 h 1762127"/>
                <a:gd name="connsiteX1625" fmla="*/ 9474877 w 9759834"/>
                <a:gd name="connsiteY1625" fmla="*/ 1274763 h 1762127"/>
                <a:gd name="connsiteX1626" fmla="*/ 9509009 w 9759834"/>
                <a:gd name="connsiteY1626" fmla="*/ 1308895 h 1762127"/>
                <a:gd name="connsiteX1627" fmla="*/ 9474877 w 9759834"/>
                <a:gd name="connsiteY1627" fmla="*/ 1343027 h 1762127"/>
                <a:gd name="connsiteX1628" fmla="*/ 9440745 w 9759834"/>
                <a:gd name="connsiteY1628" fmla="*/ 1308895 h 1762127"/>
                <a:gd name="connsiteX1629" fmla="*/ 9474877 w 9759834"/>
                <a:gd name="connsiteY1629" fmla="*/ 1274763 h 1762127"/>
                <a:gd name="connsiteX1630" fmla="*/ 8801777 w 9759834"/>
                <a:gd name="connsiteY1630" fmla="*/ 1274763 h 1762127"/>
                <a:gd name="connsiteX1631" fmla="*/ 8835909 w 9759834"/>
                <a:gd name="connsiteY1631" fmla="*/ 1308895 h 1762127"/>
                <a:gd name="connsiteX1632" fmla="*/ 8801777 w 9759834"/>
                <a:gd name="connsiteY1632" fmla="*/ 1343027 h 1762127"/>
                <a:gd name="connsiteX1633" fmla="*/ 8767645 w 9759834"/>
                <a:gd name="connsiteY1633" fmla="*/ 1308895 h 1762127"/>
                <a:gd name="connsiteX1634" fmla="*/ 8801777 w 9759834"/>
                <a:gd name="connsiteY1634" fmla="*/ 1274763 h 1762127"/>
                <a:gd name="connsiteX1635" fmla="*/ 8716052 w 9759834"/>
                <a:gd name="connsiteY1635" fmla="*/ 1274763 h 1762127"/>
                <a:gd name="connsiteX1636" fmla="*/ 8750184 w 9759834"/>
                <a:gd name="connsiteY1636" fmla="*/ 1308895 h 1762127"/>
                <a:gd name="connsiteX1637" fmla="*/ 8716052 w 9759834"/>
                <a:gd name="connsiteY1637" fmla="*/ 1343027 h 1762127"/>
                <a:gd name="connsiteX1638" fmla="*/ 8681920 w 9759834"/>
                <a:gd name="connsiteY1638" fmla="*/ 1308895 h 1762127"/>
                <a:gd name="connsiteX1639" fmla="*/ 8716052 w 9759834"/>
                <a:gd name="connsiteY1639" fmla="*/ 1274763 h 1762127"/>
                <a:gd name="connsiteX1640" fmla="*/ 8630327 w 9759834"/>
                <a:gd name="connsiteY1640" fmla="*/ 1274763 h 1762127"/>
                <a:gd name="connsiteX1641" fmla="*/ 8664459 w 9759834"/>
                <a:gd name="connsiteY1641" fmla="*/ 1308895 h 1762127"/>
                <a:gd name="connsiteX1642" fmla="*/ 8630327 w 9759834"/>
                <a:gd name="connsiteY1642" fmla="*/ 1343027 h 1762127"/>
                <a:gd name="connsiteX1643" fmla="*/ 8596195 w 9759834"/>
                <a:gd name="connsiteY1643" fmla="*/ 1308895 h 1762127"/>
                <a:gd name="connsiteX1644" fmla="*/ 8630327 w 9759834"/>
                <a:gd name="connsiteY1644" fmla="*/ 1274763 h 1762127"/>
                <a:gd name="connsiteX1645" fmla="*/ 8544602 w 9759834"/>
                <a:gd name="connsiteY1645" fmla="*/ 1274763 h 1762127"/>
                <a:gd name="connsiteX1646" fmla="*/ 8578734 w 9759834"/>
                <a:gd name="connsiteY1646" fmla="*/ 1308895 h 1762127"/>
                <a:gd name="connsiteX1647" fmla="*/ 8544602 w 9759834"/>
                <a:gd name="connsiteY1647" fmla="*/ 1343027 h 1762127"/>
                <a:gd name="connsiteX1648" fmla="*/ 8510470 w 9759834"/>
                <a:gd name="connsiteY1648" fmla="*/ 1308895 h 1762127"/>
                <a:gd name="connsiteX1649" fmla="*/ 8544602 w 9759834"/>
                <a:gd name="connsiteY1649" fmla="*/ 1274763 h 1762127"/>
                <a:gd name="connsiteX1650" fmla="*/ 8465227 w 9759834"/>
                <a:gd name="connsiteY1650" fmla="*/ 1274763 h 1762127"/>
                <a:gd name="connsiteX1651" fmla="*/ 8499359 w 9759834"/>
                <a:gd name="connsiteY1651" fmla="*/ 1308895 h 1762127"/>
                <a:gd name="connsiteX1652" fmla="*/ 8465227 w 9759834"/>
                <a:gd name="connsiteY1652" fmla="*/ 1343027 h 1762127"/>
                <a:gd name="connsiteX1653" fmla="*/ 8431095 w 9759834"/>
                <a:gd name="connsiteY1653" fmla="*/ 1308895 h 1762127"/>
                <a:gd name="connsiteX1654" fmla="*/ 8465227 w 9759834"/>
                <a:gd name="connsiteY1654" fmla="*/ 1274763 h 1762127"/>
                <a:gd name="connsiteX1655" fmla="*/ 8379502 w 9759834"/>
                <a:gd name="connsiteY1655" fmla="*/ 1274763 h 1762127"/>
                <a:gd name="connsiteX1656" fmla="*/ 8413634 w 9759834"/>
                <a:gd name="connsiteY1656" fmla="*/ 1308895 h 1762127"/>
                <a:gd name="connsiteX1657" fmla="*/ 8379502 w 9759834"/>
                <a:gd name="connsiteY1657" fmla="*/ 1343027 h 1762127"/>
                <a:gd name="connsiteX1658" fmla="*/ 8345370 w 9759834"/>
                <a:gd name="connsiteY1658" fmla="*/ 1308895 h 1762127"/>
                <a:gd name="connsiteX1659" fmla="*/ 8379502 w 9759834"/>
                <a:gd name="connsiteY1659" fmla="*/ 1274763 h 1762127"/>
                <a:gd name="connsiteX1660" fmla="*/ 8293777 w 9759834"/>
                <a:gd name="connsiteY1660" fmla="*/ 1274763 h 1762127"/>
                <a:gd name="connsiteX1661" fmla="*/ 8327909 w 9759834"/>
                <a:gd name="connsiteY1661" fmla="*/ 1308895 h 1762127"/>
                <a:gd name="connsiteX1662" fmla="*/ 8293777 w 9759834"/>
                <a:gd name="connsiteY1662" fmla="*/ 1343027 h 1762127"/>
                <a:gd name="connsiteX1663" fmla="*/ 8259645 w 9759834"/>
                <a:gd name="connsiteY1663" fmla="*/ 1308895 h 1762127"/>
                <a:gd name="connsiteX1664" fmla="*/ 8293777 w 9759834"/>
                <a:gd name="connsiteY1664" fmla="*/ 1274763 h 1762127"/>
                <a:gd name="connsiteX1665" fmla="*/ 8208052 w 9759834"/>
                <a:gd name="connsiteY1665" fmla="*/ 1274763 h 1762127"/>
                <a:gd name="connsiteX1666" fmla="*/ 8242184 w 9759834"/>
                <a:gd name="connsiteY1666" fmla="*/ 1308895 h 1762127"/>
                <a:gd name="connsiteX1667" fmla="*/ 8208052 w 9759834"/>
                <a:gd name="connsiteY1667" fmla="*/ 1343027 h 1762127"/>
                <a:gd name="connsiteX1668" fmla="*/ 8173920 w 9759834"/>
                <a:gd name="connsiteY1668" fmla="*/ 1308895 h 1762127"/>
                <a:gd name="connsiteX1669" fmla="*/ 8208052 w 9759834"/>
                <a:gd name="connsiteY1669" fmla="*/ 1274763 h 1762127"/>
                <a:gd name="connsiteX1670" fmla="*/ 8125502 w 9759834"/>
                <a:gd name="connsiteY1670" fmla="*/ 1274763 h 1762127"/>
                <a:gd name="connsiteX1671" fmla="*/ 8162809 w 9759834"/>
                <a:gd name="connsiteY1671" fmla="*/ 1308895 h 1762127"/>
                <a:gd name="connsiteX1672" fmla="*/ 8125502 w 9759834"/>
                <a:gd name="connsiteY1672" fmla="*/ 1343027 h 1762127"/>
                <a:gd name="connsiteX1673" fmla="*/ 8088195 w 9759834"/>
                <a:gd name="connsiteY1673" fmla="*/ 1308895 h 1762127"/>
                <a:gd name="connsiteX1674" fmla="*/ 8125502 w 9759834"/>
                <a:gd name="connsiteY1674" fmla="*/ 1274763 h 1762127"/>
                <a:gd name="connsiteX1675" fmla="*/ 8042952 w 9759834"/>
                <a:gd name="connsiteY1675" fmla="*/ 1274763 h 1762127"/>
                <a:gd name="connsiteX1676" fmla="*/ 8077084 w 9759834"/>
                <a:gd name="connsiteY1676" fmla="*/ 1308895 h 1762127"/>
                <a:gd name="connsiteX1677" fmla="*/ 8042952 w 9759834"/>
                <a:gd name="connsiteY1677" fmla="*/ 1343027 h 1762127"/>
                <a:gd name="connsiteX1678" fmla="*/ 8008820 w 9759834"/>
                <a:gd name="connsiteY1678" fmla="*/ 1308895 h 1762127"/>
                <a:gd name="connsiteX1679" fmla="*/ 8042952 w 9759834"/>
                <a:gd name="connsiteY1679" fmla="*/ 1274763 h 1762127"/>
                <a:gd name="connsiteX1680" fmla="*/ 7957227 w 9759834"/>
                <a:gd name="connsiteY1680" fmla="*/ 1274763 h 1762127"/>
                <a:gd name="connsiteX1681" fmla="*/ 7991359 w 9759834"/>
                <a:gd name="connsiteY1681" fmla="*/ 1308895 h 1762127"/>
                <a:gd name="connsiteX1682" fmla="*/ 7957227 w 9759834"/>
                <a:gd name="connsiteY1682" fmla="*/ 1343027 h 1762127"/>
                <a:gd name="connsiteX1683" fmla="*/ 7923095 w 9759834"/>
                <a:gd name="connsiteY1683" fmla="*/ 1308895 h 1762127"/>
                <a:gd name="connsiteX1684" fmla="*/ 7957227 w 9759834"/>
                <a:gd name="connsiteY1684" fmla="*/ 1274763 h 1762127"/>
                <a:gd name="connsiteX1685" fmla="*/ 7871502 w 9759834"/>
                <a:gd name="connsiteY1685" fmla="*/ 1274763 h 1762127"/>
                <a:gd name="connsiteX1686" fmla="*/ 7905634 w 9759834"/>
                <a:gd name="connsiteY1686" fmla="*/ 1308895 h 1762127"/>
                <a:gd name="connsiteX1687" fmla="*/ 7871502 w 9759834"/>
                <a:gd name="connsiteY1687" fmla="*/ 1343027 h 1762127"/>
                <a:gd name="connsiteX1688" fmla="*/ 7837370 w 9759834"/>
                <a:gd name="connsiteY1688" fmla="*/ 1308895 h 1762127"/>
                <a:gd name="connsiteX1689" fmla="*/ 7871502 w 9759834"/>
                <a:gd name="connsiteY1689" fmla="*/ 1274763 h 1762127"/>
                <a:gd name="connsiteX1690" fmla="*/ 7785777 w 9759834"/>
                <a:gd name="connsiteY1690" fmla="*/ 1274763 h 1762127"/>
                <a:gd name="connsiteX1691" fmla="*/ 7819909 w 9759834"/>
                <a:gd name="connsiteY1691" fmla="*/ 1308895 h 1762127"/>
                <a:gd name="connsiteX1692" fmla="*/ 7785777 w 9759834"/>
                <a:gd name="connsiteY1692" fmla="*/ 1343027 h 1762127"/>
                <a:gd name="connsiteX1693" fmla="*/ 7751645 w 9759834"/>
                <a:gd name="connsiteY1693" fmla="*/ 1308895 h 1762127"/>
                <a:gd name="connsiteX1694" fmla="*/ 7785777 w 9759834"/>
                <a:gd name="connsiteY1694" fmla="*/ 1274763 h 1762127"/>
                <a:gd name="connsiteX1695" fmla="*/ 7706402 w 9759834"/>
                <a:gd name="connsiteY1695" fmla="*/ 1274763 h 1762127"/>
                <a:gd name="connsiteX1696" fmla="*/ 7740534 w 9759834"/>
                <a:gd name="connsiteY1696" fmla="*/ 1308895 h 1762127"/>
                <a:gd name="connsiteX1697" fmla="*/ 7706402 w 9759834"/>
                <a:gd name="connsiteY1697" fmla="*/ 1343027 h 1762127"/>
                <a:gd name="connsiteX1698" fmla="*/ 7672270 w 9759834"/>
                <a:gd name="connsiteY1698" fmla="*/ 1308895 h 1762127"/>
                <a:gd name="connsiteX1699" fmla="*/ 7706402 w 9759834"/>
                <a:gd name="connsiteY1699" fmla="*/ 1274763 h 1762127"/>
                <a:gd name="connsiteX1700" fmla="*/ 7620677 w 9759834"/>
                <a:gd name="connsiteY1700" fmla="*/ 1274763 h 1762127"/>
                <a:gd name="connsiteX1701" fmla="*/ 7654809 w 9759834"/>
                <a:gd name="connsiteY1701" fmla="*/ 1308895 h 1762127"/>
                <a:gd name="connsiteX1702" fmla="*/ 7620677 w 9759834"/>
                <a:gd name="connsiteY1702" fmla="*/ 1343027 h 1762127"/>
                <a:gd name="connsiteX1703" fmla="*/ 7586545 w 9759834"/>
                <a:gd name="connsiteY1703" fmla="*/ 1308895 h 1762127"/>
                <a:gd name="connsiteX1704" fmla="*/ 7620677 w 9759834"/>
                <a:gd name="connsiteY1704" fmla="*/ 1274763 h 1762127"/>
                <a:gd name="connsiteX1705" fmla="*/ 7534952 w 9759834"/>
                <a:gd name="connsiteY1705" fmla="*/ 1274763 h 1762127"/>
                <a:gd name="connsiteX1706" fmla="*/ 7569084 w 9759834"/>
                <a:gd name="connsiteY1706" fmla="*/ 1308895 h 1762127"/>
                <a:gd name="connsiteX1707" fmla="*/ 7534952 w 9759834"/>
                <a:gd name="connsiteY1707" fmla="*/ 1343027 h 1762127"/>
                <a:gd name="connsiteX1708" fmla="*/ 7500820 w 9759834"/>
                <a:gd name="connsiteY1708" fmla="*/ 1308895 h 1762127"/>
                <a:gd name="connsiteX1709" fmla="*/ 7534952 w 9759834"/>
                <a:gd name="connsiteY1709" fmla="*/ 1274763 h 1762127"/>
                <a:gd name="connsiteX1710" fmla="*/ 7449227 w 9759834"/>
                <a:gd name="connsiteY1710" fmla="*/ 1274763 h 1762127"/>
                <a:gd name="connsiteX1711" fmla="*/ 7483359 w 9759834"/>
                <a:gd name="connsiteY1711" fmla="*/ 1308895 h 1762127"/>
                <a:gd name="connsiteX1712" fmla="*/ 7449227 w 9759834"/>
                <a:gd name="connsiteY1712" fmla="*/ 1343027 h 1762127"/>
                <a:gd name="connsiteX1713" fmla="*/ 7415095 w 9759834"/>
                <a:gd name="connsiteY1713" fmla="*/ 1308895 h 1762127"/>
                <a:gd name="connsiteX1714" fmla="*/ 7449227 w 9759834"/>
                <a:gd name="connsiteY1714" fmla="*/ 1274763 h 1762127"/>
                <a:gd name="connsiteX1715" fmla="*/ 7366677 w 9759834"/>
                <a:gd name="connsiteY1715" fmla="*/ 1274763 h 1762127"/>
                <a:gd name="connsiteX1716" fmla="*/ 7403984 w 9759834"/>
                <a:gd name="connsiteY1716" fmla="*/ 1308895 h 1762127"/>
                <a:gd name="connsiteX1717" fmla="*/ 7366677 w 9759834"/>
                <a:gd name="connsiteY1717" fmla="*/ 1343027 h 1762127"/>
                <a:gd name="connsiteX1718" fmla="*/ 7329370 w 9759834"/>
                <a:gd name="connsiteY1718" fmla="*/ 1308895 h 1762127"/>
                <a:gd name="connsiteX1719" fmla="*/ 7366677 w 9759834"/>
                <a:gd name="connsiteY1719" fmla="*/ 1274763 h 1762127"/>
                <a:gd name="connsiteX1720" fmla="*/ 7284127 w 9759834"/>
                <a:gd name="connsiteY1720" fmla="*/ 1274763 h 1762127"/>
                <a:gd name="connsiteX1721" fmla="*/ 7318259 w 9759834"/>
                <a:gd name="connsiteY1721" fmla="*/ 1308895 h 1762127"/>
                <a:gd name="connsiteX1722" fmla="*/ 7284127 w 9759834"/>
                <a:gd name="connsiteY1722" fmla="*/ 1343027 h 1762127"/>
                <a:gd name="connsiteX1723" fmla="*/ 7249995 w 9759834"/>
                <a:gd name="connsiteY1723" fmla="*/ 1308895 h 1762127"/>
                <a:gd name="connsiteX1724" fmla="*/ 7284127 w 9759834"/>
                <a:gd name="connsiteY1724" fmla="*/ 1274763 h 1762127"/>
                <a:gd name="connsiteX1725" fmla="*/ 7198402 w 9759834"/>
                <a:gd name="connsiteY1725" fmla="*/ 1274763 h 1762127"/>
                <a:gd name="connsiteX1726" fmla="*/ 7232534 w 9759834"/>
                <a:gd name="connsiteY1726" fmla="*/ 1308895 h 1762127"/>
                <a:gd name="connsiteX1727" fmla="*/ 7198402 w 9759834"/>
                <a:gd name="connsiteY1727" fmla="*/ 1343027 h 1762127"/>
                <a:gd name="connsiteX1728" fmla="*/ 7164270 w 9759834"/>
                <a:gd name="connsiteY1728" fmla="*/ 1308895 h 1762127"/>
                <a:gd name="connsiteX1729" fmla="*/ 7198402 w 9759834"/>
                <a:gd name="connsiteY1729" fmla="*/ 1274763 h 1762127"/>
                <a:gd name="connsiteX1730" fmla="*/ 7112677 w 9759834"/>
                <a:gd name="connsiteY1730" fmla="*/ 1274763 h 1762127"/>
                <a:gd name="connsiteX1731" fmla="*/ 7146809 w 9759834"/>
                <a:gd name="connsiteY1731" fmla="*/ 1308895 h 1762127"/>
                <a:gd name="connsiteX1732" fmla="*/ 7112677 w 9759834"/>
                <a:gd name="connsiteY1732" fmla="*/ 1343027 h 1762127"/>
                <a:gd name="connsiteX1733" fmla="*/ 7078545 w 9759834"/>
                <a:gd name="connsiteY1733" fmla="*/ 1308895 h 1762127"/>
                <a:gd name="connsiteX1734" fmla="*/ 7112677 w 9759834"/>
                <a:gd name="connsiteY1734" fmla="*/ 1274763 h 1762127"/>
                <a:gd name="connsiteX1735" fmla="*/ 7027745 w 9759834"/>
                <a:gd name="connsiteY1735" fmla="*/ 1274763 h 1762127"/>
                <a:gd name="connsiteX1736" fmla="*/ 7062670 w 9759834"/>
                <a:gd name="connsiteY1736" fmla="*/ 1308895 h 1762127"/>
                <a:gd name="connsiteX1737" fmla="*/ 7027745 w 9759834"/>
                <a:gd name="connsiteY1737" fmla="*/ 1343027 h 1762127"/>
                <a:gd name="connsiteX1738" fmla="*/ 6992820 w 9759834"/>
                <a:gd name="connsiteY1738" fmla="*/ 1308895 h 1762127"/>
                <a:gd name="connsiteX1739" fmla="*/ 7027745 w 9759834"/>
                <a:gd name="connsiteY1739" fmla="*/ 1274763 h 1762127"/>
                <a:gd name="connsiteX1740" fmla="*/ 6947577 w 9759834"/>
                <a:gd name="connsiteY1740" fmla="*/ 1274763 h 1762127"/>
                <a:gd name="connsiteX1741" fmla="*/ 6981709 w 9759834"/>
                <a:gd name="connsiteY1741" fmla="*/ 1308895 h 1762127"/>
                <a:gd name="connsiteX1742" fmla="*/ 6947577 w 9759834"/>
                <a:gd name="connsiteY1742" fmla="*/ 1343027 h 1762127"/>
                <a:gd name="connsiteX1743" fmla="*/ 6913445 w 9759834"/>
                <a:gd name="connsiteY1743" fmla="*/ 1308895 h 1762127"/>
                <a:gd name="connsiteX1744" fmla="*/ 6947577 w 9759834"/>
                <a:gd name="connsiteY1744" fmla="*/ 1274763 h 1762127"/>
                <a:gd name="connsiteX1745" fmla="*/ 6861852 w 9759834"/>
                <a:gd name="connsiteY1745" fmla="*/ 1274763 h 1762127"/>
                <a:gd name="connsiteX1746" fmla="*/ 6895984 w 9759834"/>
                <a:gd name="connsiteY1746" fmla="*/ 1308895 h 1762127"/>
                <a:gd name="connsiteX1747" fmla="*/ 6861852 w 9759834"/>
                <a:gd name="connsiteY1747" fmla="*/ 1343027 h 1762127"/>
                <a:gd name="connsiteX1748" fmla="*/ 6827720 w 9759834"/>
                <a:gd name="connsiteY1748" fmla="*/ 1308895 h 1762127"/>
                <a:gd name="connsiteX1749" fmla="*/ 6861852 w 9759834"/>
                <a:gd name="connsiteY1749" fmla="*/ 1274763 h 1762127"/>
                <a:gd name="connsiteX1750" fmla="*/ 6776127 w 9759834"/>
                <a:gd name="connsiteY1750" fmla="*/ 1274763 h 1762127"/>
                <a:gd name="connsiteX1751" fmla="*/ 6810259 w 9759834"/>
                <a:gd name="connsiteY1751" fmla="*/ 1308895 h 1762127"/>
                <a:gd name="connsiteX1752" fmla="*/ 6776127 w 9759834"/>
                <a:gd name="connsiteY1752" fmla="*/ 1343027 h 1762127"/>
                <a:gd name="connsiteX1753" fmla="*/ 6741995 w 9759834"/>
                <a:gd name="connsiteY1753" fmla="*/ 1308895 h 1762127"/>
                <a:gd name="connsiteX1754" fmla="*/ 6776127 w 9759834"/>
                <a:gd name="connsiteY1754" fmla="*/ 1274763 h 1762127"/>
                <a:gd name="connsiteX1755" fmla="*/ 6691195 w 9759834"/>
                <a:gd name="connsiteY1755" fmla="*/ 1274763 h 1762127"/>
                <a:gd name="connsiteX1756" fmla="*/ 6726120 w 9759834"/>
                <a:gd name="connsiteY1756" fmla="*/ 1308895 h 1762127"/>
                <a:gd name="connsiteX1757" fmla="*/ 6691195 w 9759834"/>
                <a:gd name="connsiteY1757" fmla="*/ 1343027 h 1762127"/>
                <a:gd name="connsiteX1758" fmla="*/ 6656270 w 9759834"/>
                <a:gd name="connsiteY1758" fmla="*/ 1308895 h 1762127"/>
                <a:gd name="connsiteX1759" fmla="*/ 6691195 w 9759834"/>
                <a:gd name="connsiteY1759" fmla="*/ 1274763 h 1762127"/>
                <a:gd name="connsiteX1760" fmla="*/ 6607852 w 9759834"/>
                <a:gd name="connsiteY1760" fmla="*/ 1274763 h 1762127"/>
                <a:gd name="connsiteX1761" fmla="*/ 6645159 w 9759834"/>
                <a:gd name="connsiteY1761" fmla="*/ 1308895 h 1762127"/>
                <a:gd name="connsiteX1762" fmla="*/ 6607852 w 9759834"/>
                <a:gd name="connsiteY1762" fmla="*/ 1343027 h 1762127"/>
                <a:gd name="connsiteX1763" fmla="*/ 6570545 w 9759834"/>
                <a:gd name="connsiteY1763" fmla="*/ 1308895 h 1762127"/>
                <a:gd name="connsiteX1764" fmla="*/ 6607852 w 9759834"/>
                <a:gd name="connsiteY1764" fmla="*/ 1274763 h 1762127"/>
                <a:gd name="connsiteX1765" fmla="*/ 6525302 w 9759834"/>
                <a:gd name="connsiteY1765" fmla="*/ 1274763 h 1762127"/>
                <a:gd name="connsiteX1766" fmla="*/ 6559434 w 9759834"/>
                <a:gd name="connsiteY1766" fmla="*/ 1308895 h 1762127"/>
                <a:gd name="connsiteX1767" fmla="*/ 6525302 w 9759834"/>
                <a:gd name="connsiteY1767" fmla="*/ 1343027 h 1762127"/>
                <a:gd name="connsiteX1768" fmla="*/ 6491170 w 9759834"/>
                <a:gd name="connsiteY1768" fmla="*/ 1308895 h 1762127"/>
                <a:gd name="connsiteX1769" fmla="*/ 6525302 w 9759834"/>
                <a:gd name="connsiteY1769" fmla="*/ 1274763 h 1762127"/>
                <a:gd name="connsiteX1770" fmla="*/ 6439577 w 9759834"/>
                <a:gd name="connsiteY1770" fmla="*/ 1274763 h 1762127"/>
                <a:gd name="connsiteX1771" fmla="*/ 6473709 w 9759834"/>
                <a:gd name="connsiteY1771" fmla="*/ 1308895 h 1762127"/>
                <a:gd name="connsiteX1772" fmla="*/ 6439577 w 9759834"/>
                <a:gd name="connsiteY1772" fmla="*/ 1343027 h 1762127"/>
                <a:gd name="connsiteX1773" fmla="*/ 6405445 w 9759834"/>
                <a:gd name="connsiteY1773" fmla="*/ 1308895 h 1762127"/>
                <a:gd name="connsiteX1774" fmla="*/ 6439577 w 9759834"/>
                <a:gd name="connsiteY1774" fmla="*/ 1274763 h 1762127"/>
                <a:gd name="connsiteX1775" fmla="*/ 6353852 w 9759834"/>
                <a:gd name="connsiteY1775" fmla="*/ 1274763 h 1762127"/>
                <a:gd name="connsiteX1776" fmla="*/ 6387984 w 9759834"/>
                <a:gd name="connsiteY1776" fmla="*/ 1308895 h 1762127"/>
                <a:gd name="connsiteX1777" fmla="*/ 6353852 w 9759834"/>
                <a:gd name="connsiteY1777" fmla="*/ 1343027 h 1762127"/>
                <a:gd name="connsiteX1778" fmla="*/ 6319720 w 9759834"/>
                <a:gd name="connsiteY1778" fmla="*/ 1308895 h 1762127"/>
                <a:gd name="connsiteX1779" fmla="*/ 6353852 w 9759834"/>
                <a:gd name="connsiteY1779" fmla="*/ 1274763 h 1762127"/>
                <a:gd name="connsiteX1780" fmla="*/ 6268920 w 9759834"/>
                <a:gd name="connsiteY1780" fmla="*/ 1274763 h 1762127"/>
                <a:gd name="connsiteX1781" fmla="*/ 6303845 w 9759834"/>
                <a:gd name="connsiteY1781" fmla="*/ 1308895 h 1762127"/>
                <a:gd name="connsiteX1782" fmla="*/ 6268920 w 9759834"/>
                <a:gd name="connsiteY1782" fmla="*/ 1343027 h 1762127"/>
                <a:gd name="connsiteX1783" fmla="*/ 6233995 w 9759834"/>
                <a:gd name="connsiteY1783" fmla="*/ 1308895 h 1762127"/>
                <a:gd name="connsiteX1784" fmla="*/ 6268920 w 9759834"/>
                <a:gd name="connsiteY1784" fmla="*/ 1274763 h 1762127"/>
                <a:gd name="connsiteX1785" fmla="*/ 6188752 w 9759834"/>
                <a:gd name="connsiteY1785" fmla="*/ 1274763 h 1762127"/>
                <a:gd name="connsiteX1786" fmla="*/ 6222884 w 9759834"/>
                <a:gd name="connsiteY1786" fmla="*/ 1308895 h 1762127"/>
                <a:gd name="connsiteX1787" fmla="*/ 6188752 w 9759834"/>
                <a:gd name="connsiteY1787" fmla="*/ 1343027 h 1762127"/>
                <a:gd name="connsiteX1788" fmla="*/ 6154620 w 9759834"/>
                <a:gd name="connsiteY1788" fmla="*/ 1308895 h 1762127"/>
                <a:gd name="connsiteX1789" fmla="*/ 6188752 w 9759834"/>
                <a:gd name="connsiteY1789" fmla="*/ 1274763 h 1762127"/>
                <a:gd name="connsiteX1790" fmla="*/ 6103027 w 9759834"/>
                <a:gd name="connsiteY1790" fmla="*/ 1274763 h 1762127"/>
                <a:gd name="connsiteX1791" fmla="*/ 6137159 w 9759834"/>
                <a:gd name="connsiteY1791" fmla="*/ 1308895 h 1762127"/>
                <a:gd name="connsiteX1792" fmla="*/ 6103027 w 9759834"/>
                <a:gd name="connsiteY1792" fmla="*/ 1343027 h 1762127"/>
                <a:gd name="connsiteX1793" fmla="*/ 6068895 w 9759834"/>
                <a:gd name="connsiteY1793" fmla="*/ 1308895 h 1762127"/>
                <a:gd name="connsiteX1794" fmla="*/ 6103027 w 9759834"/>
                <a:gd name="connsiteY1794" fmla="*/ 1274763 h 1762127"/>
                <a:gd name="connsiteX1795" fmla="*/ 6017302 w 9759834"/>
                <a:gd name="connsiteY1795" fmla="*/ 1274763 h 1762127"/>
                <a:gd name="connsiteX1796" fmla="*/ 6051434 w 9759834"/>
                <a:gd name="connsiteY1796" fmla="*/ 1308895 h 1762127"/>
                <a:gd name="connsiteX1797" fmla="*/ 6017302 w 9759834"/>
                <a:gd name="connsiteY1797" fmla="*/ 1343027 h 1762127"/>
                <a:gd name="connsiteX1798" fmla="*/ 5983170 w 9759834"/>
                <a:gd name="connsiteY1798" fmla="*/ 1308895 h 1762127"/>
                <a:gd name="connsiteX1799" fmla="*/ 6017302 w 9759834"/>
                <a:gd name="connsiteY1799" fmla="*/ 1274763 h 1762127"/>
                <a:gd name="connsiteX1800" fmla="*/ 5932370 w 9759834"/>
                <a:gd name="connsiteY1800" fmla="*/ 1274763 h 1762127"/>
                <a:gd name="connsiteX1801" fmla="*/ 5967295 w 9759834"/>
                <a:gd name="connsiteY1801" fmla="*/ 1308895 h 1762127"/>
                <a:gd name="connsiteX1802" fmla="*/ 5932370 w 9759834"/>
                <a:gd name="connsiteY1802" fmla="*/ 1343027 h 1762127"/>
                <a:gd name="connsiteX1803" fmla="*/ 5897445 w 9759834"/>
                <a:gd name="connsiteY1803" fmla="*/ 1308895 h 1762127"/>
                <a:gd name="connsiteX1804" fmla="*/ 5932370 w 9759834"/>
                <a:gd name="connsiteY1804" fmla="*/ 1274763 h 1762127"/>
                <a:gd name="connsiteX1805" fmla="*/ 5766477 w 9759834"/>
                <a:gd name="connsiteY1805" fmla="*/ 1274763 h 1762127"/>
                <a:gd name="connsiteX1806" fmla="*/ 5800609 w 9759834"/>
                <a:gd name="connsiteY1806" fmla="*/ 1308895 h 1762127"/>
                <a:gd name="connsiteX1807" fmla="*/ 5766477 w 9759834"/>
                <a:gd name="connsiteY1807" fmla="*/ 1343027 h 1762127"/>
                <a:gd name="connsiteX1808" fmla="*/ 5732345 w 9759834"/>
                <a:gd name="connsiteY1808" fmla="*/ 1308895 h 1762127"/>
                <a:gd name="connsiteX1809" fmla="*/ 5766477 w 9759834"/>
                <a:gd name="connsiteY1809" fmla="*/ 1274763 h 1762127"/>
                <a:gd name="connsiteX1810" fmla="*/ 5680752 w 9759834"/>
                <a:gd name="connsiteY1810" fmla="*/ 1274763 h 1762127"/>
                <a:gd name="connsiteX1811" fmla="*/ 5714884 w 9759834"/>
                <a:gd name="connsiteY1811" fmla="*/ 1308895 h 1762127"/>
                <a:gd name="connsiteX1812" fmla="*/ 5680752 w 9759834"/>
                <a:gd name="connsiteY1812" fmla="*/ 1343027 h 1762127"/>
                <a:gd name="connsiteX1813" fmla="*/ 5646620 w 9759834"/>
                <a:gd name="connsiteY1813" fmla="*/ 1308895 h 1762127"/>
                <a:gd name="connsiteX1814" fmla="*/ 5680752 w 9759834"/>
                <a:gd name="connsiteY1814" fmla="*/ 1274763 h 1762127"/>
                <a:gd name="connsiteX1815" fmla="*/ 5595820 w 9759834"/>
                <a:gd name="connsiteY1815" fmla="*/ 1274763 h 1762127"/>
                <a:gd name="connsiteX1816" fmla="*/ 5630745 w 9759834"/>
                <a:gd name="connsiteY1816" fmla="*/ 1308895 h 1762127"/>
                <a:gd name="connsiteX1817" fmla="*/ 5595820 w 9759834"/>
                <a:gd name="connsiteY1817" fmla="*/ 1343027 h 1762127"/>
                <a:gd name="connsiteX1818" fmla="*/ 5560895 w 9759834"/>
                <a:gd name="connsiteY1818" fmla="*/ 1308895 h 1762127"/>
                <a:gd name="connsiteX1819" fmla="*/ 5595820 w 9759834"/>
                <a:gd name="connsiteY1819" fmla="*/ 1274763 h 1762127"/>
                <a:gd name="connsiteX1820" fmla="*/ 5344202 w 9759834"/>
                <a:gd name="connsiteY1820" fmla="*/ 1274763 h 1762127"/>
                <a:gd name="connsiteX1821" fmla="*/ 5378334 w 9759834"/>
                <a:gd name="connsiteY1821" fmla="*/ 1308895 h 1762127"/>
                <a:gd name="connsiteX1822" fmla="*/ 5344202 w 9759834"/>
                <a:gd name="connsiteY1822" fmla="*/ 1343027 h 1762127"/>
                <a:gd name="connsiteX1823" fmla="*/ 5310070 w 9759834"/>
                <a:gd name="connsiteY1823" fmla="*/ 1308895 h 1762127"/>
                <a:gd name="connsiteX1824" fmla="*/ 5344202 w 9759834"/>
                <a:gd name="connsiteY1824" fmla="*/ 1274763 h 1762127"/>
                <a:gd name="connsiteX1825" fmla="*/ 5258477 w 9759834"/>
                <a:gd name="connsiteY1825" fmla="*/ 1274763 h 1762127"/>
                <a:gd name="connsiteX1826" fmla="*/ 5292609 w 9759834"/>
                <a:gd name="connsiteY1826" fmla="*/ 1308895 h 1762127"/>
                <a:gd name="connsiteX1827" fmla="*/ 5258477 w 9759834"/>
                <a:gd name="connsiteY1827" fmla="*/ 1343027 h 1762127"/>
                <a:gd name="connsiteX1828" fmla="*/ 5224345 w 9759834"/>
                <a:gd name="connsiteY1828" fmla="*/ 1308895 h 1762127"/>
                <a:gd name="connsiteX1829" fmla="*/ 5258477 w 9759834"/>
                <a:gd name="connsiteY1829" fmla="*/ 1274763 h 1762127"/>
                <a:gd name="connsiteX1830" fmla="*/ 5173545 w 9759834"/>
                <a:gd name="connsiteY1830" fmla="*/ 1274763 h 1762127"/>
                <a:gd name="connsiteX1831" fmla="*/ 5208470 w 9759834"/>
                <a:gd name="connsiteY1831" fmla="*/ 1308895 h 1762127"/>
                <a:gd name="connsiteX1832" fmla="*/ 5173545 w 9759834"/>
                <a:gd name="connsiteY1832" fmla="*/ 1343027 h 1762127"/>
                <a:gd name="connsiteX1833" fmla="*/ 5138620 w 9759834"/>
                <a:gd name="connsiteY1833" fmla="*/ 1308895 h 1762127"/>
                <a:gd name="connsiteX1834" fmla="*/ 5173545 w 9759834"/>
                <a:gd name="connsiteY1834" fmla="*/ 1274763 h 1762127"/>
                <a:gd name="connsiteX1835" fmla="*/ 3234414 w 9759834"/>
                <a:gd name="connsiteY1835" fmla="*/ 1274763 h 1762127"/>
                <a:gd name="connsiteX1836" fmla="*/ 3268546 w 9759834"/>
                <a:gd name="connsiteY1836" fmla="*/ 1308895 h 1762127"/>
                <a:gd name="connsiteX1837" fmla="*/ 3234414 w 9759834"/>
                <a:gd name="connsiteY1837" fmla="*/ 1343027 h 1762127"/>
                <a:gd name="connsiteX1838" fmla="*/ 3200282 w 9759834"/>
                <a:gd name="connsiteY1838" fmla="*/ 1308895 h 1762127"/>
                <a:gd name="connsiteX1839" fmla="*/ 3234414 w 9759834"/>
                <a:gd name="connsiteY1839" fmla="*/ 1274763 h 1762127"/>
                <a:gd name="connsiteX1840" fmla="*/ 3068520 w 9759834"/>
                <a:gd name="connsiteY1840" fmla="*/ 1274763 h 1762127"/>
                <a:gd name="connsiteX1841" fmla="*/ 3103445 w 9759834"/>
                <a:gd name="connsiteY1841" fmla="*/ 1308895 h 1762127"/>
                <a:gd name="connsiteX1842" fmla="*/ 3068520 w 9759834"/>
                <a:gd name="connsiteY1842" fmla="*/ 1343027 h 1762127"/>
                <a:gd name="connsiteX1843" fmla="*/ 3033595 w 9759834"/>
                <a:gd name="connsiteY1843" fmla="*/ 1308895 h 1762127"/>
                <a:gd name="connsiteX1844" fmla="*/ 3068520 w 9759834"/>
                <a:gd name="connsiteY1844" fmla="*/ 1274763 h 1762127"/>
                <a:gd name="connsiteX1845" fmla="*/ 2983589 w 9759834"/>
                <a:gd name="connsiteY1845" fmla="*/ 1274763 h 1762127"/>
                <a:gd name="connsiteX1846" fmla="*/ 3017721 w 9759834"/>
                <a:gd name="connsiteY1846" fmla="*/ 1308895 h 1762127"/>
                <a:gd name="connsiteX1847" fmla="*/ 2983589 w 9759834"/>
                <a:gd name="connsiteY1847" fmla="*/ 1343027 h 1762127"/>
                <a:gd name="connsiteX1848" fmla="*/ 2949457 w 9759834"/>
                <a:gd name="connsiteY1848" fmla="*/ 1308895 h 1762127"/>
                <a:gd name="connsiteX1849" fmla="*/ 2983589 w 9759834"/>
                <a:gd name="connsiteY1849" fmla="*/ 1274763 h 1762127"/>
                <a:gd name="connsiteX1850" fmla="*/ 2897864 w 9759834"/>
                <a:gd name="connsiteY1850" fmla="*/ 1274763 h 1762127"/>
                <a:gd name="connsiteX1851" fmla="*/ 2931996 w 9759834"/>
                <a:gd name="connsiteY1851" fmla="*/ 1308895 h 1762127"/>
                <a:gd name="connsiteX1852" fmla="*/ 2897864 w 9759834"/>
                <a:gd name="connsiteY1852" fmla="*/ 1343027 h 1762127"/>
                <a:gd name="connsiteX1853" fmla="*/ 2863732 w 9759834"/>
                <a:gd name="connsiteY1853" fmla="*/ 1308895 h 1762127"/>
                <a:gd name="connsiteX1854" fmla="*/ 2897864 w 9759834"/>
                <a:gd name="connsiteY1854" fmla="*/ 1274763 h 1762127"/>
                <a:gd name="connsiteX1855" fmla="*/ 2394790 w 9759834"/>
                <a:gd name="connsiteY1855" fmla="*/ 1274763 h 1762127"/>
                <a:gd name="connsiteX1856" fmla="*/ 2428919 w 9759834"/>
                <a:gd name="connsiteY1856" fmla="*/ 1308895 h 1762127"/>
                <a:gd name="connsiteX1857" fmla="*/ 2394790 w 9759834"/>
                <a:gd name="connsiteY1857" fmla="*/ 1343027 h 1762127"/>
                <a:gd name="connsiteX1858" fmla="*/ 2360656 w 9759834"/>
                <a:gd name="connsiteY1858" fmla="*/ 1308895 h 1762127"/>
                <a:gd name="connsiteX1859" fmla="*/ 2394790 w 9759834"/>
                <a:gd name="connsiteY1859" fmla="*/ 1274763 h 1762127"/>
                <a:gd name="connsiteX1860" fmla="*/ 2224919 w 9759834"/>
                <a:gd name="connsiteY1860" fmla="*/ 1274763 h 1762127"/>
                <a:gd name="connsiteX1861" fmla="*/ 2259040 w 9759834"/>
                <a:gd name="connsiteY1861" fmla="*/ 1308895 h 1762127"/>
                <a:gd name="connsiteX1862" fmla="*/ 2224919 w 9759834"/>
                <a:gd name="connsiteY1862" fmla="*/ 1343027 h 1762127"/>
                <a:gd name="connsiteX1863" fmla="*/ 2190786 w 9759834"/>
                <a:gd name="connsiteY1863" fmla="*/ 1308895 h 1762127"/>
                <a:gd name="connsiteX1864" fmla="*/ 2224919 w 9759834"/>
                <a:gd name="connsiteY1864" fmla="*/ 1274763 h 1762127"/>
                <a:gd name="connsiteX1865" fmla="*/ 2139057 w 9759834"/>
                <a:gd name="connsiteY1865" fmla="*/ 1274763 h 1762127"/>
                <a:gd name="connsiteX1866" fmla="*/ 2173188 w 9759834"/>
                <a:gd name="connsiteY1866" fmla="*/ 1308895 h 1762127"/>
                <a:gd name="connsiteX1867" fmla="*/ 2139057 w 9759834"/>
                <a:gd name="connsiteY1867" fmla="*/ 1343027 h 1762127"/>
                <a:gd name="connsiteX1868" fmla="*/ 2104925 w 9759834"/>
                <a:gd name="connsiteY1868" fmla="*/ 1308895 h 1762127"/>
                <a:gd name="connsiteX1869" fmla="*/ 2139057 w 9759834"/>
                <a:gd name="connsiteY1869" fmla="*/ 1274763 h 1762127"/>
                <a:gd name="connsiteX1870" fmla="*/ 2055713 w 9759834"/>
                <a:gd name="connsiteY1870" fmla="*/ 1274763 h 1762127"/>
                <a:gd name="connsiteX1871" fmla="*/ 2092226 w 9759834"/>
                <a:gd name="connsiteY1871" fmla="*/ 1308895 h 1762127"/>
                <a:gd name="connsiteX1872" fmla="*/ 2055713 w 9759834"/>
                <a:gd name="connsiteY1872" fmla="*/ 1343027 h 1762127"/>
                <a:gd name="connsiteX1873" fmla="*/ 2019201 w 9759834"/>
                <a:gd name="connsiteY1873" fmla="*/ 1308895 h 1762127"/>
                <a:gd name="connsiteX1874" fmla="*/ 2055713 w 9759834"/>
                <a:gd name="connsiteY1874" fmla="*/ 1274763 h 1762127"/>
                <a:gd name="connsiteX1875" fmla="*/ 1973164 w 9759834"/>
                <a:gd name="connsiteY1875" fmla="*/ 1274763 h 1762127"/>
                <a:gd name="connsiteX1876" fmla="*/ 2008088 w 9759834"/>
                <a:gd name="connsiteY1876" fmla="*/ 1308895 h 1762127"/>
                <a:gd name="connsiteX1877" fmla="*/ 1973164 w 9759834"/>
                <a:gd name="connsiteY1877" fmla="*/ 1343027 h 1762127"/>
                <a:gd name="connsiteX1878" fmla="*/ 1938239 w 9759834"/>
                <a:gd name="connsiteY1878" fmla="*/ 1308895 h 1762127"/>
                <a:gd name="connsiteX1879" fmla="*/ 1973164 w 9759834"/>
                <a:gd name="connsiteY1879" fmla="*/ 1274763 h 1762127"/>
                <a:gd name="connsiteX1880" fmla="*/ 1888234 w 9759834"/>
                <a:gd name="connsiteY1880" fmla="*/ 1274763 h 1762127"/>
                <a:gd name="connsiteX1881" fmla="*/ 1922366 w 9759834"/>
                <a:gd name="connsiteY1881" fmla="*/ 1308895 h 1762127"/>
                <a:gd name="connsiteX1882" fmla="*/ 1888234 w 9759834"/>
                <a:gd name="connsiteY1882" fmla="*/ 1343027 h 1762127"/>
                <a:gd name="connsiteX1883" fmla="*/ 1854102 w 9759834"/>
                <a:gd name="connsiteY1883" fmla="*/ 1308895 h 1762127"/>
                <a:gd name="connsiteX1884" fmla="*/ 1888234 w 9759834"/>
                <a:gd name="connsiteY1884" fmla="*/ 1274763 h 1762127"/>
                <a:gd name="connsiteX1885" fmla="*/ 1802510 w 9759834"/>
                <a:gd name="connsiteY1885" fmla="*/ 1274763 h 1762127"/>
                <a:gd name="connsiteX1886" fmla="*/ 1836643 w 9759834"/>
                <a:gd name="connsiteY1886" fmla="*/ 1308895 h 1762127"/>
                <a:gd name="connsiteX1887" fmla="*/ 1802510 w 9759834"/>
                <a:gd name="connsiteY1887" fmla="*/ 1343027 h 1762127"/>
                <a:gd name="connsiteX1888" fmla="*/ 1768379 w 9759834"/>
                <a:gd name="connsiteY1888" fmla="*/ 1308895 h 1762127"/>
                <a:gd name="connsiteX1889" fmla="*/ 1802510 w 9759834"/>
                <a:gd name="connsiteY1889" fmla="*/ 1274763 h 1762127"/>
                <a:gd name="connsiteX1890" fmla="*/ 1719169 w 9759834"/>
                <a:gd name="connsiteY1890" fmla="*/ 1274763 h 1762127"/>
                <a:gd name="connsiteX1891" fmla="*/ 1755682 w 9759834"/>
                <a:gd name="connsiteY1891" fmla="*/ 1308895 h 1762127"/>
                <a:gd name="connsiteX1892" fmla="*/ 1719169 w 9759834"/>
                <a:gd name="connsiteY1892" fmla="*/ 1343027 h 1762127"/>
                <a:gd name="connsiteX1893" fmla="*/ 1682656 w 9759834"/>
                <a:gd name="connsiteY1893" fmla="*/ 1308895 h 1762127"/>
                <a:gd name="connsiteX1894" fmla="*/ 1719169 w 9759834"/>
                <a:gd name="connsiteY1894" fmla="*/ 1274763 h 1762127"/>
                <a:gd name="connsiteX1895" fmla="*/ 1636604 w 9759834"/>
                <a:gd name="connsiteY1895" fmla="*/ 1274763 h 1762127"/>
                <a:gd name="connsiteX1896" fmla="*/ 1671529 w 9759834"/>
                <a:gd name="connsiteY1896" fmla="*/ 1308895 h 1762127"/>
                <a:gd name="connsiteX1897" fmla="*/ 1636604 w 9759834"/>
                <a:gd name="connsiteY1897" fmla="*/ 1343027 h 1762127"/>
                <a:gd name="connsiteX1898" fmla="*/ 1601679 w 9759834"/>
                <a:gd name="connsiteY1898" fmla="*/ 1308895 h 1762127"/>
                <a:gd name="connsiteX1899" fmla="*/ 1636604 w 9759834"/>
                <a:gd name="connsiteY1899" fmla="*/ 1274763 h 1762127"/>
                <a:gd name="connsiteX1900" fmla="*/ 1551670 w 9759834"/>
                <a:gd name="connsiteY1900" fmla="*/ 1274763 h 1762127"/>
                <a:gd name="connsiteX1901" fmla="*/ 1585803 w 9759834"/>
                <a:gd name="connsiteY1901" fmla="*/ 1308895 h 1762127"/>
                <a:gd name="connsiteX1902" fmla="*/ 1551670 w 9759834"/>
                <a:gd name="connsiteY1902" fmla="*/ 1343027 h 1762127"/>
                <a:gd name="connsiteX1903" fmla="*/ 1517538 w 9759834"/>
                <a:gd name="connsiteY1903" fmla="*/ 1308895 h 1762127"/>
                <a:gd name="connsiteX1904" fmla="*/ 1551670 w 9759834"/>
                <a:gd name="connsiteY1904" fmla="*/ 1274763 h 1762127"/>
                <a:gd name="connsiteX1905" fmla="*/ 1465953 w 9759834"/>
                <a:gd name="connsiteY1905" fmla="*/ 1274763 h 1762127"/>
                <a:gd name="connsiteX1906" fmla="*/ 1500086 w 9759834"/>
                <a:gd name="connsiteY1906" fmla="*/ 1308895 h 1762127"/>
                <a:gd name="connsiteX1907" fmla="*/ 1465953 w 9759834"/>
                <a:gd name="connsiteY1907" fmla="*/ 1343027 h 1762127"/>
                <a:gd name="connsiteX1908" fmla="*/ 1431821 w 9759834"/>
                <a:gd name="connsiteY1908" fmla="*/ 1308895 h 1762127"/>
                <a:gd name="connsiteX1909" fmla="*/ 1465953 w 9759834"/>
                <a:gd name="connsiteY1909" fmla="*/ 1274763 h 1762127"/>
                <a:gd name="connsiteX1910" fmla="*/ 1380392 w 9759834"/>
                <a:gd name="connsiteY1910" fmla="*/ 1274763 h 1762127"/>
                <a:gd name="connsiteX1911" fmla="*/ 1414522 w 9759834"/>
                <a:gd name="connsiteY1911" fmla="*/ 1308895 h 1762127"/>
                <a:gd name="connsiteX1912" fmla="*/ 1380392 w 9759834"/>
                <a:gd name="connsiteY1912" fmla="*/ 1343027 h 1762127"/>
                <a:gd name="connsiteX1913" fmla="*/ 1346258 w 9759834"/>
                <a:gd name="connsiteY1913" fmla="*/ 1308895 h 1762127"/>
                <a:gd name="connsiteX1914" fmla="*/ 1380392 w 9759834"/>
                <a:gd name="connsiteY1914" fmla="*/ 1274763 h 1762127"/>
                <a:gd name="connsiteX1915" fmla="*/ 9474877 w 9759834"/>
                <a:gd name="connsiteY1915" fmla="*/ 1189038 h 1762127"/>
                <a:gd name="connsiteX1916" fmla="*/ 9509009 w 9759834"/>
                <a:gd name="connsiteY1916" fmla="*/ 1223170 h 1762127"/>
                <a:gd name="connsiteX1917" fmla="*/ 9474877 w 9759834"/>
                <a:gd name="connsiteY1917" fmla="*/ 1257302 h 1762127"/>
                <a:gd name="connsiteX1918" fmla="*/ 9440745 w 9759834"/>
                <a:gd name="connsiteY1918" fmla="*/ 1223170 h 1762127"/>
                <a:gd name="connsiteX1919" fmla="*/ 9474877 w 9759834"/>
                <a:gd name="connsiteY1919" fmla="*/ 1189038 h 1762127"/>
                <a:gd name="connsiteX1920" fmla="*/ 8801777 w 9759834"/>
                <a:gd name="connsiteY1920" fmla="*/ 1189038 h 1762127"/>
                <a:gd name="connsiteX1921" fmla="*/ 8835909 w 9759834"/>
                <a:gd name="connsiteY1921" fmla="*/ 1223170 h 1762127"/>
                <a:gd name="connsiteX1922" fmla="*/ 8801777 w 9759834"/>
                <a:gd name="connsiteY1922" fmla="*/ 1257302 h 1762127"/>
                <a:gd name="connsiteX1923" fmla="*/ 8767645 w 9759834"/>
                <a:gd name="connsiteY1923" fmla="*/ 1223170 h 1762127"/>
                <a:gd name="connsiteX1924" fmla="*/ 8801777 w 9759834"/>
                <a:gd name="connsiteY1924" fmla="*/ 1189038 h 1762127"/>
                <a:gd name="connsiteX1925" fmla="*/ 8716052 w 9759834"/>
                <a:gd name="connsiteY1925" fmla="*/ 1189038 h 1762127"/>
                <a:gd name="connsiteX1926" fmla="*/ 8750184 w 9759834"/>
                <a:gd name="connsiteY1926" fmla="*/ 1223170 h 1762127"/>
                <a:gd name="connsiteX1927" fmla="*/ 8716052 w 9759834"/>
                <a:gd name="connsiteY1927" fmla="*/ 1257302 h 1762127"/>
                <a:gd name="connsiteX1928" fmla="*/ 8681920 w 9759834"/>
                <a:gd name="connsiteY1928" fmla="*/ 1223170 h 1762127"/>
                <a:gd name="connsiteX1929" fmla="*/ 8716052 w 9759834"/>
                <a:gd name="connsiteY1929" fmla="*/ 1189038 h 1762127"/>
                <a:gd name="connsiteX1930" fmla="*/ 8630327 w 9759834"/>
                <a:gd name="connsiteY1930" fmla="*/ 1189038 h 1762127"/>
                <a:gd name="connsiteX1931" fmla="*/ 8664459 w 9759834"/>
                <a:gd name="connsiteY1931" fmla="*/ 1223170 h 1762127"/>
                <a:gd name="connsiteX1932" fmla="*/ 8630327 w 9759834"/>
                <a:gd name="connsiteY1932" fmla="*/ 1257302 h 1762127"/>
                <a:gd name="connsiteX1933" fmla="*/ 8596195 w 9759834"/>
                <a:gd name="connsiteY1933" fmla="*/ 1223170 h 1762127"/>
                <a:gd name="connsiteX1934" fmla="*/ 8630327 w 9759834"/>
                <a:gd name="connsiteY1934" fmla="*/ 1189038 h 1762127"/>
                <a:gd name="connsiteX1935" fmla="*/ 8544602 w 9759834"/>
                <a:gd name="connsiteY1935" fmla="*/ 1189038 h 1762127"/>
                <a:gd name="connsiteX1936" fmla="*/ 8578734 w 9759834"/>
                <a:gd name="connsiteY1936" fmla="*/ 1223170 h 1762127"/>
                <a:gd name="connsiteX1937" fmla="*/ 8544602 w 9759834"/>
                <a:gd name="connsiteY1937" fmla="*/ 1257302 h 1762127"/>
                <a:gd name="connsiteX1938" fmla="*/ 8510470 w 9759834"/>
                <a:gd name="connsiteY1938" fmla="*/ 1223170 h 1762127"/>
                <a:gd name="connsiteX1939" fmla="*/ 8544602 w 9759834"/>
                <a:gd name="connsiteY1939" fmla="*/ 1189038 h 1762127"/>
                <a:gd name="connsiteX1940" fmla="*/ 8465227 w 9759834"/>
                <a:gd name="connsiteY1940" fmla="*/ 1189038 h 1762127"/>
                <a:gd name="connsiteX1941" fmla="*/ 8499359 w 9759834"/>
                <a:gd name="connsiteY1941" fmla="*/ 1223170 h 1762127"/>
                <a:gd name="connsiteX1942" fmla="*/ 8465227 w 9759834"/>
                <a:gd name="connsiteY1942" fmla="*/ 1257302 h 1762127"/>
                <a:gd name="connsiteX1943" fmla="*/ 8431095 w 9759834"/>
                <a:gd name="connsiteY1943" fmla="*/ 1223170 h 1762127"/>
                <a:gd name="connsiteX1944" fmla="*/ 8465227 w 9759834"/>
                <a:gd name="connsiteY1944" fmla="*/ 1189038 h 1762127"/>
                <a:gd name="connsiteX1945" fmla="*/ 8379502 w 9759834"/>
                <a:gd name="connsiteY1945" fmla="*/ 1189038 h 1762127"/>
                <a:gd name="connsiteX1946" fmla="*/ 8413634 w 9759834"/>
                <a:gd name="connsiteY1946" fmla="*/ 1223170 h 1762127"/>
                <a:gd name="connsiteX1947" fmla="*/ 8379502 w 9759834"/>
                <a:gd name="connsiteY1947" fmla="*/ 1257302 h 1762127"/>
                <a:gd name="connsiteX1948" fmla="*/ 8345370 w 9759834"/>
                <a:gd name="connsiteY1948" fmla="*/ 1223170 h 1762127"/>
                <a:gd name="connsiteX1949" fmla="*/ 8379502 w 9759834"/>
                <a:gd name="connsiteY1949" fmla="*/ 1189038 h 1762127"/>
                <a:gd name="connsiteX1950" fmla="*/ 8293777 w 9759834"/>
                <a:gd name="connsiteY1950" fmla="*/ 1189038 h 1762127"/>
                <a:gd name="connsiteX1951" fmla="*/ 8327909 w 9759834"/>
                <a:gd name="connsiteY1951" fmla="*/ 1223170 h 1762127"/>
                <a:gd name="connsiteX1952" fmla="*/ 8293777 w 9759834"/>
                <a:gd name="connsiteY1952" fmla="*/ 1257302 h 1762127"/>
                <a:gd name="connsiteX1953" fmla="*/ 8259645 w 9759834"/>
                <a:gd name="connsiteY1953" fmla="*/ 1223170 h 1762127"/>
                <a:gd name="connsiteX1954" fmla="*/ 8293777 w 9759834"/>
                <a:gd name="connsiteY1954" fmla="*/ 1189038 h 1762127"/>
                <a:gd name="connsiteX1955" fmla="*/ 8208052 w 9759834"/>
                <a:gd name="connsiteY1955" fmla="*/ 1189038 h 1762127"/>
                <a:gd name="connsiteX1956" fmla="*/ 8242184 w 9759834"/>
                <a:gd name="connsiteY1956" fmla="*/ 1223170 h 1762127"/>
                <a:gd name="connsiteX1957" fmla="*/ 8208052 w 9759834"/>
                <a:gd name="connsiteY1957" fmla="*/ 1257302 h 1762127"/>
                <a:gd name="connsiteX1958" fmla="*/ 8173920 w 9759834"/>
                <a:gd name="connsiteY1958" fmla="*/ 1223170 h 1762127"/>
                <a:gd name="connsiteX1959" fmla="*/ 8208052 w 9759834"/>
                <a:gd name="connsiteY1959" fmla="*/ 1189038 h 1762127"/>
                <a:gd name="connsiteX1960" fmla="*/ 8125502 w 9759834"/>
                <a:gd name="connsiteY1960" fmla="*/ 1189038 h 1762127"/>
                <a:gd name="connsiteX1961" fmla="*/ 8162809 w 9759834"/>
                <a:gd name="connsiteY1961" fmla="*/ 1223170 h 1762127"/>
                <a:gd name="connsiteX1962" fmla="*/ 8125502 w 9759834"/>
                <a:gd name="connsiteY1962" fmla="*/ 1257302 h 1762127"/>
                <a:gd name="connsiteX1963" fmla="*/ 8088195 w 9759834"/>
                <a:gd name="connsiteY1963" fmla="*/ 1223170 h 1762127"/>
                <a:gd name="connsiteX1964" fmla="*/ 8125502 w 9759834"/>
                <a:gd name="connsiteY1964" fmla="*/ 1189038 h 1762127"/>
                <a:gd name="connsiteX1965" fmla="*/ 8042952 w 9759834"/>
                <a:gd name="connsiteY1965" fmla="*/ 1189038 h 1762127"/>
                <a:gd name="connsiteX1966" fmla="*/ 8077084 w 9759834"/>
                <a:gd name="connsiteY1966" fmla="*/ 1223170 h 1762127"/>
                <a:gd name="connsiteX1967" fmla="*/ 8042952 w 9759834"/>
                <a:gd name="connsiteY1967" fmla="*/ 1257302 h 1762127"/>
                <a:gd name="connsiteX1968" fmla="*/ 8008820 w 9759834"/>
                <a:gd name="connsiteY1968" fmla="*/ 1223170 h 1762127"/>
                <a:gd name="connsiteX1969" fmla="*/ 8042952 w 9759834"/>
                <a:gd name="connsiteY1969" fmla="*/ 1189038 h 1762127"/>
                <a:gd name="connsiteX1970" fmla="*/ 7957227 w 9759834"/>
                <a:gd name="connsiteY1970" fmla="*/ 1189038 h 1762127"/>
                <a:gd name="connsiteX1971" fmla="*/ 7991359 w 9759834"/>
                <a:gd name="connsiteY1971" fmla="*/ 1223170 h 1762127"/>
                <a:gd name="connsiteX1972" fmla="*/ 7957227 w 9759834"/>
                <a:gd name="connsiteY1972" fmla="*/ 1257302 h 1762127"/>
                <a:gd name="connsiteX1973" fmla="*/ 7923095 w 9759834"/>
                <a:gd name="connsiteY1973" fmla="*/ 1223170 h 1762127"/>
                <a:gd name="connsiteX1974" fmla="*/ 7957227 w 9759834"/>
                <a:gd name="connsiteY1974" fmla="*/ 1189038 h 1762127"/>
                <a:gd name="connsiteX1975" fmla="*/ 7871502 w 9759834"/>
                <a:gd name="connsiteY1975" fmla="*/ 1189038 h 1762127"/>
                <a:gd name="connsiteX1976" fmla="*/ 7905634 w 9759834"/>
                <a:gd name="connsiteY1976" fmla="*/ 1223170 h 1762127"/>
                <a:gd name="connsiteX1977" fmla="*/ 7871502 w 9759834"/>
                <a:gd name="connsiteY1977" fmla="*/ 1257302 h 1762127"/>
                <a:gd name="connsiteX1978" fmla="*/ 7837370 w 9759834"/>
                <a:gd name="connsiteY1978" fmla="*/ 1223170 h 1762127"/>
                <a:gd name="connsiteX1979" fmla="*/ 7871502 w 9759834"/>
                <a:gd name="connsiteY1979" fmla="*/ 1189038 h 1762127"/>
                <a:gd name="connsiteX1980" fmla="*/ 7785777 w 9759834"/>
                <a:gd name="connsiteY1980" fmla="*/ 1189038 h 1762127"/>
                <a:gd name="connsiteX1981" fmla="*/ 7819909 w 9759834"/>
                <a:gd name="connsiteY1981" fmla="*/ 1223170 h 1762127"/>
                <a:gd name="connsiteX1982" fmla="*/ 7785777 w 9759834"/>
                <a:gd name="connsiteY1982" fmla="*/ 1257302 h 1762127"/>
                <a:gd name="connsiteX1983" fmla="*/ 7751645 w 9759834"/>
                <a:gd name="connsiteY1983" fmla="*/ 1223170 h 1762127"/>
                <a:gd name="connsiteX1984" fmla="*/ 7785777 w 9759834"/>
                <a:gd name="connsiteY1984" fmla="*/ 1189038 h 1762127"/>
                <a:gd name="connsiteX1985" fmla="*/ 7706402 w 9759834"/>
                <a:gd name="connsiteY1985" fmla="*/ 1189038 h 1762127"/>
                <a:gd name="connsiteX1986" fmla="*/ 7740534 w 9759834"/>
                <a:gd name="connsiteY1986" fmla="*/ 1223170 h 1762127"/>
                <a:gd name="connsiteX1987" fmla="*/ 7706402 w 9759834"/>
                <a:gd name="connsiteY1987" fmla="*/ 1257302 h 1762127"/>
                <a:gd name="connsiteX1988" fmla="*/ 7672270 w 9759834"/>
                <a:gd name="connsiteY1988" fmla="*/ 1223170 h 1762127"/>
                <a:gd name="connsiteX1989" fmla="*/ 7706402 w 9759834"/>
                <a:gd name="connsiteY1989" fmla="*/ 1189038 h 1762127"/>
                <a:gd name="connsiteX1990" fmla="*/ 7620677 w 9759834"/>
                <a:gd name="connsiteY1990" fmla="*/ 1189038 h 1762127"/>
                <a:gd name="connsiteX1991" fmla="*/ 7654809 w 9759834"/>
                <a:gd name="connsiteY1991" fmla="*/ 1223170 h 1762127"/>
                <a:gd name="connsiteX1992" fmla="*/ 7620677 w 9759834"/>
                <a:gd name="connsiteY1992" fmla="*/ 1257302 h 1762127"/>
                <a:gd name="connsiteX1993" fmla="*/ 7586545 w 9759834"/>
                <a:gd name="connsiteY1993" fmla="*/ 1223170 h 1762127"/>
                <a:gd name="connsiteX1994" fmla="*/ 7620677 w 9759834"/>
                <a:gd name="connsiteY1994" fmla="*/ 1189038 h 1762127"/>
                <a:gd name="connsiteX1995" fmla="*/ 7534952 w 9759834"/>
                <a:gd name="connsiteY1995" fmla="*/ 1189038 h 1762127"/>
                <a:gd name="connsiteX1996" fmla="*/ 7569084 w 9759834"/>
                <a:gd name="connsiteY1996" fmla="*/ 1223170 h 1762127"/>
                <a:gd name="connsiteX1997" fmla="*/ 7534952 w 9759834"/>
                <a:gd name="connsiteY1997" fmla="*/ 1257302 h 1762127"/>
                <a:gd name="connsiteX1998" fmla="*/ 7500820 w 9759834"/>
                <a:gd name="connsiteY1998" fmla="*/ 1223170 h 1762127"/>
                <a:gd name="connsiteX1999" fmla="*/ 7534952 w 9759834"/>
                <a:gd name="connsiteY1999" fmla="*/ 1189038 h 1762127"/>
                <a:gd name="connsiteX2000" fmla="*/ 7449227 w 9759834"/>
                <a:gd name="connsiteY2000" fmla="*/ 1189038 h 1762127"/>
                <a:gd name="connsiteX2001" fmla="*/ 7483359 w 9759834"/>
                <a:gd name="connsiteY2001" fmla="*/ 1223170 h 1762127"/>
                <a:gd name="connsiteX2002" fmla="*/ 7449227 w 9759834"/>
                <a:gd name="connsiteY2002" fmla="*/ 1257302 h 1762127"/>
                <a:gd name="connsiteX2003" fmla="*/ 7415095 w 9759834"/>
                <a:gd name="connsiteY2003" fmla="*/ 1223170 h 1762127"/>
                <a:gd name="connsiteX2004" fmla="*/ 7449227 w 9759834"/>
                <a:gd name="connsiteY2004" fmla="*/ 1189038 h 1762127"/>
                <a:gd name="connsiteX2005" fmla="*/ 7366677 w 9759834"/>
                <a:gd name="connsiteY2005" fmla="*/ 1189038 h 1762127"/>
                <a:gd name="connsiteX2006" fmla="*/ 7403984 w 9759834"/>
                <a:gd name="connsiteY2006" fmla="*/ 1223170 h 1762127"/>
                <a:gd name="connsiteX2007" fmla="*/ 7366677 w 9759834"/>
                <a:gd name="connsiteY2007" fmla="*/ 1257302 h 1762127"/>
                <a:gd name="connsiteX2008" fmla="*/ 7329370 w 9759834"/>
                <a:gd name="connsiteY2008" fmla="*/ 1223170 h 1762127"/>
                <a:gd name="connsiteX2009" fmla="*/ 7366677 w 9759834"/>
                <a:gd name="connsiteY2009" fmla="*/ 1189038 h 1762127"/>
                <a:gd name="connsiteX2010" fmla="*/ 7284127 w 9759834"/>
                <a:gd name="connsiteY2010" fmla="*/ 1189038 h 1762127"/>
                <a:gd name="connsiteX2011" fmla="*/ 7318259 w 9759834"/>
                <a:gd name="connsiteY2011" fmla="*/ 1223170 h 1762127"/>
                <a:gd name="connsiteX2012" fmla="*/ 7284127 w 9759834"/>
                <a:gd name="connsiteY2012" fmla="*/ 1257302 h 1762127"/>
                <a:gd name="connsiteX2013" fmla="*/ 7249995 w 9759834"/>
                <a:gd name="connsiteY2013" fmla="*/ 1223170 h 1762127"/>
                <a:gd name="connsiteX2014" fmla="*/ 7284127 w 9759834"/>
                <a:gd name="connsiteY2014" fmla="*/ 1189038 h 1762127"/>
                <a:gd name="connsiteX2015" fmla="*/ 7198402 w 9759834"/>
                <a:gd name="connsiteY2015" fmla="*/ 1189038 h 1762127"/>
                <a:gd name="connsiteX2016" fmla="*/ 7232534 w 9759834"/>
                <a:gd name="connsiteY2016" fmla="*/ 1223170 h 1762127"/>
                <a:gd name="connsiteX2017" fmla="*/ 7198402 w 9759834"/>
                <a:gd name="connsiteY2017" fmla="*/ 1257302 h 1762127"/>
                <a:gd name="connsiteX2018" fmla="*/ 7164270 w 9759834"/>
                <a:gd name="connsiteY2018" fmla="*/ 1223170 h 1762127"/>
                <a:gd name="connsiteX2019" fmla="*/ 7198402 w 9759834"/>
                <a:gd name="connsiteY2019" fmla="*/ 1189038 h 1762127"/>
                <a:gd name="connsiteX2020" fmla="*/ 7112677 w 9759834"/>
                <a:gd name="connsiteY2020" fmla="*/ 1189038 h 1762127"/>
                <a:gd name="connsiteX2021" fmla="*/ 7146809 w 9759834"/>
                <a:gd name="connsiteY2021" fmla="*/ 1223170 h 1762127"/>
                <a:gd name="connsiteX2022" fmla="*/ 7112677 w 9759834"/>
                <a:gd name="connsiteY2022" fmla="*/ 1257302 h 1762127"/>
                <a:gd name="connsiteX2023" fmla="*/ 7078545 w 9759834"/>
                <a:gd name="connsiteY2023" fmla="*/ 1223170 h 1762127"/>
                <a:gd name="connsiteX2024" fmla="*/ 7112677 w 9759834"/>
                <a:gd name="connsiteY2024" fmla="*/ 1189038 h 1762127"/>
                <a:gd name="connsiteX2025" fmla="*/ 7027745 w 9759834"/>
                <a:gd name="connsiteY2025" fmla="*/ 1189038 h 1762127"/>
                <a:gd name="connsiteX2026" fmla="*/ 7062670 w 9759834"/>
                <a:gd name="connsiteY2026" fmla="*/ 1223170 h 1762127"/>
                <a:gd name="connsiteX2027" fmla="*/ 7027745 w 9759834"/>
                <a:gd name="connsiteY2027" fmla="*/ 1257302 h 1762127"/>
                <a:gd name="connsiteX2028" fmla="*/ 6992820 w 9759834"/>
                <a:gd name="connsiteY2028" fmla="*/ 1223170 h 1762127"/>
                <a:gd name="connsiteX2029" fmla="*/ 7027745 w 9759834"/>
                <a:gd name="connsiteY2029" fmla="*/ 1189038 h 1762127"/>
                <a:gd name="connsiteX2030" fmla="*/ 6947577 w 9759834"/>
                <a:gd name="connsiteY2030" fmla="*/ 1189038 h 1762127"/>
                <a:gd name="connsiteX2031" fmla="*/ 6981709 w 9759834"/>
                <a:gd name="connsiteY2031" fmla="*/ 1223170 h 1762127"/>
                <a:gd name="connsiteX2032" fmla="*/ 6947577 w 9759834"/>
                <a:gd name="connsiteY2032" fmla="*/ 1257302 h 1762127"/>
                <a:gd name="connsiteX2033" fmla="*/ 6913445 w 9759834"/>
                <a:gd name="connsiteY2033" fmla="*/ 1223170 h 1762127"/>
                <a:gd name="connsiteX2034" fmla="*/ 6947577 w 9759834"/>
                <a:gd name="connsiteY2034" fmla="*/ 1189038 h 1762127"/>
                <a:gd name="connsiteX2035" fmla="*/ 6861852 w 9759834"/>
                <a:gd name="connsiteY2035" fmla="*/ 1189038 h 1762127"/>
                <a:gd name="connsiteX2036" fmla="*/ 6895984 w 9759834"/>
                <a:gd name="connsiteY2036" fmla="*/ 1223170 h 1762127"/>
                <a:gd name="connsiteX2037" fmla="*/ 6861852 w 9759834"/>
                <a:gd name="connsiteY2037" fmla="*/ 1257302 h 1762127"/>
                <a:gd name="connsiteX2038" fmla="*/ 6827720 w 9759834"/>
                <a:gd name="connsiteY2038" fmla="*/ 1223170 h 1762127"/>
                <a:gd name="connsiteX2039" fmla="*/ 6861852 w 9759834"/>
                <a:gd name="connsiteY2039" fmla="*/ 1189038 h 1762127"/>
                <a:gd name="connsiteX2040" fmla="*/ 6776127 w 9759834"/>
                <a:gd name="connsiteY2040" fmla="*/ 1189038 h 1762127"/>
                <a:gd name="connsiteX2041" fmla="*/ 6810259 w 9759834"/>
                <a:gd name="connsiteY2041" fmla="*/ 1223170 h 1762127"/>
                <a:gd name="connsiteX2042" fmla="*/ 6776127 w 9759834"/>
                <a:gd name="connsiteY2042" fmla="*/ 1257302 h 1762127"/>
                <a:gd name="connsiteX2043" fmla="*/ 6741995 w 9759834"/>
                <a:gd name="connsiteY2043" fmla="*/ 1223170 h 1762127"/>
                <a:gd name="connsiteX2044" fmla="*/ 6776127 w 9759834"/>
                <a:gd name="connsiteY2044" fmla="*/ 1189038 h 1762127"/>
                <a:gd name="connsiteX2045" fmla="*/ 6691195 w 9759834"/>
                <a:gd name="connsiteY2045" fmla="*/ 1189038 h 1762127"/>
                <a:gd name="connsiteX2046" fmla="*/ 6726120 w 9759834"/>
                <a:gd name="connsiteY2046" fmla="*/ 1223170 h 1762127"/>
                <a:gd name="connsiteX2047" fmla="*/ 6691195 w 9759834"/>
                <a:gd name="connsiteY2047" fmla="*/ 1257302 h 1762127"/>
                <a:gd name="connsiteX2048" fmla="*/ 6656270 w 9759834"/>
                <a:gd name="connsiteY2048" fmla="*/ 1223170 h 1762127"/>
                <a:gd name="connsiteX2049" fmla="*/ 6691195 w 9759834"/>
                <a:gd name="connsiteY2049" fmla="*/ 1189038 h 1762127"/>
                <a:gd name="connsiteX2050" fmla="*/ 6607852 w 9759834"/>
                <a:gd name="connsiteY2050" fmla="*/ 1189038 h 1762127"/>
                <a:gd name="connsiteX2051" fmla="*/ 6645159 w 9759834"/>
                <a:gd name="connsiteY2051" fmla="*/ 1223170 h 1762127"/>
                <a:gd name="connsiteX2052" fmla="*/ 6607852 w 9759834"/>
                <a:gd name="connsiteY2052" fmla="*/ 1257302 h 1762127"/>
                <a:gd name="connsiteX2053" fmla="*/ 6570545 w 9759834"/>
                <a:gd name="connsiteY2053" fmla="*/ 1223170 h 1762127"/>
                <a:gd name="connsiteX2054" fmla="*/ 6607852 w 9759834"/>
                <a:gd name="connsiteY2054" fmla="*/ 1189038 h 1762127"/>
                <a:gd name="connsiteX2055" fmla="*/ 6525302 w 9759834"/>
                <a:gd name="connsiteY2055" fmla="*/ 1189038 h 1762127"/>
                <a:gd name="connsiteX2056" fmla="*/ 6559434 w 9759834"/>
                <a:gd name="connsiteY2056" fmla="*/ 1223170 h 1762127"/>
                <a:gd name="connsiteX2057" fmla="*/ 6525302 w 9759834"/>
                <a:gd name="connsiteY2057" fmla="*/ 1257302 h 1762127"/>
                <a:gd name="connsiteX2058" fmla="*/ 6491170 w 9759834"/>
                <a:gd name="connsiteY2058" fmla="*/ 1223170 h 1762127"/>
                <a:gd name="connsiteX2059" fmla="*/ 6525302 w 9759834"/>
                <a:gd name="connsiteY2059" fmla="*/ 1189038 h 1762127"/>
                <a:gd name="connsiteX2060" fmla="*/ 6439577 w 9759834"/>
                <a:gd name="connsiteY2060" fmla="*/ 1189038 h 1762127"/>
                <a:gd name="connsiteX2061" fmla="*/ 6473709 w 9759834"/>
                <a:gd name="connsiteY2061" fmla="*/ 1223170 h 1762127"/>
                <a:gd name="connsiteX2062" fmla="*/ 6439577 w 9759834"/>
                <a:gd name="connsiteY2062" fmla="*/ 1257302 h 1762127"/>
                <a:gd name="connsiteX2063" fmla="*/ 6405445 w 9759834"/>
                <a:gd name="connsiteY2063" fmla="*/ 1223170 h 1762127"/>
                <a:gd name="connsiteX2064" fmla="*/ 6439577 w 9759834"/>
                <a:gd name="connsiteY2064" fmla="*/ 1189038 h 1762127"/>
                <a:gd name="connsiteX2065" fmla="*/ 6353852 w 9759834"/>
                <a:gd name="connsiteY2065" fmla="*/ 1189038 h 1762127"/>
                <a:gd name="connsiteX2066" fmla="*/ 6387984 w 9759834"/>
                <a:gd name="connsiteY2066" fmla="*/ 1223170 h 1762127"/>
                <a:gd name="connsiteX2067" fmla="*/ 6353852 w 9759834"/>
                <a:gd name="connsiteY2067" fmla="*/ 1257302 h 1762127"/>
                <a:gd name="connsiteX2068" fmla="*/ 6319720 w 9759834"/>
                <a:gd name="connsiteY2068" fmla="*/ 1223170 h 1762127"/>
                <a:gd name="connsiteX2069" fmla="*/ 6353852 w 9759834"/>
                <a:gd name="connsiteY2069" fmla="*/ 1189038 h 1762127"/>
                <a:gd name="connsiteX2070" fmla="*/ 6268920 w 9759834"/>
                <a:gd name="connsiteY2070" fmla="*/ 1189038 h 1762127"/>
                <a:gd name="connsiteX2071" fmla="*/ 6303845 w 9759834"/>
                <a:gd name="connsiteY2071" fmla="*/ 1223170 h 1762127"/>
                <a:gd name="connsiteX2072" fmla="*/ 6268920 w 9759834"/>
                <a:gd name="connsiteY2072" fmla="*/ 1257302 h 1762127"/>
                <a:gd name="connsiteX2073" fmla="*/ 6233995 w 9759834"/>
                <a:gd name="connsiteY2073" fmla="*/ 1223170 h 1762127"/>
                <a:gd name="connsiteX2074" fmla="*/ 6268920 w 9759834"/>
                <a:gd name="connsiteY2074" fmla="*/ 1189038 h 1762127"/>
                <a:gd name="connsiteX2075" fmla="*/ 6188752 w 9759834"/>
                <a:gd name="connsiteY2075" fmla="*/ 1189038 h 1762127"/>
                <a:gd name="connsiteX2076" fmla="*/ 6222884 w 9759834"/>
                <a:gd name="connsiteY2076" fmla="*/ 1223170 h 1762127"/>
                <a:gd name="connsiteX2077" fmla="*/ 6188752 w 9759834"/>
                <a:gd name="connsiteY2077" fmla="*/ 1257302 h 1762127"/>
                <a:gd name="connsiteX2078" fmla="*/ 6154620 w 9759834"/>
                <a:gd name="connsiteY2078" fmla="*/ 1223170 h 1762127"/>
                <a:gd name="connsiteX2079" fmla="*/ 6188752 w 9759834"/>
                <a:gd name="connsiteY2079" fmla="*/ 1189038 h 1762127"/>
                <a:gd name="connsiteX2080" fmla="*/ 6103027 w 9759834"/>
                <a:gd name="connsiteY2080" fmla="*/ 1189038 h 1762127"/>
                <a:gd name="connsiteX2081" fmla="*/ 6137159 w 9759834"/>
                <a:gd name="connsiteY2081" fmla="*/ 1223170 h 1762127"/>
                <a:gd name="connsiteX2082" fmla="*/ 6103027 w 9759834"/>
                <a:gd name="connsiteY2082" fmla="*/ 1257302 h 1762127"/>
                <a:gd name="connsiteX2083" fmla="*/ 6068895 w 9759834"/>
                <a:gd name="connsiteY2083" fmla="*/ 1223170 h 1762127"/>
                <a:gd name="connsiteX2084" fmla="*/ 6103027 w 9759834"/>
                <a:gd name="connsiteY2084" fmla="*/ 1189038 h 1762127"/>
                <a:gd name="connsiteX2085" fmla="*/ 6017302 w 9759834"/>
                <a:gd name="connsiteY2085" fmla="*/ 1189038 h 1762127"/>
                <a:gd name="connsiteX2086" fmla="*/ 6051434 w 9759834"/>
                <a:gd name="connsiteY2086" fmla="*/ 1223170 h 1762127"/>
                <a:gd name="connsiteX2087" fmla="*/ 6017302 w 9759834"/>
                <a:gd name="connsiteY2087" fmla="*/ 1257302 h 1762127"/>
                <a:gd name="connsiteX2088" fmla="*/ 5983170 w 9759834"/>
                <a:gd name="connsiteY2088" fmla="*/ 1223170 h 1762127"/>
                <a:gd name="connsiteX2089" fmla="*/ 6017302 w 9759834"/>
                <a:gd name="connsiteY2089" fmla="*/ 1189038 h 1762127"/>
                <a:gd name="connsiteX2090" fmla="*/ 5849821 w 9759834"/>
                <a:gd name="connsiteY2090" fmla="*/ 1189038 h 1762127"/>
                <a:gd name="connsiteX2091" fmla="*/ 5886334 w 9759834"/>
                <a:gd name="connsiteY2091" fmla="*/ 1223170 h 1762127"/>
                <a:gd name="connsiteX2092" fmla="*/ 5849821 w 9759834"/>
                <a:gd name="connsiteY2092" fmla="*/ 1257302 h 1762127"/>
                <a:gd name="connsiteX2093" fmla="*/ 5813308 w 9759834"/>
                <a:gd name="connsiteY2093" fmla="*/ 1223170 h 1762127"/>
                <a:gd name="connsiteX2094" fmla="*/ 5849821 w 9759834"/>
                <a:gd name="connsiteY2094" fmla="*/ 1189038 h 1762127"/>
                <a:gd name="connsiteX2095" fmla="*/ 5595820 w 9759834"/>
                <a:gd name="connsiteY2095" fmla="*/ 1189038 h 1762127"/>
                <a:gd name="connsiteX2096" fmla="*/ 5630745 w 9759834"/>
                <a:gd name="connsiteY2096" fmla="*/ 1223170 h 1762127"/>
                <a:gd name="connsiteX2097" fmla="*/ 5595820 w 9759834"/>
                <a:gd name="connsiteY2097" fmla="*/ 1257302 h 1762127"/>
                <a:gd name="connsiteX2098" fmla="*/ 5560895 w 9759834"/>
                <a:gd name="connsiteY2098" fmla="*/ 1223170 h 1762127"/>
                <a:gd name="connsiteX2099" fmla="*/ 5595820 w 9759834"/>
                <a:gd name="connsiteY2099" fmla="*/ 1189038 h 1762127"/>
                <a:gd name="connsiteX2100" fmla="*/ 5429927 w 9759834"/>
                <a:gd name="connsiteY2100" fmla="*/ 1189038 h 1762127"/>
                <a:gd name="connsiteX2101" fmla="*/ 5464059 w 9759834"/>
                <a:gd name="connsiteY2101" fmla="*/ 1223170 h 1762127"/>
                <a:gd name="connsiteX2102" fmla="*/ 5429927 w 9759834"/>
                <a:gd name="connsiteY2102" fmla="*/ 1257302 h 1762127"/>
                <a:gd name="connsiteX2103" fmla="*/ 5395795 w 9759834"/>
                <a:gd name="connsiteY2103" fmla="*/ 1223170 h 1762127"/>
                <a:gd name="connsiteX2104" fmla="*/ 5429927 w 9759834"/>
                <a:gd name="connsiteY2104" fmla="*/ 1189038 h 1762127"/>
                <a:gd name="connsiteX2105" fmla="*/ 5344202 w 9759834"/>
                <a:gd name="connsiteY2105" fmla="*/ 1189038 h 1762127"/>
                <a:gd name="connsiteX2106" fmla="*/ 5378334 w 9759834"/>
                <a:gd name="connsiteY2106" fmla="*/ 1223170 h 1762127"/>
                <a:gd name="connsiteX2107" fmla="*/ 5344202 w 9759834"/>
                <a:gd name="connsiteY2107" fmla="*/ 1257302 h 1762127"/>
                <a:gd name="connsiteX2108" fmla="*/ 5310070 w 9759834"/>
                <a:gd name="connsiteY2108" fmla="*/ 1223170 h 1762127"/>
                <a:gd name="connsiteX2109" fmla="*/ 5344202 w 9759834"/>
                <a:gd name="connsiteY2109" fmla="*/ 1189038 h 1762127"/>
                <a:gd name="connsiteX2110" fmla="*/ 5258477 w 9759834"/>
                <a:gd name="connsiteY2110" fmla="*/ 1189038 h 1762127"/>
                <a:gd name="connsiteX2111" fmla="*/ 5292609 w 9759834"/>
                <a:gd name="connsiteY2111" fmla="*/ 1223170 h 1762127"/>
                <a:gd name="connsiteX2112" fmla="*/ 5258477 w 9759834"/>
                <a:gd name="connsiteY2112" fmla="*/ 1257302 h 1762127"/>
                <a:gd name="connsiteX2113" fmla="*/ 5224345 w 9759834"/>
                <a:gd name="connsiteY2113" fmla="*/ 1223170 h 1762127"/>
                <a:gd name="connsiteX2114" fmla="*/ 5258477 w 9759834"/>
                <a:gd name="connsiteY2114" fmla="*/ 1189038 h 1762127"/>
                <a:gd name="connsiteX2115" fmla="*/ 3826552 w 9759834"/>
                <a:gd name="connsiteY2115" fmla="*/ 1189038 h 1762127"/>
                <a:gd name="connsiteX2116" fmla="*/ 3860684 w 9759834"/>
                <a:gd name="connsiteY2116" fmla="*/ 1223170 h 1762127"/>
                <a:gd name="connsiteX2117" fmla="*/ 3826552 w 9759834"/>
                <a:gd name="connsiteY2117" fmla="*/ 1257302 h 1762127"/>
                <a:gd name="connsiteX2118" fmla="*/ 3792420 w 9759834"/>
                <a:gd name="connsiteY2118" fmla="*/ 1223170 h 1762127"/>
                <a:gd name="connsiteX2119" fmla="*/ 3826552 w 9759834"/>
                <a:gd name="connsiteY2119" fmla="*/ 1189038 h 1762127"/>
                <a:gd name="connsiteX2120" fmla="*/ 3741620 w 9759834"/>
                <a:gd name="connsiteY2120" fmla="*/ 1189038 h 1762127"/>
                <a:gd name="connsiteX2121" fmla="*/ 3776545 w 9759834"/>
                <a:gd name="connsiteY2121" fmla="*/ 1223170 h 1762127"/>
                <a:gd name="connsiteX2122" fmla="*/ 3741620 w 9759834"/>
                <a:gd name="connsiteY2122" fmla="*/ 1257302 h 1762127"/>
                <a:gd name="connsiteX2123" fmla="*/ 3706695 w 9759834"/>
                <a:gd name="connsiteY2123" fmla="*/ 1223170 h 1762127"/>
                <a:gd name="connsiteX2124" fmla="*/ 3741620 w 9759834"/>
                <a:gd name="connsiteY2124" fmla="*/ 1189038 h 1762127"/>
                <a:gd name="connsiteX2125" fmla="*/ 3068520 w 9759834"/>
                <a:gd name="connsiteY2125" fmla="*/ 1189038 h 1762127"/>
                <a:gd name="connsiteX2126" fmla="*/ 3103445 w 9759834"/>
                <a:gd name="connsiteY2126" fmla="*/ 1223170 h 1762127"/>
                <a:gd name="connsiteX2127" fmla="*/ 3068520 w 9759834"/>
                <a:gd name="connsiteY2127" fmla="*/ 1257302 h 1762127"/>
                <a:gd name="connsiteX2128" fmla="*/ 3033595 w 9759834"/>
                <a:gd name="connsiteY2128" fmla="*/ 1223170 h 1762127"/>
                <a:gd name="connsiteX2129" fmla="*/ 3068520 w 9759834"/>
                <a:gd name="connsiteY2129" fmla="*/ 1189038 h 1762127"/>
                <a:gd name="connsiteX2130" fmla="*/ 2983589 w 9759834"/>
                <a:gd name="connsiteY2130" fmla="*/ 1189038 h 1762127"/>
                <a:gd name="connsiteX2131" fmla="*/ 3017721 w 9759834"/>
                <a:gd name="connsiteY2131" fmla="*/ 1223170 h 1762127"/>
                <a:gd name="connsiteX2132" fmla="*/ 2983589 w 9759834"/>
                <a:gd name="connsiteY2132" fmla="*/ 1257302 h 1762127"/>
                <a:gd name="connsiteX2133" fmla="*/ 2949457 w 9759834"/>
                <a:gd name="connsiteY2133" fmla="*/ 1223170 h 1762127"/>
                <a:gd name="connsiteX2134" fmla="*/ 2983589 w 9759834"/>
                <a:gd name="connsiteY2134" fmla="*/ 1189038 h 1762127"/>
                <a:gd name="connsiteX2135" fmla="*/ 2394790 w 9759834"/>
                <a:gd name="connsiteY2135" fmla="*/ 1189038 h 1762127"/>
                <a:gd name="connsiteX2136" fmla="*/ 2428919 w 9759834"/>
                <a:gd name="connsiteY2136" fmla="*/ 1223170 h 1762127"/>
                <a:gd name="connsiteX2137" fmla="*/ 2394790 w 9759834"/>
                <a:gd name="connsiteY2137" fmla="*/ 1257302 h 1762127"/>
                <a:gd name="connsiteX2138" fmla="*/ 2360656 w 9759834"/>
                <a:gd name="connsiteY2138" fmla="*/ 1223170 h 1762127"/>
                <a:gd name="connsiteX2139" fmla="*/ 2394790 w 9759834"/>
                <a:gd name="connsiteY2139" fmla="*/ 1189038 h 1762127"/>
                <a:gd name="connsiteX2140" fmla="*/ 2309856 w 9759834"/>
                <a:gd name="connsiteY2140" fmla="*/ 1189038 h 1762127"/>
                <a:gd name="connsiteX2141" fmla="*/ 2344781 w 9759834"/>
                <a:gd name="connsiteY2141" fmla="*/ 1223170 h 1762127"/>
                <a:gd name="connsiteX2142" fmla="*/ 2309856 w 9759834"/>
                <a:gd name="connsiteY2142" fmla="*/ 1257302 h 1762127"/>
                <a:gd name="connsiteX2143" fmla="*/ 2274920 w 9759834"/>
                <a:gd name="connsiteY2143" fmla="*/ 1223170 h 1762127"/>
                <a:gd name="connsiteX2144" fmla="*/ 2309856 w 9759834"/>
                <a:gd name="connsiteY2144" fmla="*/ 1189038 h 1762127"/>
                <a:gd name="connsiteX2145" fmla="*/ 2224780 w 9759834"/>
                <a:gd name="connsiteY2145" fmla="*/ 1189038 h 1762127"/>
                <a:gd name="connsiteX2146" fmla="*/ 2258913 w 9759834"/>
                <a:gd name="connsiteY2146" fmla="*/ 1223170 h 1762127"/>
                <a:gd name="connsiteX2147" fmla="*/ 2224780 w 9759834"/>
                <a:gd name="connsiteY2147" fmla="*/ 1257302 h 1762127"/>
                <a:gd name="connsiteX2148" fmla="*/ 2190649 w 9759834"/>
                <a:gd name="connsiteY2148" fmla="*/ 1223170 h 1762127"/>
                <a:gd name="connsiteX2149" fmla="*/ 2224780 w 9759834"/>
                <a:gd name="connsiteY2149" fmla="*/ 1189038 h 1762127"/>
                <a:gd name="connsiteX2150" fmla="*/ 2055713 w 9759834"/>
                <a:gd name="connsiteY2150" fmla="*/ 1189038 h 1762127"/>
                <a:gd name="connsiteX2151" fmla="*/ 2092226 w 9759834"/>
                <a:gd name="connsiteY2151" fmla="*/ 1223170 h 1762127"/>
                <a:gd name="connsiteX2152" fmla="*/ 2055713 w 9759834"/>
                <a:gd name="connsiteY2152" fmla="*/ 1257302 h 1762127"/>
                <a:gd name="connsiteX2153" fmla="*/ 2019201 w 9759834"/>
                <a:gd name="connsiteY2153" fmla="*/ 1223170 h 1762127"/>
                <a:gd name="connsiteX2154" fmla="*/ 2055713 w 9759834"/>
                <a:gd name="connsiteY2154" fmla="*/ 1189038 h 1762127"/>
                <a:gd name="connsiteX2155" fmla="*/ 1973163 w 9759834"/>
                <a:gd name="connsiteY2155" fmla="*/ 1189038 h 1762127"/>
                <a:gd name="connsiteX2156" fmla="*/ 2008088 w 9759834"/>
                <a:gd name="connsiteY2156" fmla="*/ 1223170 h 1762127"/>
                <a:gd name="connsiteX2157" fmla="*/ 1973163 w 9759834"/>
                <a:gd name="connsiteY2157" fmla="*/ 1257302 h 1762127"/>
                <a:gd name="connsiteX2158" fmla="*/ 1938238 w 9759834"/>
                <a:gd name="connsiteY2158" fmla="*/ 1223170 h 1762127"/>
                <a:gd name="connsiteX2159" fmla="*/ 1973163 w 9759834"/>
                <a:gd name="connsiteY2159" fmla="*/ 1189038 h 1762127"/>
                <a:gd name="connsiteX2160" fmla="*/ 1888234 w 9759834"/>
                <a:gd name="connsiteY2160" fmla="*/ 1189038 h 1762127"/>
                <a:gd name="connsiteX2161" fmla="*/ 1922366 w 9759834"/>
                <a:gd name="connsiteY2161" fmla="*/ 1223170 h 1762127"/>
                <a:gd name="connsiteX2162" fmla="*/ 1888234 w 9759834"/>
                <a:gd name="connsiteY2162" fmla="*/ 1257302 h 1762127"/>
                <a:gd name="connsiteX2163" fmla="*/ 1854103 w 9759834"/>
                <a:gd name="connsiteY2163" fmla="*/ 1223170 h 1762127"/>
                <a:gd name="connsiteX2164" fmla="*/ 1888234 w 9759834"/>
                <a:gd name="connsiteY2164" fmla="*/ 1189038 h 1762127"/>
                <a:gd name="connsiteX2165" fmla="*/ 1802510 w 9759834"/>
                <a:gd name="connsiteY2165" fmla="*/ 1189038 h 1762127"/>
                <a:gd name="connsiteX2166" fmla="*/ 1836643 w 9759834"/>
                <a:gd name="connsiteY2166" fmla="*/ 1223170 h 1762127"/>
                <a:gd name="connsiteX2167" fmla="*/ 1802510 w 9759834"/>
                <a:gd name="connsiteY2167" fmla="*/ 1257302 h 1762127"/>
                <a:gd name="connsiteX2168" fmla="*/ 1768379 w 9759834"/>
                <a:gd name="connsiteY2168" fmla="*/ 1223170 h 1762127"/>
                <a:gd name="connsiteX2169" fmla="*/ 1802510 w 9759834"/>
                <a:gd name="connsiteY2169" fmla="*/ 1189038 h 1762127"/>
                <a:gd name="connsiteX2170" fmla="*/ 1719169 w 9759834"/>
                <a:gd name="connsiteY2170" fmla="*/ 1189038 h 1762127"/>
                <a:gd name="connsiteX2171" fmla="*/ 1755682 w 9759834"/>
                <a:gd name="connsiteY2171" fmla="*/ 1223170 h 1762127"/>
                <a:gd name="connsiteX2172" fmla="*/ 1719169 w 9759834"/>
                <a:gd name="connsiteY2172" fmla="*/ 1257302 h 1762127"/>
                <a:gd name="connsiteX2173" fmla="*/ 1682656 w 9759834"/>
                <a:gd name="connsiteY2173" fmla="*/ 1223170 h 1762127"/>
                <a:gd name="connsiteX2174" fmla="*/ 1719169 w 9759834"/>
                <a:gd name="connsiteY2174" fmla="*/ 1189038 h 1762127"/>
                <a:gd name="connsiteX2175" fmla="*/ 1636604 w 9759834"/>
                <a:gd name="connsiteY2175" fmla="*/ 1189038 h 1762127"/>
                <a:gd name="connsiteX2176" fmla="*/ 1671529 w 9759834"/>
                <a:gd name="connsiteY2176" fmla="*/ 1223170 h 1762127"/>
                <a:gd name="connsiteX2177" fmla="*/ 1636604 w 9759834"/>
                <a:gd name="connsiteY2177" fmla="*/ 1257302 h 1762127"/>
                <a:gd name="connsiteX2178" fmla="*/ 1601679 w 9759834"/>
                <a:gd name="connsiteY2178" fmla="*/ 1223170 h 1762127"/>
                <a:gd name="connsiteX2179" fmla="*/ 1636604 w 9759834"/>
                <a:gd name="connsiteY2179" fmla="*/ 1189038 h 1762127"/>
                <a:gd name="connsiteX2180" fmla="*/ 1551670 w 9759834"/>
                <a:gd name="connsiteY2180" fmla="*/ 1189038 h 1762127"/>
                <a:gd name="connsiteX2181" fmla="*/ 1585803 w 9759834"/>
                <a:gd name="connsiteY2181" fmla="*/ 1223170 h 1762127"/>
                <a:gd name="connsiteX2182" fmla="*/ 1551670 w 9759834"/>
                <a:gd name="connsiteY2182" fmla="*/ 1257302 h 1762127"/>
                <a:gd name="connsiteX2183" fmla="*/ 1517539 w 9759834"/>
                <a:gd name="connsiteY2183" fmla="*/ 1223170 h 1762127"/>
                <a:gd name="connsiteX2184" fmla="*/ 1551670 w 9759834"/>
                <a:gd name="connsiteY2184" fmla="*/ 1189038 h 1762127"/>
                <a:gd name="connsiteX2185" fmla="*/ 1465953 w 9759834"/>
                <a:gd name="connsiteY2185" fmla="*/ 1189038 h 1762127"/>
                <a:gd name="connsiteX2186" fmla="*/ 1500086 w 9759834"/>
                <a:gd name="connsiteY2186" fmla="*/ 1223170 h 1762127"/>
                <a:gd name="connsiteX2187" fmla="*/ 1465953 w 9759834"/>
                <a:gd name="connsiteY2187" fmla="*/ 1257302 h 1762127"/>
                <a:gd name="connsiteX2188" fmla="*/ 1431821 w 9759834"/>
                <a:gd name="connsiteY2188" fmla="*/ 1223170 h 1762127"/>
                <a:gd name="connsiteX2189" fmla="*/ 1465953 w 9759834"/>
                <a:gd name="connsiteY2189" fmla="*/ 1189038 h 1762127"/>
                <a:gd name="connsiteX2190" fmla="*/ 1380392 w 9759834"/>
                <a:gd name="connsiteY2190" fmla="*/ 1189038 h 1762127"/>
                <a:gd name="connsiteX2191" fmla="*/ 1414522 w 9759834"/>
                <a:gd name="connsiteY2191" fmla="*/ 1223170 h 1762127"/>
                <a:gd name="connsiteX2192" fmla="*/ 1380392 w 9759834"/>
                <a:gd name="connsiteY2192" fmla="*/ 1257302 h 1762127"/>
                <a:gd name="connsiteX2193" fmla="*/ 1346258 w 9759834"/>
                <a:gd name="connsiteY2193" fmla="*/ 1223170 h 1762127"/>
                <a:gd name="connsiteX2194" fmla="*/ 1380392 w 9759834"/>
                <a:gd name="connsiteY2194" fmla="*/ 1189038 h 1762127"/>
                <a:gd name="connsiteX2195" fmla="*/ 1300222 w 9759834"/>
                <a:gd name="connsiteY2195" fmla="*/ 1189038 h 1762127"/>
                <a:gd name="connsiteX2196" fmla="*/ 1335148 w 9759834"/>
                <a:gd name="connsiteY2196" fmla="*/ 1223170 h 1762127"/>
                <a:gd name="connsiteX2197" fmla="*/ 1300222 w 9759834"/>
                <a:gd name="connsiteY2197" fmla="*/ 1257302 h 1762127"/>
                <a:gd name="connsiteX2198" fmla="*/ 1265297 w 9759834"/>
                <a:gd name="connsiteY2198" fmla="*/ 1223170 h 1762127"/>
                <a:gd name="connsiteX2199" fmla="*/ 1300222 w 9759834"/>
                <a:gd name="connsiteY2199" fmla="*/ 1189038 h 1762127"/>
                <a:gd name="connsiteX2200" fmla="*/ 284840 w 9759834"/>
                <a:gd name="connsiteY2200" fmla="*/ 1189038 h 1762127"/>
                <a:gd name="connsiteX2201" fmla="*/ 318971 w 9759834"/>
                <a:gd name="connsiteY2201" fmla="*/ 1223170 h 1762127"/>
                <a:gd name="connsiteX2202" fmla="*/ 284840 w 9759834"/>
                <a:gd name="connsiteY2202" fmla="*/ 1257302 h 1762127"/>
                <a:gd name="connsiteX2203" fmla="*/ 250707 w 9759834"/>
                <a:gd name="connsiteY2203" fmla="*/ 1223170 h 1762127"/>
                <a:gd name="connsiteX2204" fmla="*/ 284840 w 9759834"/>
                <a:gd name="connsiteY2204" fmla="*/ 1189038 h 1762127"/>
                <a:gd name="connsiteX2205" fmla="*/ 202289 w 9759834"/>
                <a:gd name="connsiteY2205" fmla="*/ 1189038 h 1762127"/>
                <a:gd name="connsiteX2206" fmla="*/ 239596 w 9759834"/>
                <a:gd name="connsiteY2206" fmla="*/ 1223170 h 1762127"/>
                <a:gd name="connsiteX2207" fmla="*/ 202289 w 9759834"/>
                <a:gd name="connsiteY2207" fmla="*/ 1257302 h 1762127"/>
                <a:gd name="connsiteX2208" fmla="*/ 164982 w 9759834"/>
                <a:gd name="connsiteY2208" fmla="*/ 1223170 h 1762127"/>
                <a:gd name="connsiteX2209" fmla="*/ 202289 w 9759834"/>
                <a:gd name="connsiteY2209" fmla="*/ 1189038 h 1762127"/>
                <a:gd name="connsiteX2210" fmla="*/ 118945 w 9759834"/>
                <a:gd name="connsiteY2210" fmla="*/ 1189038 h 1762127"/>
                <a:gd name="connsiteX2211" fmla="*/ 153870 w 9759834"/>
                <a:gd name="connsiteY2211" fmla="*/ 1223170 h 1762127"/>
                <a:gd name="connsiteX2212" fmla="*/ 118945 w 9759834"/>
                <a:gd name="connsiteY2212" fmla="*/ 1257302 h 1762127"/>
                <a:gd name="connsiteX2213" fmla="*/ 84020 w 9759834"/>
                <a:gd name="connsiteY2213" fmla="*/ 1223170 h 1762127"/>
                <a:gd name="connsiteX2214" fmla="*/ 118945 w 9759834"/>
                <a:gd name="connsiteY2214" fmla="*/ 1189038 h 1762127"/>
                <a:gd name="connsiteX2215" fmla="*/ 34131 w 9759834"/>
                <a:gd name="connsiteY2215" fmla="*/ 1189038 h 1762127"/>
                <a:gd name="connsiteX2216" fmla="*/ 68265 w 9759834"/>
                <a:gd name="connsiteY2216" fmla="*/ 1223170 h 1762127"/>
                <a:gd name="connsiteX2217" fmla="*/ 34131 w 9759834"/>
                <a:gd name="connsiteY2217" fmla="*/ 1257302 h 1762127"/>
                <a:gd name="connsiteX2218" fmla="*/ 0 w 9759834"/>
                <a:gd name="connsiteY2218" fmla="*/ 1223170 h 1762127"/>
                <a:gd name="connsiteX2219" fmla="*/ 34131 w 9759834"/>
                <a:gd name="connsiteY2219" fmla="*/ 1189038 h 1762127"/>
                <a:gd name="connsiteX2220" fmla="*/ 9725702 w 9759834"/>
                <a:gd name="connsiteY2220" fmla="*/ 1101725 h 1762127"/>
                <a:gd name="connsiteX2221" fmla="*/ 9759834 w 9759834"/>
                <a:gd name="connsiteY2221" fmla="*/ 1136650 h 1762127"/>
                <a:gd name="connsiteX2222" fmla="*/ 9725702 w 9759834"/>
                <a:gd name="connsiteY2222" fmla="*/ 1171575 h 1762127"/>
                <a:gd name="connsiteX2223" fmla="*/ 9691570 w 9759834"/>
                <a:gd name="connsiteY2223" fmla="*/ 1136650 h 1762127"/>
                <a:gd name="connsiteX2224" fmla="*/ 9725702 w 9759834"/>
                <a:gd name="connsiteY2224" fmla="*/ 1101725 h 1762127"/>
                <a:gd name="connsiteX2225" fmla="*/ 9560602 w 9759834"/>
                <a:gd name="connsiteY2225" fmla="*/ 1101725 h 1762127"/>
                <a:gd name="connsiteX2226" fmla="*/ 9594734 w 9759834"/>
                <a:gd name="connsiteY2226" fmla="*/ 1136650 h 1762127"/>
                <a:gd name="connsiteX2227" fmla="*/ 9560602 w 9759834"/>
                <a:gd name="connsiteY2227" fmla="*/ 1171575 h 1762127"/>
                <a:gd name="connsiteX2228" fmla="*/ 9526470 w 9759834"/>
                <a:gd name="connsiteY2228" fmla="*/ 1136650 h 1762127"/>
                <a:gd name="connsiteX2229" fmla="*/ 9560602 w 9759834"/>
                <a:gd name="connsiteY2229" fmla="*/ 1101725 h 1762127"/>
                <a:gd name="connsiteX2230" fmla="*/ 9474877 w 9759834"/>
                <a:gd name="connsiteY2230" fmla="*/ 1101725 h 1762127"/>
                <a:gd name="connsiteX2231" fmla="*/ 9509009 w 9759834"/>
                <a:gd name="connsiteY2231" fmla="*/ 1136650 h 1762127"/>
                <a:gd name="connsiteX2232" fmla="*/ 9474877 w 9759834"/>
                <a:gd name="connsiteY2232" fmla="*/ 1171575 h 1762127"/>
                <a:gd name="connsiteX2233" fmla="*/ 9440745 w 9759834"/>
                <a:gd name="connsiteY2233" fmla="*/ 1136650 h 1762127"/>
                <a:gd name="connsiteX2234" fmla="*/ 9474877 w 9759834"/>
                <a:gd name="connsiteY2234" fmla="*/ 1101725 h 1762127"/>
                <a:gd name="connsiteX2235" fmla="*/ 9389152 w 9759834"/>
                <a:gd name="connsiteY2235" fmla="*/ 1101725 h 1762127"/>
                <a:gd name="connsiteX2236" fmla="*/ 9423284 w 9759834"/>
                <a:gd name="connsiteY2236" fmla="*/ 1136650 h 1762127"/>
                <a:gd name="connsiteX2237" fmla="*/ 9389152 w 9759834"/>
                <a:gd name="connsiteY2237" fmla="*/ 1171575 h 1762127"/>
                <a:gd name="connsiteX2238" fmla="*/ 9355020 w 9759834"/>
                <a:gd name="connsiteY2238" fmla="*/ 1136650 h 1762127"/>
                <a:gd name="connsiteX2239" fmla="*/ 9389152 w 9759834"/>
                <a:gd name="connsiteY2239" fmla="*/ 1101725 h 1762127"/>
                <a:gd name="connsiteX2240" fmla="*/ 8801777 w 9759834"/>
                <a:gd name="connsiteY2240" fmla="*/ 1101725 h 1762127"/>
                <a:gd name="connsiteX2241" fmla="*/ 8835909 w 9759834"/>
                <a:gd name="connsiteY2241" fmla="*/ 1136650 h 1762127"/>
                <a:gd name="connsiteX2242" fmla="*/ 8801777 w 9759834"/>
                <a:gd name="connsiteY2242" fmla="*/ 1171575 h 1762127"/>
                <a:gd name="connsiteX2243" fmla="*/ 8767645 w 9759834"/>
                <a:gd name="connsiteY2243" fmla="*/ 1136650 h 1762127"/>
                <a:gd name="connsiteX2244" fmla="*/ 8801777 w 9759834"/>
                <a:gd name="connsiteY2244" fmla="*/ 1101725 h 1762127"/>
                <a:gd name="connsiteX2245" fmla="*/ 8716052 w 9759834"/>
                <a:gd name="connsiteY2245" fmla="*/ 1101725 h 1762127"/>
                <a:gd name="connsiteX2246" fmla="*/ 8750184 w 9759834"/>
                <a:gd name="connsiteY2246" fmla="*/ 1136650 h 1762127"/>
                <a:gd name="connsiteX2247" fmla="*/ 8716052 w 9759834"/>
                <a:gd name="connsiteY2247" fmla="*/ 1171575 h 1762127"/>
                <a:gd name="connsiteX2248" fmla="*/ 8681920 w 9759834"/>
                <a:gd name="connsiteY2248" fmla="*/ 1136650 h 1762127"/>
                <a:gd name="connsiteX2249" fmla="*/ 8716052 w 9759834"/>
                <a:gd name="connsiteY2249" fmla="*/ 1101725 h 1762127"/>
                <a:gd name="connsiteX2250" fmla="*/ 8630327 w 9759834"/>
                <a:gd name="connsiteY2250" fmla="*/ 1101725 h 1762127"/>
                <a:gd name="connsiteX2251" fmla="*/ 8664459 w 9759834"/>
                <a:gd name="connsiteY2251" fmla="*/ 1136650 h 1762127"/>
                <a:gd name="connsiteX2252" fmla="*/ 8630327 w 9759834"/>
                <a:gd name="connsiteY2252" fmla="*/ 1171575 h 1762127"/>
                <a:gd name="connsiteX2253" fmla="*/ 8596195 w 9759834"/>
                <a:gd name="connsiteY2253" fmla="*/ 1136650 h 1762127"/>
                <a:gd name="connsiteX2254" fmla="*/ 8630327 w 9759834"/>
                <a:gd name="connsiteY2254" fmla="*/ 1101725 h 1762127"/>
                <a:gd name="connsiteX2255" fmla="*/ 8544602 w 9759834"/>
                <a:gd name="connsiteY2255" fmla="*/ 1101725 h 1762127"/>
                <a:gd name="connsiteX2256" fmla="*/ 8578734 w 9759834"/>
                <a:gd name="connsiteY2256" fmla="*/ 1136650 h 1762127"/>
                <a:gd name="connsiteX2257" fmla="*/ 8544602 w 9759834"/>
                <a:gd name="connsiteY2257" fmla="*/ 1171575 h 1762127"/>
                <a:gd name="connsiteX2258" fmla="*/ 8510470 w 9759834"/>
                <a:gd name="connsiteY2258" fmla="*/ 1136650 h 1762127"/>
                <a:gd name="connsiteX2259" fmla="*/ 8544602 w 9759834"/>
                <a:gd name="connsiteY2259" fmla="*/ 1101725 h 1762127"/>
                <a:gd name="connsiteX2260" fmla="*/ 8465227 w 9759834"/>
                <a:gd name="connsiteY2260" fmla="*/ 1101725 h 1762127"/>
                <a:gd name="connsiteX2261" fmla="*/ 8499359 w 9759834"/>
                <a:gd name="connsiteY2261" fmla="*/ 1136650 h 1762127"/>
                <a:gd name="connsiteX2262" fmla="*/ 8465227 w 9759834"/>
                <a:gd name="connsiteY2262" fmla="*/ 1171575 h 1762127"/>
                <a:gd name="connsiteX2263" fmla="*/ 8431095 w 9759834"/>
                <a:gd name="connsiteY2263" fmla="*/ 1136650 h 1762127"/>
                <a:gd name="connsiteX2264" fmla="*/ 8465227 w 9759834"/>
                <a:gd name="connsiteY2264" fmla="*/ 1101725 h 1762127"/>
                <a:gd name="connsiteX2265" fmla="*/ 8379502 w 9759834"/>
                <a:gd name="connsiteY2265" fmla="*/ 1101725 h 1762127"/>
                <a:gd name="connsiteX2266" fmla="*/ 8413634 w 9759834"/>
                <a:gd name="connsiteY2266" fmla="*/ 1136650 h 1762127"/>
                <a:gd name="connsiteX2267" fmla="*/ 8379502 w 9759834"/>
                <a:gd name="connsiteY2267" fmla="*/ 1171575 h 1762127"/>
                <a:gd name="connsiteX2268" fmla="*/ 8345370 w 9759834"/>
                <a:gd name="connsiteY2268" fmla="*/ 1136650 h 1762127"/>
                <a:gd name="connsiteX2269" fmla="*/ 8379502 w 9759834"/>
                <a:gd name="connsiteY2269" fmla="*/ 1101725 h 1762127"/>
                <a:gd name="connsiteX2270" fmla="*/ 8293777 w 9759834"/>
                <a:gd name="connsiteY2270" fmla="*/ 1101725 h 1762127"/>
                <a:gd name="connsiteX2271" fmla="*/ 8327909 w 9759834"/>
                <a:gd name="connsiteY2271" fmla="*/ 1136650 h 1762127"/>
                <a:gd name="connsiteX2272" fmla="*/ 8293777 w 9759834"/>
                <a:gd name="connsiteY2272" fmla="*/ 1171575 h 1762127"/>
                <a:gd name="connsiteX2273" fmla="*/ 8259645 w 9759834"/>
                <a:gd name="connsiteY2273" fmla="*/ 1136650 h 1762127"/>
                <a:gd name="connsiteX2274" fmla="*/ 8293777 w 9759834"/>
                <a:gd name="connsiteY2274" fmla="*/ 1101725 h 1762127"/>
                <a:gd name="connsiteX2275" fmla="*/ 8208052 w 9759834"/>
                <a:gd name="connsiteY2275" fmla="*/ 1101725 h 1762127"/>
                <a:gd name="connsiteX2276" fmla="*/ 8242184 w 9759834"/>
                <a:gd name="connsiteY2276" fmla="*/ 1136650 h 1762127"/>
                <a:gd name="connsiteX2277" fmla="*/ 8208052 w 9759834"/>
                <a:gd name="connsiteY2277" fmla="*/ 1171575 h 1762127"/>
                <a:gd name="connsiteX2278" fmla="*/ 8173920 w 9759834"/>
                <a:gd name="connsiteY2278" fmla="*/ 1136650 h 1762127"/>
                <a:gd name="connsiteX2279" fmla="*/ 8208052 w 9759834"/>
                <a:gd name="connsiteY2279" fmla="*/ 1101725 h 1762127"/>
                <a:gd name="connsiteX2280" fmla="*/ 8125502 w 9759834"/>
                <a:gd name="connsiteY2280" fmla="*/ 1101725 h 1762127"/>
                <a:gd name="connsiteX2281" fmla="*/ 8162809 w 9759834"/>
                <a:gd name="connsiteY2281" fmla="*/ 1136650 h 1762127"/>
                <a:gd name="connsiteX2282" fmla="*/ 8125502 w 9759834"/>
                <a:gd name="connsiteY2282" fmla="*/ 1171575 h 1762127"/>
                <a:gd name="connsiteX2283" fmla="*/ 8088195 w 9759834"/>
                <a:gd name="connsiteY2283" fmla="*/ 1136650 h 1762127"/>
                <a:gd name="connsiteX2284" fmla="*/ 8125502 w 9759834"/>
                <a:gd name="connsiteY2284" fmla="*/ 1101725 h 1762127"/>
                <a:gd name="connsiteX2285" fmla="*/ 8042952 w 9759834"/>
                <a:gd name="connsiteY2285" fmla="*/ 1101725 h 1762127"/>
                <a:gd name="connsiteX2286" fmla="*/ 8077084 w 9759834"/>
                <a:gd name="connsiteY2286" fmla="*/ 1136650 h 1762127"/>
                <a:gd name="connsiteX2287" fmla="*/ 8042952 w 9759834"/>
                <a:gd name="connsiteY2287" fmla="*/ 1171575 h 1762127"/>
                <a:gd name="connsiteX2288" fmla="*/ 8008820 w 9759834"/>
                <a:gd name="connsiteY2288" fmla="*/ 1136650 h 1762127"/>
                <a:gd name="connsiteX2289" fmla="*/ 8042952 w 9759834"/>
                <a:gd name="connsiteY2289" fmla="*/ 1101725 h 1762127"/>
                <a:gd name="connsiteX2290" fmla="*/ 7957227 w 9759834"/>
                <a:gd name="connsiteY2290" fmla="*/ 1101725 h 1762127"/>
                <a:gd name="connsiteX2291" fmla="*/ 7991359 w 9759834"/>
                <a:gd name="connsiteY2291" fmla="*/ 1136650 h 1762127"/>
                <a:gd name="connsiteX2292" fmla="*/ 7957227 w 9759834"/>
                <a:gd name="connsiteY2292" fmla="*/ 1171575 h 1762127"/>
                <a:gd name="connsiteX2293" fmla="*/ 7923095 w 9759834"/>
                <a:gd name="connsiteY2293" fmla="*/ 1136650 h 1762127"/>
                <a:gd name="connsiteX2294" fmla="*/ 7957227 w 9759834"/>
                <a:gd name="connsiteY2294" fmla="*/ 1101725 h 1762127"/>
                <a:gd name="connsiteX2295" fmla="*/ 7871502 w 9759834"/>
                <a:gd name="connsiteY2295" fmla="*/ 1101725 h 1762127"/>
                <a:gd name="connsiteX2296" fmla="*/ 7905634 w 9759834"/>
                <a:gd name="connsiteY2296" fmla="*/ 1136650 h 1762127"/>
                <a:gd name="connsiteX2297" fmla="*/ 7871502 w 9759834"/>
                <a:gd name="connsiteY2297" fmla="*/ 1171575 h 1762127"/>
                <a:gd name="connsiteX2298" fmla="*/ 7837370 w 9759834"/>
                <a:gd name="connsiteY2298" fmla="*/ 1136650 h 1762127"/>
                <a:gd name="connsiteX2299" fmla="*/ 7871502 w 9759834"/>
                <a:gd name="connsiteY2299" fmla="*/ 1101725 h 1762127"/>
                <a:gd name="connsiteX2300" fmla="*/ 7785777 w 9759834"/>
                <a:gd name="connsiteY2300" fmla="*/ 1101725 h 1762127"/>
                <a:gd name="connsiteX2301" fmla="*/ 7819909 w 9759834"/>
                <a:gd name="connsiteY2301" fmla="*/ 1136650 h 1762127"/>
                <a:gd name="connsiteX2302" fmla="*/ 7785777 w 9759834"/>
                <a:gd name="connsiteY2302" fmla="*/ 1171575 h 1762127"/>
                <a:gd name="connsiteX2303" fmla="*/ 7751645 w 9759834"/>
                <a:gd name="connsiteY2303" fmla="*/ 1136650 h 1762127"/>
                <a:gd name="connsiteX2304" fmla="*/ 7785777 w 9759834"/>
                <a:gd name="connsiteY2304" fmla="*/ 1101725 h 1762127"/>
                <a:gd name="connsiteX2305" fmla="*/ 7706402 w 9759834"/>
                <a:gd name="connsiteY2305" fmla="*/ 1101725 h 1762127"/>
                <a:gd name="connsiteX2306" fmla="*/ 7740534 w 9759834"/>
                <a:gd name="connsiteY2306" fmla="*/ 1136650 h 1762127"/>
                <a:gd name="connsiteX2307" fmla="*/ 7706402 w 9759834"/>
                <a:gd name="connsiteY2307" fmla="*/ 1171575 h 1762127"/>
                <a:gd name="connsiteX2308" fmla="*/ 7672270 w 9759834"/>
                <a:gd name="connsiteY2308" fmla="*/ 1136650 h 1762127"/>
                <a:gd name="connsiteX2309" fmla="*/ 7706402 w 9759834"/>
                <a:gd name="connsiteY2309" fmla="*/ 1101725 h 1762127"/>
                <a:gd name="connsiteX2310" fmla="*/ 7620677 w 9759834"/>
                <a:gd name="connsiteY2310" fmla="*/ 1101725 h 1762127"/>
                <a:gd name="connsiteX2311" fmla="*/ 7654809 w 9759834"/>
                <a:gd name="connsiteY2311" fmla="*/ 1136650 h 1762127"/>
                <a:gd name="connsiteX2312" fmla="*/ 7620677 w 9759834"/>
                <a:gd name="connsiteY2312" fmla="*/ 1171575 h 1762127"/>
                <a:gd name="connsiteX2313" fmla="*/ 7586545 w 9759834"/>
                <a:gd name="connsiteY2313" fmla="*/ 1136650 h 1762127"/>
                <a:gd name="connsiteX2314" fmla="*/ 7620677 w 9759834"/>
                <a:gd name="connsiteY2314" fmla="*/ 1101725 h 1762127"/>
                <a:gd name="connsiteX2315" fmla="*/ 7534952 w 9759834"/>
                <a:gd name="connsiteY2315" fmla="*/ 1101725 h 1762127"/>
                <a:gd name="connsiteX2316" fmla="*/ 7569084 w 9759834"/>
                <a:gd name="connsiteY2316" fmla="*/ 1136650 h 1762127"/>
                <a:gd name="connsiteX2317" fmla="*/ 7534952 w 9759834"/>
                <a:gd name="connsiteY2317" fmla="*/ 1171575 h 1762127"/>
                <a:gd name="connsiteX2318" fmla="*/ 7500820 w 9759834"/>
                <a:gd name="connsiteY2318" fmla="*/ 1136650 h 1762127"/>
                <a:gd name="connsiteX2319" fmla="*/ 7534952 w 9759834"/>
                <a:gd name="connsiteY2319" fmla="*/ 1101725 h 1762127"/>
                <a:gd name="connsiteX2320" fmla="*/ 7449227 w 9759834"/>
                <a:gd name="connsiteY2320" fmla="*/ 1101725 h 1762127"/>
                <a:gd name="connsiteX2321" fmla="*/ 7483359 w 9759834"/>
                <a:gd name="connsiteY2321" fmla="*/ 1136650 h 1762127"/>
                <a:gd name="connsiteX2322" fmla="*/ 7449227 w 9759834"/>
                <a:gd name="connsiteY2322" fmla="*/ 1171575 h 1762127"/>
                <a:gd name="connsiteX2323" fmla="*/ 7415095 w 9759834"/>
                <a:gd name="connsiteY2323" fmla="*/ 1136650 h 1762127"/>
                <a:gd name="connsiteX2324" fmla="*/ 7449227 w 9759834"/>
                <a:gd name="connsiteY2324" fmla="*/ 1101725 h 1762127"/>
                <a:gd name="connsiteX2325" fmla="*/ 7366677 w 9759834"/>
                <a:gd name="connsiteY2325" fmla="*/ 1101725 h 1762127"/>
                <a:gd name="connsiteX2326" fmla="*/ 7403984 w 9759834"/>
                <a:gd name="connsiteY2326" fmla="*/ 1136650 h 1762127"/>
                <a:gd name="connsiteX2327" fmla="*/ 7366677 w 9759834"/>
                <a:gd name="connsiteY2327" fmla="*/ 1171575 h 1762127"/>
                <a:gd name="connsiteX2328" fmla="*/ 7329370 w 9759834"/>
                <a:gd name="connsiteY2328" fmla="*/ 1136650 h 1762127"/>
                <a:gd name="connsiteX2329" fmla="*/ 7366677 w 9759834"/>
                <a:gd name="connsiteY2329" fmla="*/ 1101725 h 1762127"/>
                <a:gd name="connsiteX2330" fmla="*/ 7284127 w 9759834"/>
                <a:gd name="connsiteY2330" fmla="*/ 1101725 h 1762127"/>
                <a:gd name="connsiteX2331" fmla="*/ 7318259 w 9759834"/>
                <a:gd name="connsiteY2331" fmla="*/ 1136650 h 1762127"/>
                <a:gd name="connsiteX2332" fmla="*/ 7284127 w 9759834"/>
                <a:gd name="connsiteY2332" fmla="*/ 1171575 h 1762127"/>
                <a:gd name="connsiteX2333" fmla="*/ 7249995 w 9759834"/>
                <a:gd name="connsiteY2333" fmla="*/ 1136650 h 1762127"/>
                <a:gd name="connsiteX2334" fmla="*/ 7284127 w 9759834"/>
                <a:gd name="connsiteY2334" fmla="*/ 1101725 h 1762127"/>
                <a:gd name="connsiteX2335" fmla="*/ 7198402 w 9759834"/>
                <a:gd name="connsiteY2335" fmla="*/ 1101725 h 1762127"/>
                <a:gd name="connsiteX2336" fmla="*/ 7232534 w 9759834"/>
                <a:gd name="connsiteY2336" fmla="*/ 1136650 h 1762127"/>
                <a:gd name="connsiteX2337" fmla="*/ 7198402 w 9759834"/>
                <a:gd name="connsiteY2337" fmla="*/ 1171575 h 1762127"/>
                <a:gd name="connsiteX2338" fmla="*/ 7164270 w 9759834"/>
                <a:gd name="connsiteY2338" fmla="*/ 1136650 h 1762127"/>
                <a:gd name="connsiteX2339" fmla="*/ 7198402 w 9759834"/>
                <a:gd name="connsiteY2339" fmla="*/ 1101725 h 1762127"/>
                <a:gd name="connsiteX2340" fmla="*/ 7112677 w 9759834"/>
                <a:gd name="connsiteY2340" fmla="*/ 1101725 h 1762127"/>
                <a:gd name="connsiteX2341" fmla="*/ 7146809 w 9759834"/>
                <a:gd name="connsiteY2341" fmla="*/ 1136650 h 1762127"/>
                <a:gd name="connsiteX2342" fmla="*/ 7112677 w 9759834"/>
                <a:gd name="connsiteY2342" fmla="*/ 1171575 h 1762127"/>
                <a:gd name="connsiteX2343" fmla="*/ 7078545 w 9759834"/>
                <a:gd name="connsiteY2343" fmla="*/ 1136650 h 1762127"/>
                <a:gd name="connsiteX2344" fmla="*/ 7112677 w 9759834"/>
                <a:gd name="connsiteY2344" fmla="*/ 1101725 h 1762127"/>
                <a:gd name="connsiteX2345" fmla="*/ 7027745 w 9759834"/>
                <a:gd name="connsiteY2345" fmla="*/ 1101725 h 1762127"/>
                <a:gd name="connsiteX2346" fmla="*/ 7062670 w 9759834"/>
                <a:gd name="connsiteY2346" fmla="*/ 1136650 h 1762127"/>
                <a:gd name="connsiteX2347" fmla="*/ 7027745 w 9759834"/>
                <a:gd name="connsiteY2347" fmla="*/ 1171575 h 1762127"/>
                <a:gd name="connsiteX2348" fmla="*/ 6992820 w 9759834"/>
                <a:gd name="connsiteY2348" fmla="*/ 1136650 h 1762127"/>
                <a:gd name="connsiteX2349" fmla="*/ 7027745 w 9759834"/>
                <a:gd name="connsiteY2349" fmla="*/ 1101725 h 1762127"/>
                <a:gd name="connsiteX2350" fmla="*/ 6947577 w 9759834"/>
                <a:gd name="connsiteY2350" fmla="*/ 1101725 h 1762127"/>
                <a:gd name="connsiteX2351" fmla="*/ 6981709 w 9759834"/>
                <a:gd name="connsiteY2351" fmla="*/ 1136650 h 1762127"/>
                <a:gd name="connsiteX2352" fmla="*/ 6947577 w 9759834"/>
                <a:gd name="connsiteY2352" fmla="*/ 1171575 h 1762127"/>
                <a:gd name="connsiteX2353" fmla="*/ 6913445 w 9759834"/>
                <a:gd name="connsiteY2353" fmla="*/ 1136650 h 1762127"/>
                <a:gd name="connsiteX2354" fmla="*/ 6947577 w 9759834"/>
                <a:gd name="connsiteY2354" fmla="*/ 1101725 h 1762127"/>
                <a:gd name="connsiteX2355" fmla="*/ 6861852 w 9759834"/>
                <a:gd name="connsiteY2355" fmla="*/ 1101725 h 1762127"/>
                <a:gd name="connsiteX2356" fmla="*/ 6895984 w 9759834"/>
                <a:gd name="connsiteY2356" fmla="*/ 1136650 h 1762127"/>
                <a:gd name="connsiteX2357" fmla="*/ 6861852 w 9759834"/>
                <a:gd name="connsiteY2357" fmla="*/ 1171575 h 1762127"/>
                <a:gd name="connsiteX2358" fmla="*/ 6827720 w 9759834"/>
                <a:gd name="connsiteY2358" fmla="*/ 1136650 h 1762127"/>
                <a:gd name="connsiteX2359" fmla="*/ 6861852 w 9759834"/>
                <a:gd name="connsiteY2359" fmla="*/ 1101725 h 1762127"/>
                <a:gd name="connsiteX2360" fmla="*/ 6776127 w 9759834"/>
                <a:gd name="connsiteY2360" fmla="*/ 1101725 h 1762127"/>
                <a:gd name="connsiteX2361" fmla="*/ 6810259 w 9759834"/>
                <a:gd name="connsiteY2361" fmla="*/ 1136650 h 1762127"/>
                <a:gd name="connsiteX2362" fmla="*/ 6776127 w 9759834"/>
                <a:gd name="connsiteY2362" fmla="*/ 1171575 h 1762127"/>
                <a:gd name="connsiteX2363" fmla="*/ 6741995 w 9759834"/>
                <a:gd name="connsiteY2363" fmla="*/ 1136650 h 1762127"/>
                <a:gd name="connsiteX2364" fmla="*/ 6776127 w 9759834"/>
                <a:gd name="connsiteY2364" fmla="*/ 1101725 h 1762127"/>
                <a:gd name="connsiteX2365" fmla="*/ 6691195 w 9759834"/>
                <a:gd name="connsiteY2365" fmla="*/ 1101725 h 1762127"/>
                <a:gd name="connsiteX2366" fmla="*/ 6726120 w 9759834"/>
                <a:gd name="connsiteY2366" fmla="*/ 1136650 h 1762127"/>
                <a:gd name="connsiteX2367" fmla="*/ 6691195 w 9759834"/>
                <a:gd name="connsiteY2367" fmla="*/ 1171575 h 1762127"/>
                <a:gd name="connsiteX2368" fmla="*/ 6656270 w 9759834"/>
                <a:gd name="connsiteY2368" fmla="*/ 1136650 h 1762127"/>
                <a:gd name="connsiteX2369" fmla="*/ 6691195 w 9759834"/>
                <a:gd name="connsiteY2369" fmla="*/ 1101725 h 1762127"/>
                <a:gd name="connsiteX2370" fmla="*/ 6607852 w 9759834"/>
                <a:gd name="connsiteY2370" fmla="*/ 1101725 h 1762127"/>
                <a:gd name="connsiteX2371" fmla="*/ 6645159 w 9759834"/>
                <a:gd name="connsiteY2371" fmla="*/ 1136650 h 1762127"/>
                <a:gd name="connsiteX2372" fmla="*/ 6607852 w 9759834"/>
                <a:gd name="connsiteY2372" fmla="*/ 1171575 h 1762127"/>
                <a:gd name="connsiteX2373" fmla="*/ 6570545 w 9759834"/>
                <a:gd name="connsiteY2373" fmla="*/ 1136650 h 1762127"/>
                <a:gd name="connsiteX2374" fmla="*/ 6607852 w 9759834"/>
                <a:gd name="connsiteY2374" fmla="*/ 1101725 h 1762127"/>
                <a:gd name="connsiteX2375" fmla="*/ 6525302 w 9759834"/>
                <a:gd name="connsiteY2375" fmla="*/ 1101725 h 1762127"/>
                <a:gd name="connsiteX2376" fmla="*/ 6559434 w 9759834"/>
                <a:gd name="connsiteY2376" fmla="*/ 1136650 h 1762127"/>
                <a:gd name="connsiteX2377" fmla="*/ 6525302 w 9759834"/>
                <a:gd name="connsiteY2377" fmla="*/ 1171575 h 1762127"/>
                <a:gd name="connsiteX2378" fmla="*/ 6491170 w 9759834"/>
                <a:gd name="connsiteY2378" fmla="*/ 1136650 h 1762127"/>
                <a:gd name="connsiteX2379" fmla="*/ 6525302 w 9759834"/>
                <a:gd name="connsiteY2379" fmla="*/ 1101725 h 1762127"/>
                <a:gd name="connsiteX2380" fmla="*/ 6439577 w 9759834"/>
                <a:gd name="connsiteY2380" fmla="*/ 1101725 h 1762127"/>
                <a:gd name="connsiteX2381" fmla="*/ 6473709 w 9759834"/>
                <a:gd name="connsiteY2381" fmla="*/ 1136650 h 1762127"/>
                <a:gd name="connsiteX2382" fmla="*/ 6439577 w 9759834"/>
                <a:gd name="connsiteY2382" fmla="*/ 1171575 h 1762127"/>
                <a:gd name="connsiteX2383" fmla="*/ 6405445 w 9759834"/>
                <a:gd name="connsiteY2383" fmla="*/ 1136650 h 1762127"/>
                <a:gd name="connsiteX2384" fmla="*/ 6439577 w 9759834"/>
                <a:gd name="connsiteY2384" fmla="*/ 1101725 h 1762127"/>
                <a:gd name="connsiteX2385" fmla="*/ 6353852 w 9759834"/>
                <a:gd name="connsiteY2385" fmla="*/ 1101725 h 1762127"/>
                <a:gd name="connsiteX2386" fmla="*/ 6387984 w 9759834"/>
                <a:gd name="connsiteY2386" fmla="*/ 1136650 h 1762127"/>
                <a:gd name="connsiteX2387" fmla="*/ 6353852 w 9759834"/>
                <a:gd name="connsiteY2387" fmla="*/ 1171575 h 1762127"/>
                <a:gd name="connsiteX2388" fmla="*/ 6319720 w 9759834"/>
                <a:gd name="connsiteY2388" fmla="*/ 1136650 h 1762127"/>
                <a:gd name="connsiteX2389" fmla="*/ 6353852 w 9759834"/>
                <a:gd name="connsiteY2389" fmla="*/ 1101725 h 1762127"/>
                <a:gd name="connsiteX2390" fmla="*/ 6268920 w 9759834"/>
                <a:gd name="connsiteY2390" fmla="*/ 1101725 h 1762127"/>
                <a:gd name="connsiteX2391" fmla="*/ 6303845 w 9759834"/>
                <a:gd name="connsiteY2391" fmla="*/ 1136650 h 1762127"/>
                <a:gd name="connsiteX2392" fmla="*/ 6268920 w 9759834"/>
                <a:gd name="connsiteY2392" fmla="*/ 1171575 h 1762127"/>
                <a:gd name="connsiteX2393" fmla="*/ 6233995 w 9759834"/>
                <a:gd name="connsiteY2393" fmla="*/ 1136650 h 1762127"/>
                <a:gd name="connsiteX2394" fmla="*/ 6268920 w 9759834"/>
                <a:gd name="connsiteY2394" fmla="*/ 1101725 h 1762127"/>
                <a:gd name="connsiteX2395" fmla="*/ 6188752 w 9759834"/>
                <a:gd name="connsiteY2395" fmla="*/ 1101725 h 1762127"/>
                <a:gd name="connsiteX2396" fmla="*/ 6222884 w 9759834"/>
                <a:gd name="connsiteY2396" fmla="*/ 1136650 h 1762127"/>
                <a:gd name="connsiteX2397" fmla="*/ 6188752 w 9759834"/>
                <a:gd name="connsiteY2397" fmla="*/ 1171575 h 1762127"/>
                <a:gd name="connsiteX2398" fmla="*/ 6154620 w 9759834"/>
                <a:gd name="connsiteY2398" fmla="*/ 1136650 h 1762127"/>
                <a:gd name="connsiteX2399" fmla="*/ 6188752 w 9759834"/>
                <a:gd name="connsiteY2399" fmla="*/ 1101725 h 1762127"/>
                <a:gd name="connsiteX2400" fmla="*/ 6103027 w 9759834"/>
                <a:gd name="connsiteY2400" fmla="*/ 1101725 h 1762127"/>
                <a:gd name="connsiteX2401" fmla="*/ 6137159 w 9759834"/>
                <a:gd name="connsiteY2401" fmla="*/ 1136650 h 1762127"/>
                <a:gd name="connsiteX2402" fmla="*/ 6103027 w 9759834"/>
                <a:gd name="connsiteY2402" fmla="*/ 1171575 h 1762127"/>
                <a:gd name="connsiteX2403" fmla="*/ 6068895 w 9759834"/>
                <a:gd name="connsiteY2403" fmla="*/ 1136650 h 1762127"/>
                <a:gd name="connsiteX2404" fmla="*/ 6103027 w 9759834"/>
                <a:gd name="connsiteY2404" fmla="*/ 1101725 h 1762127"/>
                <a:gd name="connsiteX2405" fmla="*/ 6017302 w 9759834"/>
                <a:gd name="connsiteY2405" fmla="*/ 1101725 h 1762127"/>
                <a:gd name="connsiteX2406" fmla="*/ 6051434 w 9759834"/>
                <a:gd name="connsiteY2406" fmla="*/ 1136650 h 1762127"/>
                <a:gd name="connsiteX2407" fmla="*/ 6017302 w 9759834"/>
                <a:gd name="connsiteY2407" fmla="*/ 1171575 h 1762127"/>
                <a:gd name="connsiteX2408" fmla="*/ 5983170 w 9759834"/>
                <a:gd name="connsiteY2408" fmla="*/ 1136650 h 1762127"/>
                <a:gd name="connsiteX2409" fmla="*/ 6017302 w 9759834"/>
                <a:gd name="connsiteY2409" fmla="*/ 1101725 h 1762127"/>
                <a:gd name="connsiteX2410" fmla="*/ 5849821 w 9759834"/>
                <a:gd name="connsiteY2410" fmla="*/ 1101725 h 1762127"/>
                <a:gd name="connsiteX2411" fmla="*/ 5886334 w 9759834"/>
                <a:gd name="connsiteY2411" fmla="*/ 1136650 h 1762127"/>
                <a:gd name="connsiteX2412" fmla="*/ 5849821 w 9759834"/>
                <a:gd name="connsiteY2412" fmla="*/ 1171575 h 1762127"/>
                <a:gd name="connsiteX2413" fmla="*/ 5813308 w 9759834"/>
                <a:gd name="connsiteY2413" fmla="*/ 1136650 h 1762127"/>
                <a:gd name="connsiteX2414" fmla="*/ 5849821 w 9759834"/>
                <a:gd name="connsiteY2414" fmla="*/ 1101725 h 1762127"/>
                <a:gd name="connsiteX2415" fmla="*/ 5766477 w 9759834"/>
                <a:gd name="connsiteY2415" fmla="*/ 1101725 h 1762127"/>
                <a:gd name="connsiteX2416" fmla="*/ 5800609 w 9759834"/>
                <a:gd name="connsiteY2416" fmla="*/ 1136650 h 1762127"/>
                <a:gd name="connsiteX2417" fmla="*/ 5766477 w 9759834"/>
                <a:gd name="connsiteY2417" fmla="*/ 1171575 h 1762127"/>
                <a:gd name="connsiteX2418" fmla="*/ 5732345 w 9759834"/>
                <a:gd name="connsiteY2418" fmla="*/ 1136650 h 1762127"/>
                <a:gd name="connsiteX2419" fmla="*/ 5766477 w 9759834"/>
                <a:gd name="connsiteY2419" fmla="*/ 1101725 h 1762127"/>
                <a:gd name="connsiteX2420" fmla="*/ 5680752 w 9759834"/>
                <a:gd name="connsiteY2420" fmla="*/ 1101725 h 1762127"/>
                <a:gd name="connsiteX2421" fmla="*/ 5714884 w 9759834"/>
                <a:gd name="connsiteY2421" fmla="*/ 1136650 h 1762127"/>
                <a:gd name="connsiteX2422" fmla="*/ 5680752 w 9759834"/>
                <a:gd name="connsiteY2422" fmla="*/ 1171575 h 1762127"/>
                <a:gd name="connsiteX2423" fmla="*/ 5646620 w 9759834"/>
                <a:gd name="connsiteY2423" fmla="*/ 1136650 h 1762127"/>
                <a:gd name="connsiteX2424" fmla="*/ 5680752 w 9759834"/>
                <a:gd name="connsiteY2424" fmla="*/ 1101725 h 1762127"/>
                <a:gd name="connsiteX2425" fmla="*/ 5429927 w 9759834"/>
                <a:gd name="connsiteY2425" fmla="*/ 1101725 h 1762127"/>
                <a:gd name="connsiteX2426" fmla="*/ 5464059 w 9759834"/>
                <a:gd name="connsiteY2426" fmla="*/ 1136650 h 1762127"/>
                <a:gd name="connsiteX2427" fmla="*/ 5429927 w 9759834"/>
                <a:gd name="connsiteY2427" fmla="*/ 1171575 h 1762127"/>
                <a:gd name="connsiteX2428" fmla="*/ 5395795 w 9759834"/>
                <a:gd name="connsiteY2428" fmla="*/ 1136650 h 1762127"/>
                <a:gd name="connsiteX2429" fmla="*/ 5429927 w 9759834"/>
                <a:gd name="connsiteY2429" fmla="*/ 1101725 h 1762127"/>
                <a:gd name="connsiteX2430" fmla="*/ 5344202 w 9759834"/>
                <a:gd name="connsiteY2430" fmla="*/ 1101725 h 1762127"/>
                <a:gd name="connsiteX2431" fmla="*/ 5378334 w 9759834"/>
                <a:gd name="connsiteY2431" fmla="*/ 1136650 h 1762127"/>
                <a:gd name="connsiteX2432" fmla="*/ 5344202 w 9759834"/>
                <a:gd name="connsiteY2432" fmla="*/ 1171575 h 1762127"/>
                <a:gd name="connsiteX2433" fmla="*/ 5310070 w 9759834"/>
                <a:gd name="connsiteY2433" fmla="*/ 1136650 h 1762127"/>
                <a:gd name="connsiteX2434" fmla="*/ 5344202 w 9759834"/>
                <a:gd name="connsiteY2434" fmla="*/ 1101725 h 1762127"/>
                <a:gd name="connsiteX2435" fmla="*/ 4500445 w 9759834"/>
                <a:gd name="connsiteY2435" fmla="*/ 1101725 h 1762127"/>
                <a:gd name="connsiteX2436" fmla="*/ 4535370 w 9759834"/>
                <a:gd name="connsiteY2436" fmla="*/ 1136650 h 1762127"/>
                <a:gd name="connsiteX2437" fmla="*/ 4500445 w 9759834"/>
                <a:gd name="connsiteY2437" fmla="*/ 1171575 h 1762127"/>
                <a:gd name="connsiteX2438" fmla="*/ 4465520 w 9759834"/>
                <a:gd name="connsiteY2438" fmla="*/ 1136650 h 1762127"/>
                <a:gd name="connsiteX2439" fmla="*/ 4500445 w 9759834"/>
                <a:gd name="connsiteY2439" fmla="*/ 1101725 h 1762127"/>
                <a:gd name="connsiteX2440" fmla="*/ 3826552 w 9759834"/>
                <a:gd name="connsiteY2440" fmla="*/ 1101725 h 1762127"/>
                <a:gd name="connsiteX2441" fmla="*/ 3860684 w 9759834"/>
                <a:gd name="connsiteY2441" fmla="*/ 1136650 h 1762127"/>
                <a:gd name="connsiteX2442" fmla="*/ 3826552 w 9759834"/>
                <a:gd name="connsiteY2442" fmla="*/ 1171575 h 1762127"/>
                <a:gd name="connsiteX2443" fmla="*/ 3792420 w 9759834"/>
                <a:gd name="connsiteY2443" fmla="*/ 1136650 h 1762127"/>
                <a:gd name="connsiteX2444" fmla="*/ 3826552 w 9759834"/>
                <a:gd name="connsiteY2444" fmla="*/ 1101725 h 1762127"/>
                <a:gd name="connsiteX2445" fmla="*/ 3741620 w 9759834"/>
                <a:gd name="connsiteY2445" fmla="*/ 1101725 h 1762127"/>
                <a:gd name="connsiteX2446" fmla="*/ 3776545 w 9759834"/>
                <a:gd name="connsiteY2446" fmla="*/ 1136650 h 1762127"/>
                <a:gd name="connsiteX2447" fmla="*/ 3741620 w 9759834"/>
                <a:gd name="connsiteY2447" fmla="*/ 1171575 h 1762127"/>
                <a:gd name="connsiteX2448" fmla="*/ 3706695 w 9759834"/>
                <a:gd name="connsiteY2448" fmla="*/ 1136650 h 1762127"/>
                <a:gd name="connsiteX2449" fmla="*/ 3741620 w 9759834"/>
                <a:gd name="connsiteY2449" fmla="*/ 1101725 h 1762127"/>
                <a:gd name="connsiteX2450" fmla="*/ 3234415 w 9759834"/>
                <a:gd name="connsiteY2450" fmla="*/ 1101725 h 1762127"/>
                <a:gd name="connsiteX2451" fmla="*/ 3268547 w 9759834"/>
                <a:gd name="connsiteY2451" fmla="*/ 1136650 h 1762127"/>
                <a:gd name="connsiteX2452" fmla="*/ 3234415 w 9759834"/>
                <a:gd name="connsiteY2452" fmla="*/ 1171575 h 1762127"/>
                <a:gd name="connsiteX2453" fmla="*/ 3200283 w 9759834"/>
                <a:gd name="connsiteY2453" fmla="*/ 1136650 h 1762127"/>
                <a:gd name="connsiteX2454" fmla="*/ 3234415 w 9759834"/>
                <a:gd name="connsiteY2454" fmla="*/ 1101725 h 1762127"/>
                <a:gd name="connsiteX2455" fmla="*/ 2983589 w 9759834"/>
                <a:gd name="connsiteY2455" fmla="*/ 1101725 h 1762127"/>
                <a:gd name="connsiteX2456" fmla="*/ 3017721 w 9759834"/>
                <a:gd name="connsiteY2456" fmla="*/ 1136650 h 1762127"/>
                <a:gd name="connsiteX2457" fmla="*/ 2983589 w 9759834"/>
                <a:gd name="connsiteY2457" fmla="*/ 1171575 h 1762127"/>
                <a:gd name="connsiteX2458" fmla="*/ 2949457 w 9759834"/>
                <a:gd name="connsiteY2458" fmla="*/ 1136650 h 1762127"/>
                <a:gd name="connsiteX2459" fmla="*/ 2983589 w 9759834"/>
                <a:gd name="connsiteY2459" fmla="*/ 1101725 h 1762127"/>
                <a:gd name="connsiteX2460" fmla="*/ 2394790 w 9759834"/>
                <a:gd name="connsiteY2460" fmla="*/ 1101725 h 1762127"/>
                <a:gd name="connsiteX2461" fmla="*/ 2428919 w 9759834"/>
                <a:gd name="connsiteY2461" fmla="*/ 1136650 h 1762127"/>
                <a:gd name="connsiteX2462" fmla="*/ 2394790 w 9759834"/>
                <a:gd name="connsiteY2462" fmla="*/ 1171575 h 1762127"/>
                <a:gd name="connsiteX2463" fmla="*/ 2360656 w 9759834"/>
                <a:gd name="connsiteY2463" fmla="*/ 1136650 h 1762127"/>
                <a:gd name="connsiteX2464" fmla="*/ 2394790 w 9759834"/>
                <a:gd name="connsiteY2464" fmla="*/ 1101725 h 1762127"/>
                <a:gd name="connsiteX2465" fmla="*/ 2224780 w 9759834"/>
                <a:gd name="connsiteY2465" fmla="*/ 1101725 h 1762127"/>
                <a:gd name="connsiteX2466" fmla="*/ 2258913 w 9759834"/>
                <a:gd name="connsiteY2466" fmla="*/ 1136650 h 1762127"/>
                <a:gd name="connsiteX2467" fmla="*/ 2224780 w 9759834"/>
                <a:gd name="connsiteY2467" fmla="*/ 1171575 h 1762127"/>
                <a:gd name="connsiteX2468" fmla="*/ 2190649 w 9759834"/>
                <a:gd name="connsiteY2468" fmla="*/ 1136650 h 1762127"/>
                <a:gd name="connsiteX2469" fmla="*/ 2224780 w 9759834"/>
                <a:gd name="connsiteY2469" fmla="*/ 1101725 h 1762127"/>
                <a:gd name="connsiteX2470" fmla="*/ 2139054 w 9759834"/>
                <a:gd name="connsiteY2470" fmla="*/ 1101725 h 1762127"/>
                <a:gd name="connsiteX2471" fmla="*/ 2173187 w 9759834"/>
                <a:gd name="connsiteY2471" fmla="*/ 1136650 h 1762127"/>
                <a:gd name="connsiteX2472" fmla="*/ 2139054 w 9759834"/>
                <a:gd name="connsiteY2472" fmla="*/ 1171575 h 1762127"/>
                <a:gd name="connsiteX2473" fmla="*/ 2104922 w 9759834"/>
                <a:gd name="connsiteY2473" fmla="*/ 1136650 h 1762127"/>
                <a:gd name="connsiteX2474" fmla="*/ 2139054 w 9759834"/>
                <a:gd name="connsiteY2474" fmla="*/ 1101725 h 1762127"/>
                <a:gd name="connsiteX2475" fmla="*/ 2055711 w 9759834"/>
                <a:gd name="connsiteY2475" fmla="*/ 1101725 h 1762127"/>
                <a:gd name="connsiteX2476" fmla="*/ 2092225 w 9759834"/>
                <a:gd name="connsiteY2476" fmla="*/ 1136650 h 1762127"/>
                <a:gd name="connsiteX2477" fmla="*/ 2055711 w 9759834"/>
                <a:gd name="connsiteY2477" fmla="*/ 1171575 h 1762127"/>
                <a:gd name="connsiteX2478" fmla="*/ 2019199 w 9759834"/>
                <a:gd name="connsiteY2478" fmla="*/ 1136650 h 1762127"/>
                <a:gd name="connsiteX2479" fmla="*/ 2055711 w 9759834"/>
                <a:gd name="connsiteY2479" fmla="*/ 1101725 h 1762127"/>
                <a:gd name="connsiteX2480" fmla="*/ 1973163 w 9759834"/>
                <a:gd name="connsiteY2480" fmla="*/ 1101725 h 1762127"/>
                <a:gd name="connsiteX2481" fmla="*/ 2008088 w 9759834"/>
                <a:gd name="connsiteY2481" fmla="*/ 1136650 h 1762127"/>
                <a:gd name="connsiteX2482" fmla="*/ 1973163 w 9759834"/>
                <a:gd name="connsiteY2482" fmla="*/ 1171575 h 1762127"/>
                <a:gd name="connsiteX2483" fmla="*/ 1938238 w 9759834"/>
                <a:gd name="connsiteY2483" fmla="*/ 1136650 h 1762127"/>
                <a:gd name="connsiteX2484" fmla="*/ 1973163 w 9759834"/>
                <a:gd name="connsiteY2484" fmla="*/ 1101725 h 1762127"/>
                <a:gd name="connsiteX2485" fmla="*/ 1888235 w 9759834"/>
                <a:gd name="connsiteY2485" fmla="*/ 1101725 h 1762127"/>
                <a:gd name="connsiteX2486" fmla="*/ 1922366 w 9759834"/>
                <a:gd name="connsiteY2486" fmla="*/ 1136650 h 1762127"/>
                <a:gd name="connsiteX2487" fmla="*/ 1888235 w 9759834"/>
                <a:gd name="connsiteY2487" fmla="*/ 1171575 h 1762127"/>
                <a:gd name="connsiteX2488" fmla="*/ 1854103 w 9759834"/>
                <a:gd name="connsiteY2488" fmla="*/ 1136650 h 1762127"/>
                <a:gd name="connsiteX2489" fmla="*/ 1888235 w 9759834"/>
                <a:gd name="connsiteY2489" fmla="*/ 1101725 h 1762127"/>
                <a:gd name="connsiteX2490" fmla="*/ 1802510 w 9759834"/>
                <a:gd name="connsiteY2490" fmla="*/ 1101725 h 1762127"/>
                <a:gd name="connsiteX2491" fmla="*/ 1836642 w 9759834"/>
                <a:gd name="connsiteY2491" fmla="*/ 1136650 h 1762127"/>
                <a:gd name="connsiteX2492" fmla="*/ 1802510 w 9759834"/>
                <a:gd name="connsiteY2492" fmla="*/ 1171575 h 1762127"/>
                <a:gd name="connsiteX2493" fmla="*/ 1768379 w 9759834"/>
                <a:gd name="connsiteY2493" fmla="*/ 1136650 h 1762127"/>
                <a:gd name="connsiteX2494" fmla="*/ 1802510 w 9759834"/>
                <a:gd name="connsiteY2494" fmla="*/ 1101725 h 1762127"/>
                <a:gd name="connsiteX2495" fmla="*/ 1719169 w 9759834"/>
                <a:gd name="connsiteY2495" fmla="*/ 1101725 h 1762127"/>
                <a:gd name="connsiteX2496" fmla="*/ 1755682 w 9759834"/>
                <a:gd name="connsiteY2496" fmla="*/ 1136650 h 1762127"/>
                <a:gd name="connsiteX2497" fmla="*/ 1719169 w 9759834"/>
                <a:gd name="connsiteY2497" fmla="*/ 1171575 h 1762127"/>
                <a:gd name="connsiteX2498" fmla="*/ 1682656 w 9759834"/>
                <a:gd name="connsiteY2498" fmla="*/ 1136650 h 1762127"/>
                <a:gd name="connsiteX2499" fmla="*/ 1719169 w 9759834"/>
                <a:gd name="connsiteY2499" fmla="*/ 1101725 h 1762127"/>
                <a:gd name="connsiteX2500" fmla="*/ 1636604 w 9759834"/>
                <a:gd name="connsiteY2500" fmla="*/ 1101725 h 1762127"/>
                <a:gd name="connsiteX2501" fmla="*/ 1671529 w 9759834"/>
                <a:gd name="connsiteY2501" fmla="*/ 1136650 h 1762127"/>
                <a:gd name="connsiteX2502" fmla="*/ 1636604 w 9759834"/>
                <a:gd name="connsiteY2502" fmla="*/ 1171575 h 1762127"/>
                <a:gd name="connsiteX2503" fmla="*/ 1601679 w 9759834"/>
                <a:gd name="connsiteY2503" fmla="*/ 1136650 h 1762127"/>
                <a:gd name="connsiteX2504" fmla="*/ 1636604 w 9759834"/>
                <a:gd name="connsiteY2504" fmla="*/ 1101725 h 1762127"/>
                <a:gd name="connsiteX2505" fmla="*/ 1551671 w 9759834"/>
                <a:gd name="connsiteY2505" fmla="*/ 1101725 h 1762127"/>
                <a:gd name="connsiteX2506" fmla="*/ 1585803 w 9759834"/>
                <a:gd name="connsiteY2506" fmla="*/ 1136650 h 1762127"/>
                <a:gd name="connsiteX2507" fmla="*/ 1551671 w 9759834"/>
                <a:gd name="connsiteY2507" fmla="*/ 1171575 h 1762127"/>
                <a:gd name="connsiteX2508" fmla="*/ 1517539 w 9759834"/>
                <a:gd name="connsiteY2508" fmla="*/ 1136650 h 1762127"/>
                <a:gd name="connsiteX2509" fmla="*/ 1551671 w 9759834"/>
                <a:gd name="connsiteY2509" fmla="*/ 1101725 h 1762127"/>
                <a:gd name="connsiteX2510" fmla="*/ 1465953 w 9759834"/>
                <a:gd name="connsiteY2510" fmla="*/ 1101725 h 1762127"/>
                <a:gd name="connsiteX2511" fmla="*/ 1500086 w 9759834"/>
                <a:gd name="connsiteY2511" fmla="*/ 1136650 h 1762127"/>
                <a:gd name="connsiteX2512" fmla="*/ 1465953 w 9759834"/>
                <a:gd name="connsiteY2512" fmla="*/ 1171575 h 1762127"/>
                <a:gd name="connsiteX2513" fmla="*/ 1431822 w 9759834"/>
                <a:gd name="connsiteY2513" fmla="*/ 1136650 h 1762127"/>
                <a:gd name="connsiteX2514" fmla="*/ 1465953 w 9759834"/>
                <a:gd name="connsiteY2514" fmla="*/ 1101725 h 1762127"/>
                <a:gd name="connsiteX2515" fmla="*/ 1380228 w 9759834"/>
                <a:gd name="connsiteY2515" fmla="*/ 1101725 h 1762127"/>
                <a:gd name="connsiteX2516" fmla="*/ 1414360 w 9759834"/>
                <a:gd name="connsiteY2516" fmla="*/ 1136650 h 1762127"/>
                <a:gd name="connsiteX2517" fmla="*/ 1380228 w 9759834"/>
                <a:gd name="connsiteY2517" fmla="*/ 1171575 h 1762127"/>
                <a:gd name="connsiteX2518" fmla="*/ 1346096 w 9759834"/>
                <a:gd name="connsiteY2518" fmla="*/ 1136650 h 1762127"/>
                <a:gd name="connsiteX2519" fmla="*/ 1380228 w 9759834"/>
                <a:gd name="connsiteY2519" fmla="*/ 1101725 h 1762127"/>
                <a:gd name="connsiteX2520" fmla="*/ 1300222 w 9759834"/>
                <a:gd name="connsiteY2520" fmla="*/ 1101725 h 1762127"/>
                <a:gd name="connsiteX2521" fmla="*/ 1335148 w 9759834"/>
                <a:gd name="connsiteY2521" fmla="*/ 1136650 h 1762127"/>
                <a:gd name="connsiteX2522" fmla="*/ 1300222 w 9759834"/>
                <a:gd name="connsiteY2522" fmla="*/ 1171575 h 1762127"/>
                <a:gd name="connsiteX2523" fmla="*/ 1265297 w 9759834"/>
                <a:gd name="connsiteY2523" fmla="*/ 1136650 h 1762127"/>
                <a:gd name="connsiteX2524" fmla="*/ 1300222 w 9759834"/>
                <a:gd name="connsiteY2524" fmla="*/ 1101725 h 1762127"/>
                <a:gd name="connsiteX2525" fmla="*/ 456290 w 9759834"/>
                <a:gd name="connsiteY2525" fmla="*/ 1101725 h 1762127"/>
                <a:gd name="connsiteX2526" fmla="*/ 490422 w 9759834"/>
                <a:gd name="connsiteY2526" fmla="*/ 1136650 h 1762127"/>
                <a:gd name="connsiteX2527" fmla="*/ 456290 w 9759834"/>
                <a:gd name="connsiteY2527" fmla="*/ 1171575 h 1762127"/>
                <a:gd name="connsiteX2528" fmla="*/ 422158 w 9759834"/>
                <a:gd name="connsiteY2528" fmla="*/ 1136650 h 1762127"/>
                <a:gd name="connsiteX2529" fmla="*/ 456290 w 9759834"/>
                <a:gd name="connsiteY2529" fmla="*/ 1101725 h 1762127"/>
                <a:gd name="connsiteX2530" fmla="*/ 370565 w 9759834"/>
                <a:gd name="connsiteY2530" fmla="*/ 1101725 h 1762127"/>
                <a:gd name="connsiteX2531" fmla="*/ 404697 w 9759834"/>
                <a:gd name="connsiteY2531" fmla="*/ 1136650 h 1762127"/>
                <a:gd name="connsiteX2532" fmla="*/ 370565 w 9759834"/>
                <a:gd name="connsiteY2532" fmla="*/ 1171575 h 1762127"/>
                <a:gd name="connsiteX2533" fmla="*/ 336433 w 9759834"/>
                <a:gd name="connsiteY2533" fmla="*/ 1136650 h 1762127"/>
                <a:gd name="connsiteX2534" fmla="*/ 370565 w 9759834"/>
                <a:gd name="connsiteY2534" fmla="*/ 1101725 h 1762127"/>
                <a:gd name="connsiteX2535" fmla="*/ 9474877 w 9759834"/>
                <a:gd name="connsiteY2535" fmla="*/ 1016000 h 1762127"/>
                <a:gd name="connsiteX2536" fmla="*/ 9509009 w 9759834"/>
                <a:gd name="connsiteY2536" fmla="*/ 1050925 h 1762127"/>
                <a:gd name="connsiteX2537" fmla="*/ 9474877 w 9759834"/>
                <a:gd name="connsiteY2537" fmla="*/ 1085850 h 1762127"/>
                <a:gd name="connsiteX2538" fmla="*/ 9440745 w 9759834"/>
                <a:gd name="connsiteY2538" fmla="*/ 1050925 h 1762127"/>
                <a:gd name="connsiteX2539" fmla="*/ 9474877 w 9759834"/>
                <a:gd name="connsiteY2539" fmla="*/ 1016000 h 1762127"/>
                <a:gd name="connsiteX2540" fmla="*/ 9389152 w 9759834"/>
                <a:gd name="connsiteY2540" fmla="*/ 1016000 h 1762127"/>
                <a:gd name="connsiteX2541" fmla="*/ 9423284 w 9759834"/>
                <a:gd name="connsiteY2541" fmla="*/ 1050925 h 1762127"/>
                <a:gd name="connsiteX2542" fmla="*/ 9389152 w 9759834"/>
                <a:gd name="connsiteY2542" fmla="*/ 1085850 h 1762127"/>
                <a:gd name="connsiteX2543" fmla="*/ 9355020 w 9759834"/>
                <a:gd name="connsiteY2543" fmla="*/ 1050925 h 1762127"/>
                <a:gd name="connsiteX2544" fmla="*/ 9389152 w 9759834"/>
                <a:gd name="connsiteY2544" fmla="*/ 1016000 h 1762127"/>
                <a:gd name="connsiteX2545" fmla="*/ 8801777 w 9759834"/>
                <a:gd name="connsiteY2545" fmla="*/ 1016000 h 1762127"/>
                <a:gd name="connsiteX2546" fmla="*/ 8835909 w 9759834"/>
                <a:gd name="connsiteY2546" fmla="*/ 1050925 h 1762127"/>
                <a:gd name="connsiteX2547" fmla="*/ 8801777 w 9759834"/>
                <a:gd name="connsiteY2547" fmla="*/ 1085850 h 1762127"/>
                <a:gd name="connsiteX2548" fmla="*/ 8767645 w 9759834"/>
                <a:gd name="connsiteY2548" fmla="*/ 1050925 h 1762127"/>
                <a:gd name="connsiteX2549" fmla="*/ 8801777 w 9759834"/>
                <a:gd name="connsiteY2549" fmla="*/ 1016000 h 1762127"/>
                <a:gd name="connsiteX2550" fmla="*/ 8716052 w 9759834"/>
                <a:gd name="connsiteY2550" fmla="*/ 1016000 h 1762127"/>
                <a:gd name="connsiteX2551" fmla="*/ 8750184 w 9759834"/>
                <a:gd name="connsiteY2551" fmla="*/ 1050925 h 1762127"/>
                <a:gd name="connsiteX2552" fmla="*/ 8716052 w 9759834"/>
                <a:gd name="connsiteY2552" fmla="*/ 1085850 h 1762127"/>
                <a:gd name="connsiteX2553" fmla="*/ 8681920 w 9759834"/>
                <a:gd name="connsiteY2553" fmla="*/ 1050925 h 1762127"/>
                <a:gd name="connsiteX2554" fmla="*/ 8716052 w 9759834"/>
                <a:gd name="connsiteY2554" fmla="*/ 1016000 h 1762127"/>
                <a:gd name="connsiteX2555" fmla="*/ 8630327 w 9759834"/>
                <a:gd name="connsiteY2555" fmla="*/ 1016000 h 1762127"/>
                <a:gd name="connsiteX2556" fmla="*/ 8664459 w 9759834"/>
                <a:gd name="connsiteY2556" fmla="*/ 1050925 h 1762127"/>
                <a:gd name="connsiteX2557" fmla="*/ 8630327 w 9759834"/>
                <a:gd name="connsiteY2557" fmla="*/ 1085850 h 1762127"/>
                <a:gd name="connsiteX2558" fmla="*/ 8596195 w 9759834"/>
                <a:gd name="connsiteY2558" fmla="*/ 1050925 h 1762127"/>
                <a:gd name="connsiteX2559" fmla="*/ 8630327 w 9759834"/>
                <a:gd name="connsiteY2559" fmla="*/ 1016000 h 1762127"/>
                <a:gd name="connsiteX2560" fmla="*/ 8544602 w 9759834"/>
                <a:gd name="connsiteY2560" fmla="*/ 1016000 h 1762127"/>
                <a:gd name="connsiteX2561" fmla="*/ 8578734 w 9759834"/>
                <a:gd name="connsiteY2561" fmla="*/ 1050925 h 1762127"/>
                <a:gd name="connsiteX2562" fmla="*/ 8544602 w 9759834"/>
                <a:gd name="connsiteY2562" fmla="*/ 1085850 h 1762127"/>
                <a:gd name="connsiteX2563" fmla="*/ 8510470 w 9759834"/>
                <a:gd name="connsiteY2563" fmla="*/ 1050925 h 1762127"/>
                <a:gd name="connsiteX2564" fmla="*/ 8544602 w 9759834"/>
                <a:gd name="connsiteY2564" fmla="*/ 1016000 h 1762127"/>
                <a:gd name="connsiteX2565" fmla="*/ 8465227 w 9759834"/>
                <a:gd name="connsiteY2565" fmla="*/ 1016000 h 1762127"/>
                <a:gd name="connsiteX2566" fmla="*/ 8499359 w 9759834"/>
                <a:gd name="connsiteY2566" fmla="*/ 1050925 h 1762127"/>
                <a:gd name="connsiteX2567" fmla="*/ 8465227 w 9759834"/>
                <a:gd name="connsiteY2567" fmla="*/ 1085850 h 1762127"/>
                <a:gd name="connsiteX2568" fmla="*/ 8431095 w 9759834"/>
                <a:gd name="connsiteY2568" fmla="*/ 1050925 h 1762127"/>
                <a:gd name="connsiteX2569" fmla="*/ 8465227 w 9759834"/>
                <a:gd name="connsiteY2569" fmla="*/ 1016000 h 1762127"/>
                <a:gd name="connsiteX2570" fmla="*/ 8379502 w 9759834"/>
                <a:gd name="connsiteY2570" fmla="*/ 1016000 h 1762127"/>
                <a:gd name="connsiteX2571" fmla="*/ 8413634 w 9759834"/>
                <a:gd name="connsiteY2571" fmla="*/ 1050925 h 1762127"/>
                <a:gd name="connsiteX2572" fmla="*/ 8379502 w 9759834"/>
                <a:gd name="connsiteY2572" fmla="*/ 1085850 h 1762127"/>
                <a:gd name="connsiteX2573" fmla="*/ 8345370 w 9759834"/>
                <a:gd name="connsiteY2573" fmla="*/ 1050925 h 1762127"/>
                <a:gd name="connsiteX2574" fmla="*/ 8379502 w 9759834"/>
                <a:gd name="connsiteY2574" fmla="*/ 1016000 h 1762127"/>
                <a:gd name="connsiteX2575" fmla="*/ 8293777 w 9759834"/>
                <a:gd name="connsiteY2575" fmla="*/ 1016000 h 1762127"/>
                <a:gd name="connsiteX2576" fmla="*/ 8327909 w 9759834"/>
                <a:gd name="connsiteY2576" fmla="*/ 1050925 h 1762127"/>
                <a:gd name="connsiteX2577" fmla="*/ 8293777 w 9759834"/>
                <a:gd name="connsiteY2577" fmla="*/ 1085850 h 1762127"/>
                <a:gd name="connsiteX2578" fmla="*/ 8259645 w 9759834"/>
                <a:gd name="connsiteY2578" fmla="*/ 1050925 h 1762127"/>
                <a:gd name="connsiteX2579" fmla="*/ 8293777 w 9759834"/>
                <a:gd name="connsiteY2579" fmla="*/ 1016000 h 1762127"/>
                <a:gd name="connsiteX2580" fmla="*/ 8208052 w 9759834"/>
                <a:gd name="connsiteY2580" fmla="*/ 1016000 h 1762127"/>
                <a:gd name="connsiteX2581" fmla="*/ 8242184 w 9759834"/>
                <a:gd name="connsiteY2581" fmla="*/ 1050925 h 1762127"/>
                <a:gd name="connsiteX2582" fmla="*/ 8208052 w 9759834"/>
                <a:gd name="connsiteY2582" fmla="*/ 1085850 h 1762127"/>
                <a:gd name="connsiteX2583" fmla="*/ 8173920 w 9759834"/>
                <a:gd name="connsiteY2583" fmla="*/ 1050925 h 1762127"/>
                <a:gd name="connsiteX2584" fmla="*/ 8208052 w 9759834"/>
                <a:gd name="connsiteY2584" fmla="*/ 1016000 h 1762127"/>
                <a:gd name="connsiteX2585" fmla="*/ 8125502 w 9759834"/>
                <a:gd name="connsiteY2585" fmla="*/ 1016000 h 1762127"/>
                <a:gd name="connsiteX2586" fmla="*/ 8162809 w 9759834"/>
                <a:gd name="connsiteY2586" fmla="*/ 1050925 h 1762127"/>
                <a:gd name="connsiteX2587" fmla="*/ 8125502 w 9759834"/>
                <a:gd name="connsiteY2587" fmla="*/ 1085850 h 1762127"/>
                <a:gd name="connsiteX2588" fmla="*/ 8088195 w 9759834"/>
                <a:gd name="connsiteY2588" fmla="*/ 1050925 h 1762127"/>
                <a:gd name="connsiteX2589" fmla="*/ 8125502 w 9759834"/>
                <a:gd name="connsiteY2589" fmla="*/ 1016000 h 1762127"/>
                <a:gd name="connsiteX2590" fmla="*/ 8042952 w 9759834"/>
                <a:gd name="connsiteY2590" fmla="*/ 1016000 h 1762127"/>
                <a:gd name="connsiteX2591" fmla="*/ 8077084 w 9759834"/>
                <a:gd name="connsiteY2591" fmla="*/ 1050925 h 1762127"/>
                <a:gd name="connsiteX2592" fmla="*/ 8042952 w 9759834"/>
                <a:gd name="connsiteY2592" fmla="*/ 1085850 h 1762127"/>
                <a:gd name="connsiteX2593" fmla="*/ 8008820 w 9759834"/>
                <a:gd name="connsiteY2593" fmla="*/ 1050925 h 1762127"/>
                <a:gd name="connsiteX2594" fmla="*/ 8042952 w 9759834"/>
                <a:gd name="connsiteY2594" fmla="*/ 1016000 h 1762127"/>
                <a:gd name="connsiteX2595" fmla="*/ 7957227 w 9759834"/>
                <a:gd name="connsiteY2595" fmla="*/ 1016000 h 1762127"/>
                <a:gd name="connsiteX2596" fmla="*/ 7991359 w 9759834"/>
                <a:gd name="connsiteY2596" fmla="*/ 1050925 h 1762127"/>
                <a:gd name="connsiteX2597" fmla="*/ 7957227 w 9759834"/>
                <a:gd name="connsiteY2597" fmla="*/ 1085850 h 1762127"/>
                <a:gd name="connsiteX2598" fmla="*/ 7923095 w 9759834"/>
                <a:gd name="connsiteY2598" fmla="*/ 1050925 h 1762127"/>
                <a:gd name="connsiteX2599" fmla="*/ 7957227 w 9759834"/>
                <a:gd name="connsiteY2599" fmla="*/ 1016000 h 1762127"/>
                <a:gd name="connsiteX2600" fmla="*/ 7871502 w 9759834"/>
                <a:gd name="connsiteY2600" fmla="*/ 1016000 h 1762127"/>
                <a:gd name="connsiteX2601" fmla="*/ 7905634 w 9759834"/>
                <a:gd name="connsiteY2601" fmla="*/ 1050925 h 1762127"/>
                <a:gd name="connsiteX2602" fmla="*/ 7871502 w 9759834"/>
                <a:gd name="connsiteY2602" fmla="*/ 1085850 h 1762127"/>
                <a:gd name="connsiteX2603" fmla="*/ 7837370 w 9759834"/>
                <a:gd name="connsiteY2603" fmla="*/ 1050925 h 1762127"/>
                <a:gd name="connsiteX2604" fmla="*/ 7871502 w 9759834"/>
                <a:gd name="connsiteY2604" fmla="*/ 1016000 h 1762127"/>
                <a:gd name="connsiteX2605" fmla="*/ 7785777 w 9759834"/>
                <a:gd name="connsiteY2605" fmla="*/ 1016000 h 1762127"/>
                <a:gd name="connsiteX2606" fmla="*/ 7819909 w 9759834"/>
                <a:gd name="connsiteY2606" fmla="*/ 1050925 h 1762127"/>
                <a:gd name="connsiteX2607" fmla="*/ 7785777 w 9759834"/>
                <a:gd name="connsiteY2607" fmla="*/ 1085850 h 1762127"/>
                <a:gd name="connsiteX2608" fmla="*/ 7751645 w 9759834"/>
                <a:gd name="connsiteY2608" fmla="*/ 1050925 h 1762127"/>
                <a:gd name="connsiteX2609" fmla="*/ 7785777 w 9759834"/>
                <a:gd name="connsiteY2609" fmla="*/ 1016000 h 1762127"/>
                <a:gd name="connsiteX2610" fmla="*/ 7706402 w 9759834"/>
                <a:gd name="connsiteY2610" fmla="*/ 1016000 h 1762127"/>
                <a:gd name="connsiteX2611" fmla="*/ 7740534 w 9759834"/>
                <a:gd name="connsiteY2611" fmla="*/ 1050925 h 1762127"/>
                <a:gd name="connsiteX2612" fmla="*/ 7706402 w 9759834"/>
                <a:gd name="connsiteY2612" fmla="*/ 1085850 h 1762127"/>
                <a:gd name="connsiteX2613" fmla="*/ 7672270 w 9759834"/>
                <a:gd name="connsiteY2613" fmla="*/ 1050925 h 1762127"/>
                <a:gd name="connsiteX2614" fmla="*/ 7706402 w 9759834"/>
                <a:gd name="connsiteY2614" fmla="*/ 1016000 h 1762127"/>
                <a:gd name="connsiteX2615" fmla="*/ 7620677 w 9759834"/>
                <a:gd name="connsiteY2615" fmla="*/ 1016000 h 1762127"/>
                <a:gd name="connsiteX2616" fmla="*/ 7654809 w 9759834"/>
                <a:gd name="connsiteY2616" fmla="*/ 1050925 h 1762127"/>
                <a:gd name="connsiteX2617" fmla="*/ 7620677 w 9759834"/>
                <a:gd name="connsiteY2617" fmla="*/ 1085850 h 1762127"/>
                <a:gd name="connsiteX2618" fmla="*/ 7586545 w 9759834"/>
                <a:gd name="connsiteY2618" fmla="*/ 1050925 h 1762127"/>
                <a:gd name="connsiteX2619" fmla="*/ 7620677 w 9759834"/>
                <a:gd name="connsiteY2619" fmla="*/ 1016000 h 1762127"/>
                <a:gd name="connsiteX2620" fmla="*/ 7534952 w 9759834"/>
                <a:gd name="connsiteY2620" fmla="*/ 1016000 h 1762127"/>
                <a:gd name="connsiteX2621" fmla="*/ 7569084 w 9759834"/>
                <a:gd name="connsiteY2621" fmla="*/ 1050925 h 1762127"/>
                <a:gd name="connsiteX2622" fmla="*/ 7534952 w 9759834"/>
                <a:gd name="connsiteY2622" fmla="*/ 1085850 h 1762127"/>
                <a:gd name="connsiteX2623" fmla="*/ 7500820 w 9759834"/>
                <a:gd name="connsiteY2623" fmla="*/ 1050925 h 1762127"/>
                <a:gd name="connsiteX2624" fmla="*/ 7534952 w 9759834"/>
                <a:gd name="connsiteY2624" fmla="*/ 1016000 h 1762127"/>
                <a:gd name="connsiteX2625" fmla="*/ 7449227 w 9759834"/>
                <a:gd name="connsiteY2625" fmla="*/ 1016000 h 1762127"/>
                <a:gd name="connsiteX2626" fmla="*/ 7483359 w 9759834"/>
                <a:gd name="connsiteY2626" fmla="*/ 1050925 h 1762127"/>
                <a:gd name="connsiteX2627" fmla="*/ 7449227 w 9759834"/>
                <a:gd name="connsiteY2627" fmla="*/ 1085850 h 1762127"/>
                <a:gd name="connsiteX2628" fmla="*/ 7415095 w 9759834"/>
                <a:gd name="connsiteY2628" fmla="*/ 1050925 h 1762127"/>
                <a:gd name="connsiteX2629" fmla="*/ 7449227 w 9759834"/>
                <a:gd name="connsiteY2629" fmla="*/ 1016000 h 1762127"/>
                <a:gd name="connsiteX2630" fmla="*/ 7366677 w 9759834"/>
                <a:gd name="connsiteY2630" fmla="*/ 1016000 h 1762127"/>
                <a:gd name="connsiteX2631" fmla="*/ 7403984 w 9759834"/>
                <a:gd name="connsiteY2631" fmla="*/ 1050925 h 1762127"/>
                <a:gd name="connsiteX2632" fmla="*/ 7366677 w 9759834"/>
                <a:gd name="connsiteY2632" fmla="*/ 1085850 h 1762127"/>
                <a:gd name="connsiteX2633" fmla="*/ 7329370 w 9759834"/>
                <a:gd name="connsiteY2633" fmla="*/ 1050925 h 1762127"/>
                <a:gd name="connsiteX2634" fmla="*/ 7366677 w 9759834"/>
                <a:gd name="connsiteY2634" fmla="*/ 1016000 h 1762127"/>
                <a:gd name="connsiteX2635" fmla="*/ 7284127 w 9759834"/>
                <a:gd name="connsiteY2635" fmla="*/ 1016000 h 1762127"/>
                <a:gd name="connsiteX2636" fmla="*/ 7318259 w 9759834"/>
                <a:gd name="connsiteY2636" fmla="*/ 1050925 h 1762127"/>
                <a:gd name="connsiteX2637" fmla="*/ 7284127 w 9759834"/>
                <a:gd name="connsiteY2637" fmla="*/ 1085850 h 1762127"/>
                <a:gd name="connsiteX2638" fmla="*/ 7249995 w 9759834"/>
                <a:gd name="connsiteY2638" fmla="*/ 1050925 h 1762127"/>
                <a:gd name="connsiteX2639" fmla="*/ 7284127 w 9759834"/>
                <a:gd name="connsiteY2639" fmla="*/ 1016000 h 1762127"/>
                <a:gd name="connsiteX2640" fmla="*/ 7198402 w 9759834"/>
                <a:gd name="connsiteY2640" fmla="*/ 1016000 h 1762127"/>
                <a:gd name="connsiteX2641" fmla="*/ 7232534 w 9759834"/>
                <a:gd name="connsiteY2641" fmla="*/ 1050925 h 1762127"/>
                <a:gd name="connsiteX2642" fmla="*/ 7198402 w 9759834"/>
                <a:gd name="connsiteY2642" fmla="*/ 1085850 h 1762127"/>
                <a:gd name="connsiteX2643" fmla="*/ 7164270 w 9759834"/>
                <a:gd name="connsiteY2643" fmla="*/ 1050925 h 1762127"/>
                <a:gd name="connsiteX2644" fmla="*/ 7198402 w 9759834"/>
                <a:gd name="connsiteY2644" fmla="*/ 1016000 h 1762127"/>
                <a:gd name="connsiteX2645" fmla="*/ 7112677 w 9759834"/>
                <a:gd name="connsiteY2645" fmla="*/ 1016000 h 1762127"/>
                <a:gd name="connsiteX2646" fmla="*/ 7146809 w 9759834"/>
                <a:gd name="connsiteY2646" fmla="*/ 1050925 h 1762127"/>
                <a:gd name="connsiteX2647" fmla="*/ 7112677 w 9759834"/>
                <a:gd name="connsiteY2647" fmla="*/ 1085850 h 1762127"/>
                <a:gd name="connsiteX2648" fmla="*/ 7078545 w 9759834"/>
                <a:gd name="connsiteY2648" fmla="*/ 1050925 h 1762127"/>
                <a:gd name="connsiteX2649" fmla="*/ 7112677 w 9759834"/>
                <a:gd name="connsiteY2649" fmla="*/ 1016000 h 1762127"/>
                <a:gd name="connsiteX2650" fmla="*/ 7027745 w 9759834"/>
                <a:gd name="connsiteY2650" fmla="*/ 1016000 h 1762127"/>
                <a:gd name="connsiteX2651" fmla="*/ 7062670 w 9759834"/>
                <a:gd name="connsiteY2651" fmla="*/ 1050925 h 1762127"/>
                <a:gd name="connsiteX2652" fmla="*/ 7027745 w 9759834"/>
                <a:gd name="connsiteY2652" fmla="*/ 1085850 h 1762127"/>
                <a:gd name="connsiteX2653" fmla="*/ 6992820 w 9759834"/>
                <a:gd name="connsiteY2653" fmla="*/ 1050925 h 1762127"/>
                <a:gd name="connsiteX2654" fmla="*/ 7027745 w 9759834"/>
                <a:gd name="connsiteY2654" fmla="*/ 1016000 h 1762127"/>
                <a:gd name="connsiteX2655" fmla="*/ 6947577 w 9759834"/>
                <a:gd name="connsiteY2655" fmla="*/ 1016000 h 1762127"/>
                <a:gd name="connsiteX2656" fmla="*/ 6981709 w 9759834"/>
                <a:gd name="connsiteY2656" fmla="*/ 1050925 h 1762127"/>
                <a:gd name="connsiteX2657" fmla="*/ 6947577 w 9759834"/>
                <a:gd name="connsiteY2657" fmla="*/ 1085850 h 1762127"/>
                <a:gd name="connsiteX2658" fmla="*/ 6913445 w 9759834"/>
                <a:gd name="connsiteY2658" fmla="*/ 1050925 h 1762127"/>
                <a:gd name="connsiteX2659" fmla="*/ 6947577 w 9759834"/>
                <a:gd name="connsiteY2659" fmla="*/ 1016000 h 1762127"/>
                <a:gd name="connsiteX2660" fmla="*/ 6861852 w 9759834"/>
                <a:gd name="connsiteY2660" fmla="*/ 1016000 h 1762127"/>
                <a:gd name="connsiteX2661" fmla="*/ 6895984 w 9759834"/>
                <a:gd name="connsiteY2661" fmla="*/ 1050925 h 1762127"/>
                <a:gd name="connsiteX2662" fmla="*/ 6861852 w 9759834"/>
                <a:gd name="connsiteY2662" fmla="*/ 1085850 h 1762127"/>
                <a:gd name="connsiteX2663" fmla="*/ 6827720 w 9759834"/>
                <a:gd name="connsiteY2663" fmla="*/ 1050925 h 1762127"/>
                <a:gd name="connsiteX2664" fmla="*/ 6861852 w 9759834"/>
                <a:gd name="connsiteY2664" fmla="*/ 1016000 h 1762127"/>
                <a:gd name="connsiteX2665" fmla="*/ 6776127 w 9759834"/>
                <a:gd name="connsiteY2665" fmla="*/ 1016000 h 1762127"/>
                <a:gd name="connsiteX2666" fmla="*/ 6810259 w 9759834"/>
                <a:gd name="connsiteY2666" fmla="*/ 1050925 h 1762127"/>
                <a:gd name="connsiteX2667" fmla="*/ 6776127 w 9759834"/>
                <a:gd name="connsiteY2667" fmla="*/ 1085850 h 1762127"/>
                <a:gd name="connsiteX2668" fmla="*/ 6741995 w 9759834"/>
                <a:gd name="connsiteY2668" fmla="*/ 1050925 h 1762127"/>
                <a:gd name="connsiteX2669" fmla="*/ 6776127 w 9759834"/>
                <a:gd name="connsiteY2669" fmla="*/ 1016000 h 1762127"/>
                <a:gd name="connsiteX2670" fmla="*/ 6691195 w 9759834"/>
                <a:gd name="connsiteY2670" fmla="*/ 1016000 h 1762127"/>
                <a:gd name="connsiteX2671" fmla="*/ 6726120 w 9759834"/>
                <a:gd name="connsiteY2671" fmla="*/ 1050925 h 1762127"/>
                <a:gd name="connsiteX2672" fmla="*/ 6691195 w 9759834"/>
                <a:gd name="connsiteY2672" fmla="*/ 1085850 h 1762127"/>
                <a:gd name="connsiteX2673" fmla="*/ 6656270 w 9759834"/>
                <a:gd name="connsiteY2673" fmla="*/ 1050925 h 1762127"/>
                <a:gd name="connsiteX2674" fmla="*/ 6691195 w 9759834"/>
                <a:gd name="connsiteY2674" fmla="*/ 1016000 h 1762127"/>
                <a:gd name="connsiteX2675" fmla="*/ 6607852 w 9759834"/>
                <a:gd name="connsiteY2675" fmla="*/ 1016000 h 1762127"/>
                <a:gd name="connsiteX2676" fmla="*/ 6645159 w 9759834"/>
                <a:gd name="connsiteY2676" fmla="*/ 1050925 h 1762127"/>
                <a:gd name="connsiteX2677" fmla="*/ 6607852 w 9759834"/>
                <a:gd name="connsiteY2677" fmla="*/ 1085850 h 1762127"/>
                <a:gd name="connsiteX2678" fmla="*/ 6570545 w 9759834"/>
                <a:gd name="connsiteY2678" fmla="*/ 1050925 h 1762127"/>
                <a:gd name="connsiteX2679" fmla="*/ 6607852 w 9759834"/>
                <a:gd name="connsiteY2679" fmla="*/ 1016000 h 1762127"/>
                <a:gd name="connsiteX2680" fmla="*/ 6525302 w 9759834"/>
                <a:gd name="connsiteY2680" fmla="*/ 1016000 h 1762127"/>
                <a:gd name="connsiteX2681" fmla="*/ 6559434 w 9759834"/>
                <a:gd name="connsiteY2681" fmla="*/ 1050925 h 1762127"/>
                <a:gd name="connsiteX2682" fmla="*/ 6525302 w 9759834"/>
                <a:gd name="connsiteY2682" fmla="*/ 1085850 h 1762127"/>
                <a:gd name="connsiteX2683" fmla="*/ 6491170 w 9759834"/>
                <a:gd name="connsiteY2683" fmla="*/ 1050925 h 1762127"/>
                <a:gd name="connsiteX2684" fmla="*/ 6525302 w 9759834"/>
                <a:gd name="connsiteY2684" fmla="*/ 1016000 h 1762127"/>
                <a:gd name="connsiteX2685" fmla="*/ 6439577 w 9759834"/>
                <a:gd name="connsiteY2685" fmla="*/ 1016000 h 1762127"/>
                <a:gd name="connsiteX2686" fmla="*/ 6473709 w 9759834"/>
                <a:gd name="connsiteY2686" fmla="*/ 1050925 h 1762127"/>
                <a:gd name="connsiteX2687" fmla="*/ 6439577 w 9759834"/>
                <a:gd name="connsiteY2687" fmla="*/ 1085850 h 1762127"/>
                <a:gd name="connsiteX2688" fmla="*/ 6405445 w 9759834"/>
                <a:gd name="connsiteY2688" fmla="*/ 1050925 h 1762127"/>
                <a:gd name="connsiteX2689" fmla="*/ 6439577 w 9759834"/>
                <a:gd name="connsiteY2689" fmla="*/ 1016000 h 1762127"/>
                <a:gd name="connsiteX2690" fmla="*/ 6353852 w 9759834"/>
                <a:gd name="connsiteY2690" fmla="*/ 1016000 h 1762127"/>
                <a:gd name="connsiteX2691" fmla="*/ 6387984 w 9759834"/>
                <a:gd name="connsiteY2691" fmla="*/ 1050925 h 1762127"/>
                <a:gd name="connsiteX2692" fmla="*/ 6353852 w 9759834"/>
                <a:gd name="connsiteY2692" fmla="*/ 1085850 h 1762127"/>
                <a:gd name="connsiteX2693" fmla="*/ 6319720 w 9759834"/>
                <a:gd name="connsiteY2693" fmla="*/ 1050925 h 1762127"/>
                <a:gd name="connsiteX2694" fmla="*/ 6353852 w 9759834"/>
                <a:gd name="connsiteY2694" fmla="*/ 1016000 h 1762127"/>
                <a:gd name="connsiteX2695" fmla="*/ 6268920 w 9759834"/>
                <a:gd name="connsiteY2695" fmla="*/ 1016000 h 1762127"/>
                <a:gd name="connsiteX2696" fmla="*/ 6303845 w 9759834"/>
                <a:gd name="connsiteY2696" fmla="*/ 1050925 h 1762127"/>
                <a:gd name="connsiteX2697" fmla="*/ 6268920 w 9759834"/>
                <a:gd name="connsiteY2697" fmla="*/ 1085850 h 1762127"/>
                <a:gd name="connsiteX2698" fmla="*/ 6233995 w 9759834"/>
                <a:gd name="connsiteY2698" fmla="*/ 1050925 h 1762127"/>
                <a:gd name="connsiteX2699" fmla="*/ 6268920 w 9759834"/>
                <a:gd name="connsiteY2699" fmla="*/ 1016000 h 1762127"/>
                <a:gd name="connsiteX2700" fmla="*/ 6188752 w 9759834"/>
                <a:gd name="connsiteY2700" fmla="*/ 1016000 h 1762127"/>
                <a:gd name="connsiteX2701" fmla="*/ 6222884 w 9759834"/>
                <a:gd name="connsiteY2701" fmla="*/ 1050925 h 1762127"/>
                <a:gd name="connsiteX2702" fmla="*/ 6188752 w 9759834"/>
                <a:gd name="connsiteY2702" fmla="*/ 1085850 h 1762127"/>
                <a:gd name="connsiteX2703" fmla="*/ 6154620 w 9759834"/>
                <a:gd name="connsiteY2703" fmla="*/ 1050925 h 1762127"/>
                <a:gd name="connsiteX2704" fmla="*/ 6188752 w 9759834"/>
                <a:gd name="connsiteY2704" fmla="*/ 1016000 h 1762127"/>
                <a:gd name="connsiteX2705" fmla="*/ 6103027 w 9759834"/>
                <a:gd name="connsiteY2705" fmla="*/ 1016000 h 1762127"/>
                <a:gd name="connsiteX2706" fmla="*/ 6137159 w 9759834"/>
                <a:gd name="connsiteY2706" fmla="*/ 1050925 h 1762127"/>
                <a:gd name="connsiteX2707" fmla="*/ 6103027 w 9759834"/>
                <a:gd name="connsiteY2707" fmla="*/ 1085850 h 1762127"/>
                <a:gd name="connsiteX2708" fmla="*/ 6068895 w 9759834"/>
                <a:gd name="connsiteY2708" fmla="*/ 1050925 h 1762127"/>
                <a:gd name="connsiteX2709" fmla="*/ 6103027 w 9759834"/>
                <a:gd name="connsiteY2709" fmla="*/ 1016000 h 1762127"/>
                <a:gd name="connsiteX2710" fmla="*/ 5766477 w 9759834"/>
                <a:gd name="connsiteY2710" fmla="*/ 1016000 h 1762127"/>
                <a:gd name="connsiteX2711" fmla="*/ 5800609 w 9759834"/>
                <a:gd name="connsiteY2711" fmla="*/ 1050925 h 1762127"/>
                <a:gd name="connsiteX2712" fmla="*/ 5766477 w 9759834"/>
                <a:gd name="connsiteY2712" fmla="*/ 1085850 h 1762127"/>
                <a:gd name="connsiteX2713" fmla="*/ 5732345 w 9759834"/>
                <a:gd name="connsiteY2713" fmla="*/ 1050925 h 1762127"/>
                <a:gd name="connsiteX2714" fmla="*/ 5766477 w 9759834"/>
                <a:gd name="connsiteY2714" fmla="*/ 1016000 h 1762127"/>
                <a:gd name="connsiteX2715" fmla="*/ 5680752 w 9759834"/>
                <a:gd name="connsiteY2715" fmla="*/ 1016000 h 1762127"/>
                <a:gd name="connsiteX2716" fmla="*/ 5714884 w 9759834"/>
                <a:gd name="connsiteY2716" fmla="*/ 1050925 h 1762127"/>
                <a:gd name="connsiteX2717" fmla="*/ 5680752 w 9759834"/>
                <a:gd name="connsiteY2717" fmla="*/ 1085850 h 1762127"/>
                <a:gd name="connsiteX2718" fmla="*/ 5646620 w 9759834"/>
                <a:gd name="connsiteY2718" fmla="*/ 1050925 h 1762127"/>
                <a:gd name="connsiteX2719" fmla="*/ 5680752 w 9759834"/>
                <a:gd name="connsiteY2719" fmla="*/ 1016000 h 1762127"/>
                <a:gd name="connsiteX2720" fmla="*/ 5510095 w 9759834"/>
                <a:gd name="connsiteY2720" fmla="*/ 1016000 h 1762127"/>
                <a:gd name="connsiteX2721" fmla="*/ 5545020 w 9759834"/>
                <a:gd name="connsiteY2721" fmla="*/ 1050925 h 1762127"/>
                <a:gd name="connsiteX2722" fmla="*/ 5510095 w 9759834"/>
                <a:gd name="connsiteY2722" fmla="*/ 1085850 h 1762127"/>
                <a:gd name="connsiteX2723" fmla="*/ 5475170 w 9759834"/>
                <a:gd name="connsiteY2723" fmla="*/ 1050925 h 1762127"/>
                <a:gd name="connsiteX2724" fmla="*/ 5510095 w 9759834"/>
                <a:gd name="connsiteY2724" fmla="*/ 1016000 h 1762127"/>
                <a:gd name="connsiteX2725" fmla="*/ 5429927 w 9759834"/>
                <a:gd name="connsiteY2725" fmla="*/ 1016000 h 1762127"/>
                <a:gd name="connsiteX2726" fmla="*/ 5464059 w 9759834"/>
                <a:gd name="connsiteY2726" fmla="*/ 1050925 h 1762127"/>
                <a:gd name="connsiteX2727" fmla="*/ 5429927 w 9759834"/>
                <a:gd name="connsiteY2727" fmla="*/ 1085850 h 1762127"/>
                <a:gd name="connsiteX2728" fmla="*/ 5395795 w 9759834"/>
                <a:gd name="connsiteY2728" fmla="*/ 1050925 h 1762127"/>
                <a:gd name="connsiteX2729" fmla="*/ 5429927 w 9759834"/>
                <a:gd name="connsiteY2729" fmla="*/ 1016000 h 1762127"/>
                <a:gd name="connsiteX2730" fmla="*/ 5344202 w 9759834"/>
                <a:gd name="connsiteY2730" fmla="*/ 1016000 h 1762127"/>
                <a:gd name="connsiteX2731" fmla="*/ 5378334 w 9759834"/>
                <a:gd name="connsiteY2731" fmla="*/ 1050925 h 1762127"/>
                <a:gd name="connsiteX2732" fmla="*/ 5344202 w 9759834"/>
                <a:gd name="connsiteY2732" fmla="*/ 1085850 h 1762127"/>
                <a:gd name="connsiteX2733" fmla="*/ 5310070 w 9759834"/>
                <a:gd name="connsiteY2733" fmla="*/ 1050925 h 1762127"/>
                <a:gd name="connsiteX2734" fmla="*/ 5344202 w 9759834"/>
                <a:gd name="connsiteY2734" fmla="*/ 1016000 h 1762127"/>
                <a:gd name="connsiteX2735" fmla="*/ 4585377 w 9759834"/>
                <a:gd name="connsiteY2735" fmla="*/ 1016000 h 1762127"/>
                <a:gd name="connsiteX2736" fmla="*/ 4619509 w 9759834"/>
                <a:gd name="connsiteY2736" fmla="*/ 1050925 h 1762127"/>
                <a:gd name="connsiteX2737" fmla="*/ 4585377 w 9759834"/>
                <a:gd name="connsiteY2737" fmla="*/ 1085850 h 1762127"/>
                <a:gd name="connsiteX2738" fmla="*/ 4551245 w 9759834"/>
                <a:gd name="connsiteY2738" fmla="*/ 1050925 h 1762127"/>
                <a:gd name="connsiteX2739" fmla="*/ 4585377 w 9759834"/>
                <a:gd name="connsiteY2739" fmla="*/ 1016000 h 1762127"/>
                <a:gd name="connsiteX2740" fmla="*/ 4415515 w 9759834"/>
                <a:gd name="connsiteY2740" fmla="*/ 1016000 h 1762127"/>
                <a:gd name="connsiteX2741" fmla="*/ 4449647 w 9759834"/>
                <a:gd name="connsiteY2741" fmla="*/ 1050925 h 1762127"/>
                <a:gd name="connsiteX2742" fmla="*/ 4415515 w 9759834"/>
                <a:gd name="connsiteY2742" fmla="*/ 1085850 h 1762127"/>
                <a:gd name="connsiteX2743" fmla="*/ 4381383 w 9759834"/>
                <a:gd name="connsiteY2743" fmla="*/ 1050925 h 1762127"/>
                <a:gd name="connsiteX2744" fmla="*/ 4415515 w 9759834"/>
                <a:gd name="connsiteY2744" fmla="*/ 1016000 h 1762127"/>
                <a:gd name="connsiteX2745" fmla="*/ 3912277 w 9759834"/>
                <a:gd name="connsiteY2745" fmla="*/ 1016000 h 1762127"/>
                <a:gd name="connsiteX2746" fmla="*/ 3946409 w 9759834"/>
                <a:gd name="connsiteY2746" fmla="*/ 1050925 h 1762127"/>
                <a:gd name="connsiteX2747" fmla="*/ 3912277 w 9759834"/>
                <a:gd name="connsiteY2747" fmla="*/ 1085850 h 1762127"/>
                <a:gd name="connsiteX2748" fmla="*/ 3878145 w 9759834"/>
                <a:gd name="connsiteY2748" fmla="*/ 1050925 h 1762127"/>
                <a:gd name="connsiteX2749" fmla="*/ 3912277 w 9759834"/>
                <a:gd name="connsiteY2749" fmla="*/ 1016000 h 1762127"/>
                <a:gd name="connsiteX2750" fmla="*/ 3826552 w 9759834"/>
                <a:gd name="connsiteY2750" fmla="*/ 1016000 h 1762127"/>
                <a:gd name="connsiteX2751" fmla="*/ 3860684 w 9759834"/>
                <a:gd name="connsiteY2751" fmla="*/ 1050925 h 1762127"/>
                <a:gd name="connsiteX2752" fmla="*/ 3826552 w 9759834"/>
                <a:gd name="connsiteY2752" fmla="*/ 1085850 h 1762127"/>
                <a:gd name="connsiteX2753" fmla="*/ 3792420 w 9759834"/>
                <a:gd name="connsiteY2753" fmla="*/ 1050925 h 1762127"/>
                <a:gd name="connsiteX2754" fmla="*/ 3826552 w 9759834"/>
                <a:gd name="connsiteY2754" fmla="*/ 1016000 h 1762127"/>
                <a:gd name="connsiteX2755" fmla="*/ 3741620 w 9759834"/>
                <a:gd name="connsiteY2755" fmla="*/ 1016000 h 1762127"/>
                <a:gd name="connsiteX2756" fmla="*/ 3776545 w 9759834"/>
                <a:gd name="connsiteY2756" fmla="*/ 1050925 h 1762127"/>
                <a:gd name="connsiteX2757" fmla="*/ 3741620 w 9759834"/>
                <a:gd name="connsiteY2757" fmla="*/ 1085850 h 1762127"/>
                <a:gd name="connsiteX2758" fmla="*/ 3706695 w 9759834"/>
                <a:gd name="connsiteY2758" fmla="*/ 1050925 h 1762127"/>
                <a:gd name="connsiteX2759" fmla="*/ 3741620 w 9759834"/>
                <a:gd name="connsiteY2759" fmla="*/ 1016000 h 1762127"/>
                <a:gd name="connsiteX2760" fmla="*/ 3234415 w 9759834"/>
                <a:gd name="connsiteY2760" fmla="*/ 1016000 h 1762127"/>
                <a:gd name="connsiteX2761" fmla="*/ 3268547 w 9759834"/>
                <a:gd name="connsiteY2761" fmla="*/ 1050925 h 1762127"/>
                <a:gd name="connsiteX2762" fmla="*/ 3234415 w 9759834"/>
                <a:gd name="connsiteY2762" fmla="*/ 1085850 h 1762127"/>
                <a:gd name="connsiteX2763" fmla="*/ 3200283 w 9759834"/>
                <a:gd name="connsiteY2763" fmla="*/ 1050925 h 1762127"/>
                <a:gd name="connsiteX2764" fmla="*/ 3234415 w 9759834"/>
                <a:gd name="connsiteY2764" fmla="*/ 1016000 h 1762127"/>
                <a:gd name="connsiteX2765" fmla="*/ 3153452 w 9759834"/>
                <a:gd name="connsiteY2765" fmla="*/ 1016000 h 1762127"/>
                <a:gd name="connsiteX2766" fmla="*/ 3187584 w 9759834"/>
                <a:gd name="connsiteY2766" fmla="*/ 1050925 h 1762127"/>
                <a:gd name="connsiteX2767" fmla="*/ 3153452 w 9759834"/>
                <a:gd name="connsiteY2767" fmla="*/ 1085850 h 1762127"/>
                <a:gd name="connsiteX2768" fmla="*/ 3119320 w 9759834"/>
                <a:gd name="connsiteY2768" fmla="*/ 1050925 h 1762127"/>
                <a:gd name="connsiteX2769" fmla="*/ 3153452 w 9759834"/>
                <a:gd name="connsiteY2769" fmla="*/ 1016000 h 1762127"/>
                <a:gd name="connsiteX2770" fmla="*/ 2814520 w 9759834"/>
                <a:gd name="connsiteY2770" fmla="*/ 1016000 h 1762127"/>
                <a:gd name="connsiteX2771" fmla="*/ 2851033 w 9759834"/>
                <a:gd name="connsiteY2771" fmla="*/ 1050925 h 1762127"/>
                <a:gd name="connsiteX2772" fmla="*/ 2814520 w 9759834"/>
                <a:gd name="connsiteY2772" fmla="*/ 1085850 h 1762127"/>
                <a:gd name="connsiteX2773" fmla="*/ 2778007 w 9759834"/>
                <a:gd name="connsiteY2773" fmla="*/ 1050925 h 1762127"/>
                <a:gd name="connsiteX2774" fmla="*/ 2814520 w 9759834"/>
                <a:gd name="connsiteY2774" fmla="*/ 1016000 h 1762127"/>
                <a:gd name="connsiteX2775" fmla="*/ 2475627 w 9759834"/>
                <a:gd name="connsiteY2775" fmla="*/ 1016000 h 1762127"/>
                <a:gd name="connsiteX2776" fmla="*/ 2509759 w 9759834"/>
                <a:gd name="connsiteY2776" fmla="*/ 1050925 h 1762127"/>
                <a:gd name="connsiteX2777" fmla="*/ 2475627 w 9759834"/>
                <a:gd name="connsiteY2777" fmla="*/ 1085850 h 1762127"/>
                <a:gd name="connsiteX2778" fmla="*/ 2441494 w 9759834"/>
                <a:gd name="connsiteY2778" fmla="*/ 1050925 h 1762127"/>
                <a:gd name="connsiteX2779" fmla="*/ 2475627 w 9759834"/>
                <a:gd name="connsiteY2779" fmla="*/ 1016000 h 1762127"/>
                <a:gd name="connsiteX2780" fmla="*/ 2394790 w 9759834"/>
                <a:gd name="connsiteY2780" fmla="*/ 1016000 h 1762127"/>
                <a:gd name="connsiteX2781" fmla="*/ 2428919 w 9759834"/>
                <a:gd name="connsiteY2781" fmla="*/ 1050925 h 1762127"/>
                <a:gd name="connsiteX2782" fmla="*/ 2394790 w 9759834"/>
                <a:gd name="connsiteY2782" fmla="*/ 1085850 h 1762127"/>
                <a:gd name="connsiteX2783" fmla="*/ 2360656 w 9759834"/>
                <a:gd name="connsiteY2783" fmla="*/ 1050925 h 1762127"/>
                <a:gd name="connsiteX2784" fmla="*/ 2394790 w 9759834"/>
                <a:gd name="connsiteY2784" fmla="*/ 1016000 h 1762127"/>
                <a:gd name="connsiteX2785" fmla="*/ 2309856 w 9759834"/>
                <a:gd name="connsiteY2785" fmla="*/ 1016000 h 1762127"/>
                <a:gd name="connsiteX2786" fmla="*/ 2344781 w 9759834"/>
                <a:gd name="connsiteY2786" fmla="*/ 1050925 h 1762127"/>
                <a:gd name="connsiteX2787" fmla="*/ 2309856 w 9759834"/>
                <a:gd name="connsiteY2787" fmla="*/ 1085850 h 1762127"/>
                <a:gd name="connsiteX2788" fmla="*/ 2274920 w 9759834"/>
                <a:gd name="connsiteY2788" fmla="*/ 1050925 h 1762127"/>
                <a:gd name="connsiteX2789" fmla="*/ 2309856 w 9759834"/>
                <a:gd name="connsiteY2789" fmla="*/ 1016000 h 1762127"/>
                <a:gd name="connsiteX2790" fmla="*/ 2224804 w 9759834"/>
                <a:gd name="connsiteY2790" fmla="*/ 1016000 h 1762127"/>
                <a:gd name="connsiteX2791" fmla="*/ 2258936 w 9759834"/>
                <a:gd name="connsiteY2791" fmla="*/ 1050925 h 1762127"/>
                <a:gd name="connsiteX2792" fmla="*/ 2224804 w 9759834"/>
                <a:gd name="connsiteY2792" fmla="*/ 1085850 h 1762127"/>
                <a:gd name="connsiteX2793" fmla="*/ 2190671 w 9759834"/>
                <a:gd name="connsiteY2793" fmla="*/ 1050925 h 1762127"/>
                <a:gd name="connsiteX2794" fmla="*/ 2224804 w 9759834"/>
                <a:gd name="connsiteY2794" fmla="*/ 1016000 h 1762127"/>
                <a:gd name="connsiteX2795" fmla="*/ 2139055 w 9759834"/>
                <a:gd name="connsiteY2795" fmla="*/ 1016000 h 1762127"/>
                <a:gd name="connsiteX2796" fmla="*/ 2173187 w 9759834"/>
                <a:gd name="connsiteY2796" fmla="*/ 1050925 h 1762127"/>
                <a:gd name="connsiteX2797" fmla="*/ 2139055 w 9759834"/>
                <a:gd name="connsiteY2797" fmla="*/ 1085850 h 1762127"/>
                <a:gd name="connsiteX2798" fmla="*/ 2104924 w 9759834"/>
                <a:gd name="connsiteY2798" fmla="*/ 1050925 h 1762127"/>
                <a:gd name="connsiteX2799" fmla="*/ 2139055 w 9759834"/>
                <a:gd name="connsiteY2799" fmla="*/ 1016000 h 1762127"/>
                <a:gd name="connsiteX2800" fmla="*/ 2055712 w 9759834"/>
                <a:gd name="connsiteY2800" fmla="*/ 1016000 h 1762127"/>
                <a:gd name="connsiteX2801" fmla="*/ 2092225 w 9759834"/>
                <a:gd name="connsiteY2801" fmla="*/ 1050925 h 1762127"/>
                <a:gd name="connsiteX2802" fmla="*/ 2055712 w 9759834"/>
                <a:gd name="connsiteY2802" fmla="*/ 1085850 h 1762127"/>
                <a:gd name="connsiteX2803" fmla="*/ 2019199 w 9759834"/>
                <a:gd name="connsiteY2803" fmla="*/ 1050925 h 1762127"/>
                <a:gd name="connsiteX2804" fmla="*/ 2055712 w 9759834"/>
                <a:gd name="connsiteY2804" fmla="*/ 1016000 h 1762127"/>
                <a:gd name="connsiteX2805" fmla="*/ 1973163 w 9759834"/>
                <a:gd name="connsiteY2805" fmla="*/ 1016000 h 1762127"/>
                <a:gd name="connsiteX2806" fmla="*/ 2008087 w 9759834"/>
                <a:gd name="connsiteY2806" fmla="*/ 1050925 h 1762127"/>
                <a:gd name="connsiteX2807" fmla="*/ 1973163 w 9759834"/>
                <a:gd name="connsiteY2807" fmla="*/ 1085850 h 1762127"/>
                <a:gd name="connsiteX2808" fmla="*/ 1938238 w 9759834"/>
                <a:gd name="connsiteY2808" fmla="*/ 1050925 h 1762127"/>
                <a:gd name="connsiteX2809" fmla="*/ 1973163 w 9759834"/>
                <a:gd name="connsiteY2809" fmla="*/ 1016000 h 1762127"/>
                <a:gd name="connsiteX2810" fmla="*/ 1802507 w 9759834"/>
                <a:gd name="connsiteY2810" fmla="*/ 1016000 h 1762127"/>
                <a:gd name="connsiteX2811" fmla="*/ 1836638 w 9759834"/>
                <a:gd name="connsiteY2811" fmla="*/ 1050925 h 1762127"/>
                <a:gd name="connsiteX2812" fmla="*/ 1802507 w 9759834"/>
                <a:gd name="connsiteY2812" fmla="*/ 1085850 h 1762127"/>
                <a:gd name="connsiteX2813" fmla="*/ 1768375 w 9759834"/>
                <a:gd name="connsiteY2813" fmla="*/ 1050925 h 1762127"/>
                <a:gd name="connsiteX2814" fmla="*/ 1802507 w 9759834"/>
                <a:gd name="connsiteY2814" fmla="*/ 1016000 h 1762127"/>
                <a:gd name="connsiteX2815" fmla="*/ 1719169 w 9759834"/>
                <a:gd name="connsiteY2815" fmla="*/ 1016000 h 1762127"/>
                <a:gd name="connsiteX2816" fmla="*/ 1755682 w 9759834"/>
                <a:gd name="connsiteY2816" fmla="*/ 1050925 h 1762127"/>
                <a:gd name="connsiteX2817" fmla="*/ 1719169 w 9759834"/>
                <a:gd name="connsiteY2817" fmla="*/ 1085850 h 1762127"/>
                <a:gd name="connsiteX2818" fmla="*/ 1682656 w 9759834"/>
                <a:gd name="connsiteY2818" fmla="*/ 1050925 h 1762127"/>
                <a:gd name="connsiteX2819" fmla="*/ 1719169 w 9759834"/>
                <a:gd name="connsiteY2819" fmla="*/ 1016000 h 1762127"/>
                <a:gd name="connsiteX2820" fmla="*/ 1636604 w 9759834"/>
                <a:gd name="connsiteY2820" fmla="*/ 1016000 h 1762127"/>
                <a:gd name="connsiteX2821" fmla="*/ 1671529 w 9759834"/>
                <a:gd name="connsiteY2821" fmla="*/ 1050925 h 1762127"/>
                <a:gd name="connsiteX2822" fmla="*/ 1636604 w 9759834"/>
                <a:gd name="connsiteY2822" fmla="*/ 1085850 h 1762127"/>
                <a:gd name="connsiteX2823" fmla="*/ 1601679 w 9759834"/>
                <a:gd name="connsiteY2823" fmla="*/ 1050925 h 1762127"/>
                <a:gd name="connsiteX2824" fmla="*/ 1636604 w 9759834"/>
                <a:gd name="connsiteY2824" fmla="*/ 1016000 h 1762127"/>
                <a:gd name="connsiteX2825" fmla="*/ 1551671 w 9759834"/>
                <a:gd name="connsiteY2825" fmla="*/ 1016000 h 1762127"/>
                <a:gd name="connsiteX2826" fmla="*/ 1585803 w 9759834"/>
                <a:gd name="connsiteY2826" fmla="*/ 1050925 h 1762127"/>
                <a:gd name="connsiteX2827" fmla="*/ 1551671 w 9759834"/>
                <a:gd name="connsiteY2827" fmla="*/ 1085850 h 1762127"/>
                <a:gd name="connsiteX2828" fmla="*/ 1517539 w 9759834"/>
                <a:gd name="connsiteY2828" fmla="*/ 1050925 h 1762127"/>
                <a:gd name="connsiteX2829" fmla="*/ 1551671 w 9759834"/>
                <a:gd name="connsiteY2829" fmla="*/ 1016000 h 1762127"/>
                <a:gd name="connsiteX2830" fmla="*/ 1465946 w 9759834"/>
                <a:gd name="connsiteY2830" fmla="*/ 1016000 h 1762127"/>
                <a:gd name="connsiteX2831" fmla="*/ 1500078 w 9759834"/>
                <a:gd name="connsiteY2831" fmla="*/ 1050925 h 1762127"/>
                <a:gd name="connsiteX2832" fmla="*/ 1465946 w 9759834"/>
                <a:gd name="connsiteY2832" fmla="*/ 1085850 h 1762127"/>
                <a:gd name="connsiteX2833" fmla="*/ 1431814 w 9759834"/>
                <a:gd name="connsiteY2833" fmla="*/ 1050925 h 1762127"/>
                <a:gd name="connsiteX2834" fmla="*/ 1465946 w 9759834"/>
                <a:gd name="connsiteY2834" fmla="*/ 1016000 h 1762127"/>
                <a:gd name="connsiteX2835" fmla="*/ 1380229 w 9759834"/>
                <a:gd name="connsiteY2835" fmla="*/ 1016000 h 1762127"/>
                <a:gd name="connsiteX2836" fmla="*/ 1414360 w 9759834"/>
                <a:gd name="connsiteY2836" fmla="*/ 1050925 h 1762127"/>
                <a:gd name="connsiteX2837" fmla="*/ 1380229 w 9759834"/>
                <a:gd name="connsiteY2837" fmla="*/ 1085850 h 1762127"/>
                <a:gd name="connsiteX2838" fmla="*/ 1346096 w 9759834"/>
                <a:gd name="connsiteY2838" fmla="*/ 1050925 h 1762127"/>
                <a:gd name="connsiteX2839" fmla="*/ 1380229 w 9759834"/>
                <a:gd name="connsiteY2839" fmla="*/ 1016000 h 1762127"/>
                <a:gd name="connsiteX2840" fmla="*/ 1300222 w 9759834"/>
                <a:gd name="connsiteY2840" fmla="*/ 1016000 h 1762127"/>
                <a:gd name="connsiteX2841" fmla="*/ 1335148 w 9759834"/>
                <a:gd name="connsiteY2841" fmla="*/ 1050925 h 1762127"/>
                <a:gd name="connsiteX2842" fmla="*/ 1300222 w 9759834"/>
                <a:gd name="connsiteY2842" fmla="*/ 1085850 h 1762127"/>
                <a:gd name="connsiteX2843" fmla="*/ 1265297 w 9759834"/>
                <a:gd name="connsiteY2843" fmla="*/ 1050925 h 1762127"/>
                <a:gd name="connsiteX2844" fmla="*/ 1300222 w 9759834"/>
                <a:gd name="connsiteY2844" fmla="*/ 1016000 h 1762127"/>
                <a:gd name="connsiteX2845" fmla="*/ 621390 w 9759834"/>
                <a:gd name="connsiteY2845" fmla="*/ 1016000 h 1762127"/>
                <a:gd name="connsiteX2846" fmla="*/ 655522 w 9759834"/>
                <a:gd name="connsiteY2846" fmla="*/ 1050925 h 1762127"/>
                <a:gd name="connsiteX2847" fmla="*/ 621390 w 9759834"/>
                <a:gd name="connsiteY2847" fmla="*/ 1085850 h 1762127"/>
                <a:gd name="connsiteX2848" fmla="*/ 587258 w 9759834"/>
                <a:gd name="connsiteY2848" fmla="*/ 1050925 h 1762127"/>
                <a:gd name="connsiteX2849" fmla="*/ 621390 w 9759834"/>
                <a:gd name="connsiteY2849" fmla="*/ 1016000 h 1762127"/>
                <a:gd name="connsiteX2850" fmla="*/ 541221 w 9759834"/>
                <a:gd name="connsiteY2850" fmla="*/ 1016000 h 1762127"/>
                <a:gd name="connsiteX2851" fmla="*/ 576146 w 9759834"/>
                <a:gd name="connsiteY2851" fmla="*/ 1050925 h 1762127"/>
                <a:gd name="connsiteX2852" fmla="*/ 541221 w 9759834"/>
                <a:gd name="connsiteY2852" fmla="*/ 1085850 h 1762127"/>
                <a:gd name="connsiteX2853" fmla="*/ 506296 w 9759834"/>
                <a:gd name="connsiteY2853" fmla="*/ 1050925 h 1762127"/>
                <a:gd name="connsiteX2854" fmla="*/ 541221 w 9759834"/>
                <a:gd name="connsiteY2854" fmla="*/ 1016000 h 1762127"/>
                <a:gd name="connsiteX2855" fmla="*/ 9474877 w 9759834"/>
                <a:gd name="connsiteY2855" fmla="*/ 936625 h 1762127"/>
                <a:gd name="connsiteX2856" fmla="*/ 9509009 w 9759834"/>
                <a:gd name="connsiteY2856" fmla="*/ 970757 h 1762127"/>
                <a:gd name="connsiteX2857" fmla="*/ 9474877 w 9759834"/>
                <a:gd name="connsiteY2857" fmla="*/ 1004889 h 1762127"/>
                <a:gd name="connsiteX2858" fmla="*/ 9440745 w 9759834"/>
                <a:gd name="connsiteY2858" fmla="*/ 970757 h 1762127"/>
                <a:gd name="connsiteX2859" fmla="*/ 9474877 w 9759834"/>
                <a:gd name="connsiteY2859" fmla="*/ 936625 h 1762127"/>
                <a:gd name="connsiteX2860" fmla="*/ 9389152 w 9759834"/>
                <a:gd name="connsiteY2860" fmla="*/ 936625 h 1762127"/>
                <a:gd name="connsiteX2861" fmla="*/ 9423284 w 9759834"/>
                <a:gd name="connsiteY2861" fmla="*/ 970757 h 1762127"/>
                <a:gd name="connsiteX2862" fmla="*/ 9389152 w 9759834"/>
                <a:gd name="connsiteY2862" fmla="*/ 1004889 h 1762127"/>
                <a:gd name="connsiteX2863" fmla="*/ 9355020 w 9759834"/>
                <a:gd name="connsiteY2863" fmla="*/ 970757 h 1762127"/>
                <a:gd name="connsiteX2864" fmla="*/ 9389152 w 9759834"/>
                <a:gd name="connsiteY2864" fmla="*/ 936625 h 1762127"/>
                <a:gd name="connsiteX2865" fmla="*/ 8884327 w 9759834"/>
                <a:gd name="connsiteY2865" fmla="*/ 936625 h 1762127"/>
                <a:gd name="connsiteX2866" fmla="*/ 8921634 w 9759834"/>
                <a:gd name="connsiteY2866" fmla="*/ 970757 h 1762127"/>
                <a:gd name="connsiteX2867" fmla="*/ 8884327 w 9759834"/>
                <a:gd name="connsiteY2867" fmla="*/ 1004889 h 1762127"/>
                <a:gd name="connsiteX2868" fmla="*/ 8847020 w 9759834"/>
                <a:gd name="connsiteY2868" fmla="*/ 970757 h 1762127"/>
                <a:gd name="connsiteX2869" fmla="*/ 8884327 w 9759834"/>
                <a:gd name="connsiteY2869" fmla="*/ 936625 h 1762127"/>
                <a:gd name="connsiteX2870" fmla="*/ 8801777 w 9759834"/>
                <a:gd name="connsiteY2870" fmla="*/ 936625 h 1762127"/>
                <a:gd name="connsiteX2871" fmla="*/ 8835909 w 9759834"/>
                <a:gd name="connsiteY2871" fmla="*/ 970757 h 1762127"/>
                <a:gd name="connsiteX2872" fmla="*/ 8801777 w 9759834"/>
                <a:gd name="connsiteY2872" fmla="*/ 1004889 h 1762127"/>
                <a:gd name="connsiteX2873" fmla="*/ 8767645 w 9759834"/>
                <a:gd name="connsiteY2873" fmla="*/ 970757 h 1762127"/>
                <a:gd name="connsiteX2874" fmla="*/ 8801777 w 9759834"/>
                <a:gd name="connsiteY2874" fmla="*/ 936625 h 1762127"/>
                <a:gd name="connsiteX2875" fmla="*/ 8716052 w 9759834"/>
                <a:gd name="connsiteY2875" fmla="*/ 936625 h 1762127"/>
                <a:gd name="connsiteX2876" fmla="*/ 8750184 w 9759834"/>
                <a:gd name="connsiteY2876" fmla="*/ 970757 h 1762127"/>
                <a:gd name="connsiteX2877" fmla="*/ 8716052 w 9759834"/>
                <a:gd name="connsiteY2877" fmla="*/ 1004889 h 1762127"/>
                <a:gd name="connsiteX2878" fmla="*/ 8681920 w 9759834"/>
                <a:gd name="connsiteY2878" fmla="*/ 970757 h 1762127"/>
                <a:gd name="connsiteX2879" fmla="*/ 8716052 w 9759834"/>
                <a:gd name="connsiteY2879" fmla="*/ 936625 h 1762127"/>
                <a:gd name="connsiteX2880" fmla="*/ 8630327 w 9759834"/>
                <a:gd name="connsiteY2880" fmla="*/ 936625 h 1762127"/>
                <a:gd name="connsiteX2881" fmla="*/ 8664459 w 9759834"/>
                <a:gd name="connsiteY2881" fmla="*/ 970757 h 1762127"/>
                <a:gd name="connsiteX2882" fmla="*/ 8630327 w 9759834"/>
                <a:gd name="connsiteY2882" fmla="*/ 1004889 h 1762127"/>
                <a:gd name="connsiteX2883" fmla="*/ 8596195 w 9759834"/>
                <a:gd name="connsiteY2883" fmla="*/ 970757 h 1762127"/>
                <a:gd name="connsiteX2884" fmla="*/ 8630327 w 9759834"/>
                <a:gd name="connsiteY2884" fmla="*/ 936625 h 1762127"/>
                <a:gd name="connsiteX2885" fmla="*/ 8544602 w 9759834"/>
                <a:gd name="connsiteY2885" fmla="*/ 936625 h 1762127"/>
                <a:gd name="connsiteX2886" fmla="*/ 8578734 w 9759834"/>
                <a:gd name="connsiteY2886" fmla="*/ 970757 h 1762127"/>
                <a:gd name="connsiteX2887" fmla="*/ 8544602 w 9759834"/>
                <a:gd name="connsiteY2887" fmla="*/ 1004889 h 1762127"/>
                <a:gd name="connsiteX2888" fmla="*/ 8510470 w 9759834"/>
                <a:gd name="connsiteY2888" fmla="*/ 970757 h 1762127"/>
                <a:gd name="connsiteX2889" fmla="*/ 8544602 w 9759834"/>
                <a:gd name="connsiteY2889" fmla="*/ 936625 h 1762127"/>
                <a:gd name="connsiteX2890" fmla="*/ 8465227 w 9759834"/>
                <a:gd name="connsiteY2890" fmla="*/ 936625 h 1762127"/>
                <a:gd name="connsiteX2891" fmla="*/ 8499359 w 9759834"/>
                <a:gd name="connsiteY2891" fmla="*/ 970757 h 1762127"/>
                <a:gd name="connsiteX2892" fmla="*/ 8465227 w 9759834"/>
                <a:gd name="connsiteY2892" fmla="*/ 1004889 h 1762127"/>
                <a:gd name="connsiteX2893" fmla="*/ 8431095 w 9759834"/>
                <a:gd name="connsiteY2893" fmla="*/ 970757 h 1762127"/>
                <a:gd name="connsiteX2894" fmla="*/ 8465227 w 9759834"/>
                <a:gd name="connsiteY2894" fmla="*/ 936625 h 1762127"/>
                <a:gd name="connsiteX2895" fmla="*/ 8379502 w 9759834"/>
                <a:gd name="connsiteY2895" fmla="*/ 936625 h 1762127"/>
                <a:gd name="connsiteX2896" fmla="*/ 8413634 w 9759834"/>
                <a:gd name="connsiteY2896" fmla="*/ 970757 h 1762127"/>
                <a:gd name="connsiteX2897" fmla="*/ 8379502 w 9759834"/>
                <a:gd name="connsiteY2897" fmla="*/ 1004889 h 1762127"/>
                <a:gd name="connsiteX2898" fmla="*/ 8345370 w 9759834"/>
                <a:gd name="connsiteY2898" fmla="*/ 970757 h 1762127"/>
                <a:gd name="connsiteX2899" fmla="*/ 8379502 w 9759834"/>
                <a:gd name="connsiteY2899" fmla="*/ 936625 h 1762127"/>
                <a:gd name="connsiteX2900" fmla="*/ 8293777 w 9759834"/>
                <a:gd name="connsiteY2900" fmla="*/ 936625 h 1762127"/>
                <a:gd name="connsiteX2901" fmla="*/ 8327909 w 9759834"/>
                <a:gd name="connsiteY2901" fmla="*/ 970757 h 1762127"/>
                <a:gd name="connsiteX2902" fmla="*/ 8293777 w 9759834"/>
                <a:gd name="connsiteY2902" fmla="*/ 1004889 h 1762127"/>
                <a:gd name="connsiteX2903" fmla="*/ 8259645 w 9759834"/>
                <a:gd name="connsiteY2903" fmla="*/ 970757 h 1762127"/>
                <a:gd name="connsiteX2904" fmla="*/ 8293777 w 9759834"/>
                <a:gd name="connsiteY2904" fmla="*/ 936625 h 1762127"/>
                <a:gd name="connsiteX2905" fmla="*/ 8208052 w 9759834"/>
                <a:gd name="connsiteY2905" fmla="*/ 936625 h 1762127"/>
                <a:gd name="connsiteX2906" fmla="*/ 8242184 w 9759834"/>
                <a:gd name="connsiteY2906" fmla="*/ 970757 h 1762127"/>
                <a:gd name="connsiteX2907" fmla="*/ 8208052 w 9759834"/>
                <a:gd name="connsiteY2907" fmla="*/ 1004889 h 1762127"/>
                <a:gd name="connsiteX2908" fmla="*/ 8173920 w 9759834"/>
                <a:gd name="connsiteY2908" fmla="*/ 970757 h 1762127"/>
                <a:gd name="connsiteX2909" fmla="*/ 8208052 w 9759834"/>
                <a:gd name="connsiteY2909" fmla="*/ 936625 h 1762127"/>
                <a:gd name="connsiteX2910" fmla="*/ 8125502 w 9759834"/>
                <a:gd name="connsiteY2910" fmla="*/ 936625 h 1762127"/>
                <a:gd name="connsiteX2911" fmla="*/ 8162809 w 9759834"/>
                <a:gd name="connsiteY2911" fmla="*/ 970757 h 1762127"/>
                <a:gd name="connsiteX2912" fmla="*/ 8125502 w 9759834"/>
                <a:gd name="connsiteY2912" fmla="*/ 1004889 h 1762127"/>
                <a:gd name="connsiteX2913" fmla="*/ 8088195 w 9759834"/>
                <a:gd name="connsiteY2913" fmla="*/ 970757 h 1762127"/>
                <a:gd name="connsiteX2914" fmla="*/ 8125502 w 9759834"/>
                <a:gd name="connsiteY2914" fmla="*/ 936625 h 1762127"/>
                <a:gd name="connsiteX2915" fmla="*/ 8042952 w 9759834"/>
                <a:gd name="connsiteY2915" fmla="*/ 936625 h 1762127"/>
                <a:gd name="connsiteX2916" fmla="*/ 8077084 w 9759834"/>
                <a:gd name="connsiteY2916" fmla="*/ 970757 h 1762127"/>
                <a:gd name="connsiteX2917" fmla="*/ 8042952 w 9759834"/>
                <a:gd name="connsiteY2917" fmla="*/ 1004889 h 1762127"/>
                <a:gd name="connsiteX2918" fmla="*/ 8008820 w 9759834"/>
                <a:gd name="connsiteY2918" fmla="*/ 970757 h 1762127"/>
                <a:gd name="connsiteX2919" fmla="*/ 8042952 w 9759834"/>
                <a:gd name="connsiteY2919" fmla="*/ 936625 h 1762127"/>
                <a:gd name="connsiteX2920" fmla="*/ 7957227 w 9759834"/>
                <a:gd name="connsiteY2920" fmla="*/ 936625 h 1762127"/>
                <a:gd name="connsiteX2921" fmla="*/ 7991359 w 9759834"/>
                <a:gd name="connsiteY2921" fmla="*/ 970757 h 1762127"/>
                <a:gd name="connsiteX2922" fmla="*/ 7957227 w 9759834"/>
                <a:gd name="connsiteY2922" fmla="*/ 1004889 h 1762127"/>
                <a:gd name="connsiteX2923" fmla="*/ 7923095 w 9759834"/>
                <a:gd name="connsiteY2923" fmla="*/ 970757 h 1762127"/>
                <a:gd name="connsiteX2924" fmla="*/ 7957227 w 9759834"/>
                <a:gd name="connsiteY2924" fmla="*/ 936625 h 1762127"/>
                <a:gd name="connsiteX2925" fmla="*/ 7871502 w 9759834"/>
                <a:gd name="connsiteY2925" fmla="*/ 936625 h 1762127"/>
                <a:gd name="connsiteX2926" fmla="*/ 7905634 w 9759834"/>
                <a:gd name="connsiteY2926" fmla="*/ 970757 h 1762127"/>
                <a:gd name="connsiteX2927" fmla="*/ 7871502 w 9759834"/>
                <a:gd name="connsiteY2927" fmla="*/ 1004889 h 1762127"/>
                <a:gd name="connsiteX2928" fmla="*/ 7837370 w 9759834"/>
                <a:gd name="connsiteY2928" fmla="*/ 970757 h 1762127"/>
                <a:gd name="connsiteX2929" fmla="*/ 7871502 w 9759834"/>
                <a:gd name="connsiteY2929" fmla="*/ 936625 h 1762127"/>
                <a:gd name="connsiteX2930" fmla="*/ 7785777 w 9759834"/>
                <a:gd name="connsiteY2930" fmla="*/ 936625 h 1762127"/>
                <a:gd name="connsiteX2931" fmla="*/ 7819909 w 9759834"/>
                <a:gd name="connsiteY2931" fmla="*/ 970757 h 1762127"/>
                <a:gd name="connsiteX2932" fmla="*/ 7785777 w 9759834"/>
                <a:gd name="connsiteY2932" fmla="*/ 1004889 h 1762127"/>
                <a:gd name="connsiteX2933" fmla="*/ 7751645 w 9759834"/>
                <a:gd name="connsiteY2933" fmla="*/ 970757 h 1762127"/>
                <a:gd name="connsiteX2934" fmla="*/ 7785777 w 9759834"/>
                <a:gd name="connsiteY2934" fmla="*/ 936625 h 1762127"/>
                <a:gd name="connsiteX2935" fmla="*/ 7706402 w 9759834"/>
                <a:gd name="connsiteY2935" fmla="*/ 936625 h 1762127"/>
                <a:gd name="connsiteX2936" fmla="*/ 7740534 w 9759834"/>
                <a:gd name="connsiteY2936" fmla="*/ 970757 h 1762127"/>
                <a:gd name="connsiteX2937" fmla="*/ 7706402 w 9759834"/>
                <a:gd name="connsiteY2937" fmla="*/ 1004889 h 1762127"/>
                <a:gd name="connsiteX2938" fmla="*/ 7672270 w 9759834"/>
                <a:gd name="connsiteY2938" fmla="*/ 970757 h 1762127"/>
                <a:gd name="connsiteX2939" fmla="*/ 7706402 w 9759834"/>
                <a:gd name="connsiteY2939" fmla="*/ 936625 h 1762127"/>
                <a:gd name="connsiteX2940" fmla="*/ 7620677 w 9759834"/>
                <a:gd name="connsiteY2940" fmla="*/ 936625 h 1762127"/>
                <a:gd name="connsiteX2941" fmla="*/ 7654809 w 9759834"/>
                <a:gd name="connsiteY2941" fmla="*/ 970757 h 1762127"/>
                <a:gd name="connsiteX2942" fmla="*/ 7620677 w 9759834"/>
                <a:gd name="connsiteY2942" fmla="*/ 1004889 h 1762127"/>
                <a:gd name="connsiteX2943" fmla="*/ 7586545 w 9759834"/>
                <a:gd name="connsiteY2943" fmla="*/ 970757 h 1762127"/>
                <a:gd name="connsiteX2944" fmla="*/ 7620677 w 9759834"/>
                <a:gd name="connsiteY2944" fmla="*/ 936625 h 1762127"/>
                <a:gd name="connsiteX2945" fmla="*/ 7534952 w 9759834"/>
                <a:gd name="connsiteY2945" fmla="*/ 936625 h 1762127"/>
                <a:gd name="connsiteX2946" fmla="*/ 7569084 w 9759834"/>
                <a:gd name="connsiteY2946" fmla="*/ 970757 h 1762127"/>
                <a:gd name="connsiteX2947" fmla="*/ 7534952 w 9759834"/>
                <a:gd name="connsiteY2947" fmla="*/ 1004889 h 1762127"/>
                <a:gd name="connsiteX2948" fmla="*/ 7500820 w 9759834"/>
                <a:gd name="connsiteY2948" fmla="*/ 970757 h 1762127"/>
                <a:gd name="connsiteX2949" fmla="*/ 7534952 w 9759834"/>
                <a:gd name="connsiteY2949" fmla="*/ 936625 h 1762127"/>
                <a:gd name="connsiteX2950" fmla="*/ 7449227 w 9759834"/>
                <a:gd name="connsiteY2950" fmla="*/ 936625 h 1762127"/>
                <a:gd name="connsiteX2951" fmla="*/ 7483359 w 9759834"/>
                <a:gd name="connsiteY2951" fmla="*/ 970757 h 1762127"/>
                <a:gd name="connsiteX2952" fmla="*/ 7449227 w 9759834"/>
                <a:gd name="connsiteY2952" fmla="*/ 1004889 h 1762127"/>
                <a:gd name="connsiteX2953" fmla="*/ 7415095 w 9759834"/>
                <a:gd name="connsiteY2953" fmla="*/ 970757 h 1762127"/>
                <a:gd name="connsiteX2954" fmla="*/ 7449227 w 9759834"/>
                <a:gd name="connsiteY2954" fmla="*/ 936625 h 1762127"/>
                <a:gd name="connsiteX2955" fmla="*/ 7366677 w 9759834"/>
                <a:gd name="connsiteY2955" fmla="*/ 936625 h 1762127"/>
                <a:gd name="connsiteX2956" fmla="*/ 7403984 w 9759834"/>
                <a:gd name="connsiteY2956" fmla="*/ 970757 h 1762127"/>
                <a:gd name="connsiteX2957" fmla="*/ 7366677 w 9759834"/>
                <a:gd name="connsiteY2957" fmla="*/ 1004889 h 1762127"/>
                <a:gd name="connsiteX2958" fmla="*/ 7329370 w 9759834"/>
                <a:gd name="connsiteY2958" fmla="*/ 970757 h 1762127"/>
                <a:gd name="connsiteX2959" fmla="*/ 7366677 w 9759834"/>
                <a:gd name="connsiteY2959" fmla="*/ 936625 h 1762127"/>
                <a:gd name="connsiteX2960" fmla="*/ 7284127 w 9759834"/>
                <a:gd name="connsiteY2960" fmla="*/ 936625 h 1762127"/>
                <a:gd name="connsiteX2961" fmla="*/ 7318259 w 9759834"/>
                <a:gd name="connsiteY2961" fmla="*/ 970757 h 1762127"/>
                <a:gd name="connsiteX2962" fmla="*/ 7284127 w 9759834"/>
                <a:gd name="connsiteY2962" fmla="*/ 1004889 h 1762127"/>
                <a:gd name="connsiteX2963" fmla="*/ 7249995 w 9759834"/>
                <a:gd name="connsiteY2963" fmla="*/ 970757 h 1762127"/>
                <a:gd name="connsiteX2964" fmla="*/ 7284127 w 9759834"/>
                <a:gd name="connsiteY2964" fmla="*/ 936625 h 1762127"/>
                <a:gd name="connsiteX2965" fmla="*/ 7198402 w 9759834"/>
                <a:gd name="connsiteY2965" fmla="*/ 936625 h 1762127"/>
                <a:gd name="connsiteX2966" fmla="*/ 7232534 w 9759834"/>
                <a:gd name="connsiteY2966" fmla="*/ 970757 h 1762127"/>
                <a:gd name="connsiteX2967" fmla="*/ 7198402 w 9759834"/>
                <a:gd name="connsiteY2967" fmla="*/ 1004889 h 1762127"/>
                <a:gd name="connsiteX2968" fmla="*/ 7164270 w 9759834"/>
                <a:gd name="connsiteY2968" fmla="*/ 970757 h 1762127"/>
                <a:gd name="connsiteX2969" fmla="*/ 7198402 w 9759834"/>
                <a:gd name="connsiteY2969" fmla="*/ 936625 h 1762127"/>
                <a:gd name="connsiteX2970" fmla="*/ 7112677 w 9759834"/>
                <a:gd name="connsiteY2970" fmla="*/ 936625 h 1762127"/>
                <a:gd name="connsiteX2971" fmla="*/ 7146809 w 9759834"/>
                <a:gd name="connsiteY2971" fmla="*/ 970757 h 1762127"/>
                <a:gd name="connsiteX2972" fmla="*/ 7112677 w 9759834"/>
                <a:gd name="connsiteY2972" fmla="*/ 1004889 h 1762127"/>
                <a:gd name="connsiteX2973" fmla="*/ 7078545 w 9759834"/>
                <a:gd name="connsiteY2973" fmla="*/ 970757 h 1762127"/>
                <a:gd name="connsiteX2974" fmla="*/ 7112677 w 9759834"/>
                <a:gd name="connsiteY2974" fmla="*/ 936625 h 1762127"/>
                <a:gd name="connsiteX2975" fmla="*/ 7027745 w 9759834"/>
                <a:gd name="connsiteY2975" fmla="*/ 936625 h 1762127"/>
                <a:gd name="connsiteX2976" fmla="*/ 7062670 w 9759834"/>
                <a:gd name="connsiteY2976" fmla="*/ 970757 h 1762127"/>
                <a:gd name="connsiteX2977" fmla="*/ 7027745 w 9759834"/>
                <a:gd name="connsiteY2977" fmla="*/ 1004889 h 1762127"/>
                <a:gd name="connsiteX2978" fmla="*/ 6992820 w 9759834"/>
                <a:gd name="connsiteY2978" fmla="*/ 970757 h 1762127"/>
                <a:gd name="connsiteX2979" fmla="*/ 7027745 w 9759834"/>
                <a:gd name="connsiteY2979" fmla="*/ 936625 h 1762127"/>
                <a:gd name="connsiteX2980" fmla="*/ 6947577 w 9759834"/>
                <a:gd name="connsiteY2980" fmla="*/ 936625 h 1762127"/>
                <a:gd name="connsiteX2981" fmla="*/ 6981709 w 9759834"/>
                <a:gd name="connsiteY2981" fmla="*/ 970757 h 1762127"/>
                <a:gd name="connsiteX2982" fmla="*/ 6947577 w 9759834"/>
                <a:gd name="connsiteY2982" fmla="*/ 1004889 h 1762127"/>
                <a:gd name="connsiteX2983" fmla="*/ 6913445 w 9759834"/>
                <a:gd name="connsiteY2983" fmla="*/ 970757 h 1762127"/>
                <a:gd name="connsiteX2984" fmla="*/ 6947577 w 9759834"/>
                <a:gd name="connsiteY2984" fmla="*/ 936625 h 1762127"/>
                <a:gd name="connsiteX2985" fmla="*/ 6861852 w 9759834"/>
                <a:gd name="connsiteY2985" fmla="*/ 936625 h 1762127"/>
                <a:gd name="connsiteX2986" fmla="*/ 6895984 w 9759834"/>
                <a:gd name="connsiteY2986" fmla="*/ 970757 h 1762127"/>
                <a:gd name="connsiteX2987" fmla="*/ 6861852 w 9759834"/>
                <a:gd name="connsiteY2987" fmla="*/ 1004889 h 1762127"/>
                <a:gd name="connsiteX2988" fmla="*/ 6827720 w 9759834"/>
                <a:gd name="connsiteY2988" fmla="*/ 970757 h 1762127"/>
                <a:gd name="connsiteX2989" fmla="*/ 6861852 w 9759834"/>
                <a:gd name="connsiteY2989" fmla="*/ 936625 h 1762127"/>
                <a:gd name="connsiteX2990" fmla="*/ 6776127 w 9759834"/>
                <a:gd name="connsiteY2990" fmla="*/ 936625 h 1762127"/>
                <a:gd name="connsiteX2991" fmla="*/ 6810259 w 9759834"/>
                <a:gd name="connsiteY2991" fmla="*/ 970757 h 1762127"/>
                <a:gd name="connsiteX2992" fmla="*/ 6776127 w 9759834"/>
                <a:gd name="connsiteY2992" fmla="*/ 1004889 h 1762127"/>
                <a:gd name="connsiteX2993" fmla="*/ 6741995 w 9759834"/>
                <a:gd name="connsiteY2993" fmla="*/ 970757 h 1762127"/>
                <a:gd name="connsiteX2994" fmla="*/ 6776127 w 9759834"/>
                <a:gd name="connsiteY2994" fmla="*/ 936625 h 1762127"/>
                <a:gd name="connsiteX2995" fmla="*/ 6691195 w 9759834"/>
                <a:gd name="connsiteY2995" fmla="*/ 936625 h 1762127"/>
                <a:gd name="connsiteX2996" fmla="*/ 6726120 w 9759834"/>
                <a:gd name="connsiteY2996" fmla="*/ 970757 h 1762127"/>
                <a:gd name="connsiteX2997" fmla="*/ 6691195 w 9759834"/>
                <a:gd name="connsiteY2997" fmla="*/ 1004889 h 1762127"/>
                <a:gd name="connsiteX2998" fmla="*/ 6656270 w 9759834"/>
                <a:gd name="connsiteY2998" fmla="*/ 970757 h 1762127"/>
                <a:gd name="connsiteX2999" fmla="*/ 6691195 w 9759834"/>
                <a:gd name="connsiteY2999" fmla="*/ 936625 h 1762127"/>
                <a:gd name="connsiteX3000" fmla="*/ 6607852 w 9759834"/>
                <a:gd name="connsiteY3000" fmla="*/ 936625 h 1762127"/>
                <a:gd name="connsiteX3001" fmla="*/ 6645159 w 9759834"/>
                <a:gd name="connsiteY3001" fmla="*/ 970757 h 1762127"/>
                <a:gd name="connsiteX3002" fmla="*/ 6607852 w 9759834"/>
                <a:gd name="connsiteY3002" fmla="*/ 1004889 h 1762127"/>
                <a:gd name="connsiteX3003" fmla="*/ 6570545 w 9759834"/>
                <a:gd name="connsiteY3003" fmla="*/ 970757 h 1762127"/>
                <a:gd name="connsiteX3004" fmla="*/ 6607852 w 9759834"/>
                <a:gd name="connsiteY3004" fmla="*/ 936625 h 1762127"/>
                <a:gd name="connsiteX3005" fmla="*/ 6525302 w 9759834"/>
                <a:gd name="connsiteY3005" fmla="*/ 936625 h 1762127"/>
                <a:gd name="connsiteX3006" fmla="*/ 6559434 w 9759834"/>
                <a:gd name="connsiteY3006" fmla="*/ 970757 h 1762127"/>
                <a:gd name="connsiteX3007" fmla="*/ 6525302 w 9759834"/>
                <a:gd name="connsiteY3007" fmla="*/ 1004889 h 1762127"/>
                <a:gd name="connsiteX3008" fmla="*/ 6491170 w 9759834"/>
                <a:gd name="connsiteY3008" fmla="*/ 970757 h 1762127"/>
                <a:gd name="connsiteX3009" fmla="*/ 6525302 w 9759834"/>
                <a:gd name="connsiteY3009" fmla="*/ 936625 h 1762127"/>
                <a:gd name="connsiteX3010" fmla="*/ 6439577 w 9759834"/>
                <a:gd name="connsiteY3010" fmla="*/ 936625 h 1762127"/>
                <a:gd name="connsiteX3011" fmla="*/ 6473709 w 9759834"/>
                <a:gd name="connsiteY3011" fmla="*/ 970757 h 1762127"/>
                <a:gd name="connsiteX3012" fmla="*/ 6439577 w 9759834"/>
                <a:gd name="connsiteY3012" fmla="*/ 1004889 h 1762127"/>
                <a:gd name="connsiteX3013" fmla="*/ 6405445 w 9759834"/>
                <a:gd name="connsiteY3013" fmla="*/ 970757 h 1762127"/>
                <a:gd name="connsiteX3014" fmla="*/ 6439577 w 9759834"/>
                <a:gd name="connsiteY3014" fmla="*/ 936625 h 1762127"/>
                <a:gd name="connsiteX3015" fmla="*/ 6353852 w 9759834"/>
                <a:gd name="connsiteY3015" fmla="*/ 936625 h 1762127"/>
                <a:gd name="connsiteX3016" fmla="*/ 6387984 w 9759834"/>
                <a:gd name="connsiteY3016" fmla="*/ 970757 h 1762127"/>
                <a:gd name="connsiteX3017" fmla="*/ 6353852 w 9759834"/>
                <a:gd name="connsiteY3017" fmla="*/ 1004889 h 1762127"/>
                <a:gd name="connsiteX3018" fmla="*/ 6319720 w 9759834"/>
                <a:gd name="connsiteY3018" fmla="*/ 970757 h 1762127"/>
                <a:gd name="connsiteX3019" fmla="*/ 6353852 w 9759834"/>
                <a:gd name="connsiteY3019" fmla="*/ 936625 h 1762127"/>
                <a:gd name="connsiteX3020" fmla="*/ 6268920 w 9759834"/>
                <a:gd name="connsiteY3020" fmla="*/ 936625 h 1762127"/>
                <a:gd name="connsiteX3021" fmla="*/ 6303845 w 9759834"/>
                <a:gd name="connsiteY3021" fmla="*/ 970757 h 1762127"/>
                <a:gd name="connsiteX3022" fmla="*/ 6268920 w 9759834"/>
                <a:gd name="connsiteY3022" fmla="*/ 1004889 h 1762127"/>
                <a:gd name="connsiteX3023" fmla="*/ 6233995 w 9759834"/>
                <a:gd name="connsiteY3023" fmla="*/ 970757 h 1762127"/>
                <a:gd name="connsiteX3024" fmla="*/ 6268920 w 9759834"/>
                <a:gd name="connsiteY3024" fmla="*/ 936625 h 1762127"/>
                <a:gd name="connsiteX3025" fmla="*/ 6188752 w 9759834"/>
                <a:gd name="connsiteY3025" fmla="*/ 936625 h 1762127"/>
                <a:gd name="connsiteX3026" fmla="*/ 6222884 w 9759834"/>
                <a:gd name="connsiteY3026" fmla="*/ 970757 h 1762127"/>
                <a:gd name="connsiteX3027" fmla="*/ 6188752 w 9759834"/>
                <a:gd name="connsiteY3027" fmla="*/ 1004889 h 1762127"/>
                <a:gd name="connsiteX3028" fmla="*/ 6154620 w 9759834"/>
                <a:gd name="connsiteY3028" fmla="*/ 970757 h 1762127"/>
                <a:gd name="connsiteX3029" fmla="*/ 6188752 w 9759834"/>
                <a:gd name="connsiteY3029" fmla="*/ 936625 h 1762127"/>
                <a:gd name="connsiteX3030" fmla="*/ 5932370 w 9759834"/>
                <a:gd name="connsiteY3030" fmla="*/ 936625 h 1762127"/>
                <a:gd name="connsiteX3031" fmla="*/ 5967295 w 9759834"/>
                <a:gd name="connsiteY3031" fmla="*/ 970757 h 1762127"/>
                <a:gd name="connsiteX3032" fmla="*/ 5932370 w 9759834"/>
                <a:gd name="connsiteY3032" fmla="*/ 1004889 h 1762127"/>
                <a:gd name="connsiteX3033" fmla="*/ 5897445 w 9759834"/>
                <a:gd name="connsiteY3033" fmla="*/ 970757 h 1762127"/>
                <a:gd name="connsiteX3034" fmla="*/ 5932370 w 9759834"/>
                <a:gd name="connsiteY3034" fmla="*/ 936625 h 1762127"/>
                <a:gd name="connsiteX3035" fmla="*/ 5849821 w 9759834"/>
                <a:gd name="connsiteY3035" fmla="*/ 936625 h 1762127"/>
                <a:gd name="connsiteX3036" fmla="*/ 5886334 w 9759834"/>
                <a:gd name="connsiteY3036" fmla="*/ 970757 h 1762127"/>
                <a:gd name="connsiteX3037" fmla="*/ 5849821 w 9759834"/>
                <a:gd name="connsiteY3037" fmla="*/ 1004889 h 1762127"/>
                <a:gd name="connsiteX3038" fmla="*/ 5813308 w 9759834"/>
                <a:gd name="connsiteY3038" fmla="*/ 970757 h 1762127"/>
                <a:gd name="connsiteX3039" fmla="*/ 5849821 w 9759834"/>
                <a:gd name="connsiteY3039" fmla="*/ 936625 h 1762127"/>
                <a:gd name="connsiteX3040" fmla="*/ 5766477 w 9759834"/>
                <a:gd name="connsiteY3040" fmla="*/ 936625 h 1762127"/>
                <a:gd name="connsiteX3041" fmla="*/ 5800609 w 9759834"/>
                <a:gd name="connsiteY3041" fmla="*/ 970757 h 1762127"/>
                <a:gd name="connsiteX3042" fmla="*/ 5766477 w 9759834"/>
                <a:gd name="connsiteY3042" fmla="*/ 1004889 h 1762127"/>
                <a:gd name="connsiteX3043" fmla="*/ 5732345 w 9759834"/>
                <a:gd name="connsiteY3043" fmla="*/ 970757 h 1762127"/>
                <a:gd name="connsiteX3044" fmla="*/ 5766477 w 9759834"/>
                <a:gd name="connsiteY3044" fmla="*/ 936625 h 1762127"/>
                <a:gd name="connsiteX3045" fmla="*/ 5680752 w 9759834"/>
                <a:gd name="connsiteY3045" fmla="*/ 936625 h 1762127"/>
                <a:gd name="connsiteX3046" fmla="*/ 5714884 w 9759834"/>
                <a:gd name="connsiteY3046" fmla="*/ 970757 h 1762127"/>
                <a:gd name="connsiteX3047" fmla="*/ 5680752 w 9759834"/>
                <a:gd name="connsiteY3047" fmla="*/ 1004889 h 1762127"/>
                <a:gd name="connsiteX3048" fmla="*/ 5646620 w 9759834"/>
                <a:gd name="connsiteY3048" fmla="*/ 970757 h 1762127"/>
                <a:gd name="connsiteX3049" fmla="*/ 5680752 w 9759834"/>
                <a:gd name="connsiteY3049" fmla="*/ 936625 h 1762127"/>
                <a:gd name="connsiteX3050" fmla="*/ 5595820 w 9759834"/>
                <a:gd name="connsiteY3050" fmla="*/ 936625 h 1762127"/>
                <a:gd name="connsiteX3051" fmla="*/ 5630745 w 9759834"/>
                <a:gd name="connsiteY3051" fmla="*/ 970757 h 1762127"/>
                <a:gd name="connsiteX3052" fmla="*/ 5595820 w 9759834"/>
                <a:gd name="connsiteY3052" fmla="*/ 1004889 h 1762127"/>
                <a:gd name="connsiteX3053" fmla="*/ 5560895 w 9759834"/>
                <a:gd name="connsiteY3053" fmla="*/ 970757 h 1762127"/>
                <a:gd name="connsiteX3054" fmla="*/ 5595820 w 9759834"/>
                <a:gd name="connsiteY3054" fmla="*/ 936625 h 1762127"/>
                <a:gd name="connsiteX3055" fmla="*/ 5510095 w 9759834"/>
                <a:gd name="connsiteY3055" fmla="*/ 936625 h 1762127"/>
                <a:gd name="connsiteX3056" fmla="*/ 5545020 w 9759834"/>
                <a:gd name="connsiteY3056" fmla="*/ 970757 h 1762127"/>
                <a:gd name="connsiteX3057" fmla="*/ 5510095 w 9759834"/>
                <a:gd name="connsiteY3057" fmla="*/ 1004889 h 1762127"/>
                <a:gd name="connsiteX3058" fmla="*/ 5475170 w 9759834"/>
                <a:gd name="connsiteY3058" fmla="*/ 970757 h 1762127"/>
                <a:gd name="connsiteX3059" fmla="*/ 5510095 w 9759834"/>
                <a:gd name="connsiteY3059" fmla="*/ 936625 h 1762127"/>
                <a:gd name="connsiteX3060" fmla="*/ 5429927 w 9759834"/>
                <a:gd name="connsiteY3060" fmla="*/ 936625 h 1762127"/>
                <a:gd name="connsiteX3061" fmla="*/ 5464059 w 9759834"/>
                <a:gd name="connsiteY3061" fmla="*/ 970757 h 1762127"/>
                <a:gd name="connsiteX3062" fmla="*/ 5429927 w 9759834"/>
                <a:gd name="connsiteY3062" fmla="*/ 1004889 h 1762127"/>
                <a:gd name="connsiteX3063" fmla="*/ 5395795 w 9759834"/>
                <a:gd name="connsiteY3063" fmla="*/ 970757 h 1762127"/>
                <a:gd name="connsiteX3064" fmla="*/ 5429927 w 9759834"/>
                <a:gd name="connsiteY3064" fmla="*/ 936625 h 1762127"/>
                <a:gd name="connsiteX3065" fmla="*/ 4078170 w 9759834"/>
                <a:gd name="connsiteY3065" fmla="*/ 936625 h 1762127"/>
                <a:gd name="connsiteX3066" fmla="*/ 4113095 w 9759834"/>
                <a:gd name="connsiteY3066" fmla="*/ 970757 h 1762127"/>
                <a:gd name="connsiteX3067" fmla="*/ 4078170 w 9759834"/>
                <a:gd name="connsiteY3067" fmla="*/ 1004889 h 1762127"/>
                <a:gd name="connsiteX3068" fmla="*/ 4043245 w 9759834"/>
                <a:gd name="connsiteY3068" fmla="*/ 970757 h 1762127"/>
                <a:gd name="connsiteX3069" fmla="*/ 4078170 w 9759834"/>
                <a:gd name="connsiteY3069" fmla="*/ 936625 h 1762127"/>
                <a:gd name="connsiteX3070" fmla="*/ 3993240 w 9759834"/>
                <a:gd name="connsiteY3070" fmla="*/ 936625 h 1762127"/>
                <a:gd name="connsiteX3071" fmla="*/ 4027372 w 9759834"/>
                <a:gd name="connsiteY3071" fmla="*/ 970757 h 1762127"/>
                <a:gd name="connsiteX3072" fmla="*/ 3993240 w 9759834"/>
                <a:gd name="connsiteY3072" fmla="*/ 1004889 h 1762127"/>
                <a:gd name="connsiteX3073" fmla="*/ 3959108 w 9759834"/>
                <a:gd name="connsiteY3073" fmla="*/ 970757 h 1762127"/>
                <a:gd name="connsiteX3074" fmla="*/ 3993240 w 9759834"/>
                <a:gd name="connsiteY3074" fmla="*/ 936625 h 1762127"/>
                <a:gd name="connsiteX3075" fmla="*/ 3912277 w 9759834"/>
                <a:gd name="connsiteY3075" fmla="*/ 936625 h 1762127"/>
                <a:gd name="connsiteX3076" fmla="*/ 3946409 w 9759834"/>
                <a:gd name="connsiteY3076" fmla="*/ 970757 h 1762127"/>
                <a:gd name="connsiteX3077" fmla="*/ 3912277 w 9759834"/>
                <a:gd name="connsiteY3077" fmla="*/ 1004889 h 1762127"/>
                <a:gd name="connsiteX3078" fmla="*/ 3878145 w 9759834"/>
                <a:gd name="connsiteY3078" fmla="*/ 970757 h 1762127"/>
                <a:gd name="connsiteX3079" fmla="*/ 3912277 w 9759834"/>
                <a:gd name="connsiteY3079" fmla="*/ 936625 h 1762127"/>
                <a:gd name="connsiteX3080" fmla="*/ 3826552 w 9759834"/>
                <a:gd name="connsiteY3080" fmla="*/ 936625 h 1762127"/>
                <a:gd name="connsiteX3081" fmla="*/ 3860684 w 9759834"/>
                <a:gd name="connsiteY3081" fmla="*/ 970757 h 1762127"/>
                <a:gd name="connsiteX3082" fmla="*/ 3826552 w 9759834"/>
                <a:gd name="connsiteY3082" fmla="*/ 1004889 h 1762127"/>
                <a:gd name="connsiteX3083" fmla="*/ 3792420 w 9759834"/>
                <a:gd name="connsiteY3083" fmla="*/ 970757 h 1762127"/>
                <a:gd name="connsiteX3084" fmla="*/ 3826552 w 9759834"/>
                <a:gd name="connsiteY3084" fmla="*/ 936625 h 1762127"/>
                <a:gd name="connsiteX3085" fmla="*/ 3741620 w 9759834"/>
                <a:gd name="connsiteY3085" fmla="*/ 936625 h 1762127"/>
                <a:gd name="connsiteX3086" fmla="*/ 3776545 w 9759834"/>
                <a:gd name="connsiteY3086" fmla="*/ 970757 h 1762127"/>
                <a:gd name="connsiteX3087" fmla="*/ 3741620 w 9759834"/>
                <a:gd name="connsiteY3087" fmla="*/ 1004889 h 1762127"/>
                <a:gd name="connsiteX3088" fmla="*/ 3706695 w 9759834"/>
                <a:gd name="connsiteY3088" fmla="*/ 970757 h 1762127"/>
                <a:gd name="connsiteX3089" fmla="*/ 3741620 w 9759834"/>
                <a:gd name="connsiteY3089" fmla="*/ 936625 h 1762127"/>
                <a:gd name="connsiteX3090" fmla="*/ 3656690 w 9759834"/>
                <a:gd name="connsiteY3090" fmla="*/ 936625 h 1762127"/>
                <a:gd name="connsiteX3091" fmla="*/ 3690822 w 9759834"/>
                <a:gd name="connsiteY3091" fmla="*/ 970757 h 1762127"/>
                <a:gd name="connsiteX3092" fmla="*/ 3656690 w 9759834"/>
                <a:gd name="connsiteY3092" fmla="*/ 1004889 h 1762127"/>
                <a:gd name="connsiteX3093" fmla="*/ 3622558 w 9759834"/>
                <a:gd name="connsiteY3093" fmla="*/ 970757 h 1762127"/>
                <a:gd name="connsiteX3094" fmla="*/ 3656690 w 9759834"/>
                <a:gd name="connsiteY3094" fmla="*/ 936625 h 1762127"/>
                <a:gd name="connsiteX3095" fmla="*/ 3405070 w 9759834"/>
                <a:gd name="connsiteY3095" fmla="*/ 936625 h 1762127"/>
                <a:gd name="connsiteX3096" fmla="*/ 3439995 w 9759834"/>
                <a:gd name="connsiteY3096" fmla="*/ 970757 h 1762127"/>
                <a:gd name="connsiteX3097" fmla="*/ 3405070 w 9759834"/>
                <a:gd name="connsiteY3097" fmla="*/ 1004889 h 1762127"/>
                <a:gd name="connsiteX3098" fmla="*/ 3370145 w 9759834"/>
                <a:gd name="connsiteY3098" fmla="*/ 970757 h 1762127"/>
                <a:gd name="connsiteX3099" fmla="*/ 3405070 w 9759834"/>
                <a:gd name="connsiteY3099" fmla="*/ 936625 h 1762127"/>
                <a:gd name="connsiteX3100" fmla="*/ 3234415 w 9759834"/>
                <a:gd name="connsiteY3100" fmla="*/ 936625 h 1762127"/>
                <a:gd name="connsiteX3101" fmla="*/ 3268547 w 9759834"/>
                <a:gd name="connsiteY3101" fmla="*/ 970757 h 1762127"/>
                <a:gd name="connsiteX3102" fmla="*/ 3234415 w 9759834"/>
                <a:gd name="connsiteY3102" fmla="*/ 1004889 h 1762127"/>
                <a:gd name="connsiteX3103" fmla="*/ 3200283 w 9759834"/>
                <a:gd name="connsiteY3103" fmla="*/ 970757 h 1762127"/>
                <a:gd name="connsiteX3104" fmla="*/ 3234415 w 9759834"/>
                <a:gd name="connsiteY3104" fmla="*/ 936625 h 1762127"/>
                <a:gd name="connsiteX3105" fmla="*/ 3153452 w 9759834"/>
                <a:gd name="connsiteY3105" fmla="*/ 936625 h 1762127"/>
                <a:gd name="connsiteX3106" fmla="*/ 3187584 w 9759834"/>
                <a:gd name="connsiteY3106" fmla="*/ 970757 h 1762127"/>
                <a:gd name="connsiteX3107" fmla="*/ 3153452 w 9759834"/>
                <a:gd name="connsiteY3107" fmla="*/ 1004889 h 1762127"/>
                <a:gd name="connsiteX3108" fmla="*/ 3119320 w 9759834"/>
                <a:gd name="connsiteY3108" fmla="*/ 970757 h 1762127"/>
                <a:gd name="connsiteX3109" fmla="*/ 3153452 w 9759834"/>
                <a:gd name="connsiteY3109" fmla="*/ 936625 h 1762127"/>
                <a:gd name="connsiteX3110" fmla="*/ 3068520 w 9759834"/>
                <a:gd name="connsiteY3110" fmla="*/ 936625 h 1762127"/>
                <a:gd name="connsiteX3111" fmla="*/ 3103445 w 9759834"/>
                <a:gd name="connsiteY3111" fmla="*/ 970757 h 1762127"/>
                <a:gd name="connsiteX3112" fmla="*/ 3068520 w 9759834"/>
                <a:gd name="connsiteY3112" fmla="*/ 1004889 h 1762127"/>
                <a:gd name="connsiteX3113" fmla="*/ 3033595 w 9759834"/>
                <a:gd name="connsiteY3113" fmla="*/ 970757 h 1762127"/>
                <a:gd name="connsiteX3114" fmla="*/ 3068520 w 9759834"/>
                <a:gd name="connsiteY3114" fmla="*/ 936625 h 1762127"/>
                <a:gd name="connsiteX3115" fmla="*/ 2983590 w 9759834"/>
                <a:gd name="connsiteY3115" fmla="*/ 936625 h 1762127"/>
                <a:gd name="connsiteX3116" fmla="*/ 3017722 w 9759834"/>
                <a:gd name="connsiteY3116" fmla="*/ 970757 h 1762127"/>
                <a:gd name="connsiteX3117" fmla="*/ 2983590 w 9759834"/>
                <a:gd name="connsiteY3117" fmla="*/ 1004889 h 1762127"/>
                <a:gd name="connsiteX3118" fmla="*/ 2949458 w 9759834"/>
                <a:gd name="connsiteY3118" fmla="*/ 970757 h 1762127"/>
                <a:gd name="connsiteX3119" fmla="*/ 2983590 w 9759834"/>
                <a:gd name="connsiteY3119" fmla="*/ 936625 h 1762127"/>
                <a:gd name="connsiteX3120" fmla="*/ 2814521 w 9759834"/>
                <a:gd name="connsiteY3120" fmla="*/ 936625 h 1762127"/>
                <a:gd name="connsiteX3121" fmla="*/ 2851034 w 9759834"/>
                <a:gd name="connsiteY3121" fmla="*/ 970757 h 1762127"/>
                <a:gd name="connsiteX3122" fmla="*/ 2814521 w 9759834"/>
                <a:gd name="connsiteY3122" fmla="*/ 1004889 h 1762127"/>
                <a:gd name="connsiteX3123" fmla="*/ 2778008 w 9759834"/>
                <a:gd name="connsiteY3123" fmla="*/ 970757 h 1762127"/>
                <a:gd name="connsiteX3124" fmla="*/ 2814521 w 9759834"/>
                <a:gd name="connsiteY3124" fmla="*/ 936625 h 1762127"/>
                <a:gd name="connsiteX3125" fmla="*/ 2731998 w 9759834"/>
                <a:gd name="connsiteY3125" fmla="*/ 936625 h 1762127"/>
                <a:gd name="connsiteX3126" fmla="*/ 2766922 w 9759834"/>
                <a:gd name="connsiteY3126" fmla="*/ 970757 h 1762127"/>
                <a:gd name="connsiteX3127" fmla="*/ 2731998 w 9759834"/>
                <a:gd name="connsiteY3127" fmla="*/ 1004889 h 1762127"/>
                <a:gd name="connsiteX3128" fmla="*/ 2697073 w 9759834"/>
                <a:gd name="connsiteY3128" fmla="*/ 970757 h 1762127"/>
                <a:gd name="connsiteX3129" fmla="*/ 2731998 w 9759834"/>
                <a:gd name="connsiteY3129" fmla="*/ 936625 h 1762127"/>
                <a:gd name="connsiteX3130" fmla="*/ 2561352 w 9759834"/>
                <a:gd name="connsiteY3130" fmla="*/ 936625 h 1762127"/>
                <a:gd name="connsiteX3131" fmla="*/ 2595485 w 9759834"/>
                <a:gd name="connsiteY3131" fmla="*/ 970757 h 1762127"/>
                <a:gd name="connsiteX3132" fmla="*/ 2561352 w 9759834"/>
                <a:gd name="connsiteY3132" fmla="*/ 1004889 h 1762127"/>
                <a:gd name="connsiteX3133" fmla="*/ 2527220 w 9759834"/>
                <a:gd name="connsiteY3133" fmla="*/ 970757 h 1762127"/>
                <a:gd name="connsiteX3134" fmla="*/ 2561352 w 9759834"/>
                <a:gd name="connsiteY3134" fmla="*/ 936625 h 1762127"/>
                <a:gd name="connsiteX3135" fmla="*/ 2475627 w 9759834"/>
                <a:gd name="connsiteY3135" fmla="*/ 936625 h 1762127"/>
                <a:gd name="connsiteX3136" fmla="*/ 2509759 w 9759834"/>
                <a:gd name="connsiteY3136" fmla="*/ 970757 h 1762127"/>
                <a:gd name="connsiteX3137" fmla="*/ 2475627 w 9759834"/>
                <a:gd name="connsiteY3137" fmla="*/ 1004889 h 1762127"/>
                <a:gd name="connsiteX3138" fmla="*/ 2441494 w 9759834"/>
                <a:gd name="connsiteY3138" fmla="*/ 970757 h 1762127"/>
                <a:gd name="connsiteX3139" fmla="*/ 2475627 w 9759834"/>
                <a:gd name="connsiteY3139" fmla="*/ 936625 h 1762127"/>
                <a:gd name="connsiteX3140" fmla="*/ 2309735 w 9759834"/>
                <a:gd name="connsiteY3140" fmla="*/ 936625 h 1762127"/>
                <a:gd name="connsiteX3141" fmla="*/ 2344660 w 9759834"/>
                <a:gd name="connsiteY3141" fmla="*/ 970757 h 1762127"/>
                <a:gd name="connsiteX3142" fmla="*/ 2309735 w 9759834"/>
                <a:gd name="connsiteY3142" fmla="*/ 1004889 h 1762127"/>
                <a:gd name="connsiteX3143" fmla="*/ 2274810 w 9759834"/>
                <a:gd name="connsiteY3143" fmla="*/ 970757 h 1762127"/>
                <a:gd name="connsiteX3144" fmla="*/ 2309735 w 9759834"/>
                <a:gd name="connsiteY3144" fmla="*/ 936625 h 1762127"/>
                <a:gd name="connsiteX3145" fmla="*/ 2224804 w 9759834"/>
                <a:gd name="connsiteY3145" fmla="*/ 936625 h 1762127"/>
                <a:gd name="connsiteX3146" fmla="*/ 2258936 w 9759834"/>
                <a:gd name="connsiteY3146" fmla="*/ 970757 h 1762127"/>
                <a:gd name="connsiteX3147" fmla="*/ 2224804 w 9759834"/>
                <a:gd name="connsiteY3147" fmla="*/ 1004889 h 1762127"/>
                <a:gd name="connsiteX3148" fmla="*/ 2190671 w 9759834"/>
                <a:gd name="connsiteY3148" fmla="*/ 970757 h 1762127"/>
                <a:gd name="connsiteX3149" fmla="*/ 2224804 w 9759834"/>
                <a:gd name="connsiteY3149" fmla="*/ 936625 h 1762127"/>
                <a:gd name="connsiteX3150" fmla="*/ 2139055 w 9759834"/>
                <a:gd name="connsiteY3150" fmla="*/ 936625 h 1762127"/>
                <a:gd name="connsiteX3151" fmla="*/ 2173187 w 9759834"/>
                <a:gd name="connsiteY3151" fmla="*/ 970757 h 1762127"/>
                <a:gd name="connsiteX3152" fmla="*/ 2139055 w 9759834"/>
                <a:gd name="connsiteY3152" fmla="*/ 1004889 h 1762127"/>
                <a:gd name="connsiteX3153" fmla="*/ 2104924 w 9759834"/>
                <a:gd name="connsiteY3153" fmla="*/ 970757 h 1762127"/>
                <a:gd name="connsiteX3154" fmla="*/ 2139055 w 9759834"/>
                <a:gd name="connsiteY3154" fmla="*/ 936625 h 1762127"/>
                <a:gd name="connsiteX3155" fmla="*/ 1888238 w 9759834"/>
                <a:gd name="connsiteY3155" fmla="*/ 936625 h 1762127"/>
                <a:gd name="connsiteX3156" fmla="*/ 1922370 w 9759834"/>
                <a:gd name="connsiteY3156" fmla="*/ 970757 h 1762127"/>
                <a:gd name="connsiteX3157" fmla="*/ 1888238 w 9759834"/>
                <a:gd name="connsiteY3157" fmla="*/ 1004889 h 1762127"/>
                <a:gd name="connsiteX3158" fmla="*/ 1854106 w 9759834"/>
                <a:gd name="connsiteY3158" fmla="*/ 970757 h 1762127"/>
                <a:gd name="connsiteX3159" fmla="*/ 1888238 w 9759834"/>
                <a:gd name="connsiteY3159" fmla="*/ 936625 h 1762127"/>
                <a:gd name="connsiteX3160" fmla="*/ 1802514 w 9759834"/>
                <a:gd name="connsiteY3160" fmla="*/ 936625 h 1762127"/>
                <a:gd name="connsiteX3161" fmla="*/ 1836646 w 9759834"/>
                <a:gd name="connsiteY3161" fmla="*/ 970757 h 1762127"/>
                <a:gd name="connsiteX3162" fmla="*/ 1802514 w 9759834"/>
                <a:gd name="connsiteY3162" fmla="*/ 1004889 h 1762127"/>
                <a:gd name="connsiteX3163" fmla="*/ 1768382 w 9759834"/>
                <a:gd name="connsiteY3163" fmla="*/ 970757 h 1762127"/>
                <a:gd name="connsiteX3164" fmla="*/ 1802514 w 9759834"/>
                <a:gd name="connsiteY3164" fmla="*/ 936625 h 1762127"/>
                <a:gd name="connsiteX3165" fmla="*/ 1719169 w 9759834"/>
                <a:gd name="connsiteY3165" fmla="*/ 936625 h 1762127"/>
                <a:gd name="connsiteX3166" fmla="*/ 1755682 w 9759834"/>
                <a:gd name="connsiteY3166" fmla="*/ 970757 h 1762127"/>
                <a:gd name="connsiteX3167" fmla="*/ 1719169 w 9759834"/>
                <a:gd name="connsiteY3167" fmla="*/ 1004889 h 1762127"/>
                <a:gd name="connsiteX3168" fmla="*/ 1682656 w 9759834"/>
                <a:gd name="connsiteY3168" fmla="*/ 970757 h 1762127"/>
                <a:gd name="connsiteX3169" fmla="*/ 1719169 w 9759834"/>
                <a:gd name="connsiteY3169" fmla="*/ 936625 h 1762127"/>
                <a:gd name="connsiteX3170" fmla="*/ 1636603 w 9759834"/>
                <a:gd name="connsiteY3170" fmla="*/ 936625 h 1762127"/>
                <a:gd name="connsiteX3171" fmla="*/ 1671528 w 9759834"/>
                <a:gd name="connsiteY3171" fmla="*/ 970757 h 1762127"/>
                <a:gd name="connsiteX3172" fmla="*/ 1636603 w 9759834"/>
                <a:gd name="connsiteY3172" fmla="*/ 1004889 h 1762127"/>
                <a:gd name="connsiteX3173" fmla="*/ 1601678 w 9759834"/>
                <a:gd name="connsiteY3173" fmla="*/ 970757 h 1762127"/>
                <a:gd name="connsiteX3174" fmla="*/ 1636603 w 9759834"/>
                <a:gd name="connsiteY3174" fmla="*/ 936625 h 1762127"/>
                <a:gd name="connsiteX3175" fmla="*/ 1551672 w 9759834"/>
                <a:gd name="connsiteY3175" fmla="*/ 936625 h 1762127"/>
                <a:gd name="connsiteX3176" fmla="*/ 1585804 w 9759834"/>
                <a:gd name="connsiteY3176" fmla="*/ 970757 h 1762127"/>
                <a:gd name="connsiteX3177" fmla="*/ 1551672 w 9759834"/>
                <a:gd name="connsiteY3177" fmla="*/ 1004889 h 1762127"/>
                <a:gd name="connsiteX3178" fmla="*/ 1517540 w 9759834"/>
                <a:gd name="connsiteY3178" fmla="*/ 970757 h 1762127"/>
                <a:gd name="connsiteX3179" fmla="*/ 1551672 w 9759834"/>
                <a:gd name="connsiteY3179" fmla="*/ 936625 h 1762127"/>
                <a:gd name="connsiteX3180" fmla="*/ 1465946 w 9759834"/>
                <a:gd name="connsiteY3180" fmla="*/ 936625 h 1762127"/>
                <a:gd name="connsiteX3181" fmla="*/ 1500078 w 9759834"/>
                <a:gd name="connsiteY3181" fmla="*/ 970757 h 1762127"/>
                <a:gd name="connsiteX3182" fmla="*/ 1465946 w 9759834"/>
                <a:gd name="connsiteY3182" fmla="*/ 1004889 h 1762127"/>
                <a:gd name="connsiteX3183" fmla="*/ 1431814 w 9759834"/>
                <a:gd name="connsiteY3183" fmla="*/ 970757 h 1762127"/>
                <a:gd name="connsiteX3184" fmla="*/ 1465946 w 9759834"/>
                <a:gd name="connsiteY3184" fmla="*/ 936625 h 1762127"/>
                <a:gd name="connsiteX3185" fmla="*/ 1380229 w 9759834"/>
                <a:gd name="connsiteY3185" fmla="*/ 936625 h 1762127"/>
                <a:gd name="connsiteX3186" fmla="*/ 1414361 w 9759834"/>
                <a:gd name="connsiteY3186" fmla="*/ 970757 h 1762127"/>
                <a:gd name="connsiteX3187" fmla="*/ 1380229 w 9759834"/>
                <a:gd name="connsiteY3187" fmla="*/ 1004889 h 1762127"/>
                <a:gd name="connsiteX3188" fmla="*/ 1346096 w 9759834"/>
                <a:gd name="connsiteY3188" fmla="*/ 970757 h 1762127"/>
                <a:gd name="connsiteX3189" fmla="*/ 1380229 w 9759834"/>
                <a:gd name="connsiteY3189" fmla="*/ 936625 h 1762127"/>
                <a:gd name="connsiteX3190" fmla="*/ 1300222 w 9759834"/>
                <a:gd name="connsiteY3190" fmla="*/ 936625 h 1762127"/>
                <a:gd name="connsiteX3191" fmla="*/ 1335148 w 9759834"/>
                <a:gd name="connsiteY3191" fmla="*/ 970757 h 1762127"/>
                <a:gd name="connsiteX3192" fmla="*/ 1300222 w 9759834"/>
                <a:gd name="connsiteY3192" fmla="*/ 1004889 h 1762127"/>
                <a:gd name="connsiteX3193" fmla="*/ 1265297 w 9759834"/>
                <a:gd name="connsiteY3193" fmla="*/ 970757 h 1762127"/>
                <a:gd name="connsiteX3194" fmla="*/ 1300222 w 9759834"/>
                <a:gd name="connsiteY3194" fmla="*/ 936625 h 1762127"/>
                <a:gd name="connsiteX3195" fmla="*/ 1214500 w 9759834"/>
                <a:gd name="connsiteY3195" fmla="*/ 936625 h 1762127"/>
                <a:gd name="connsiteX3196" fmla="*/ 1249422 w 9759834"/>
                <a:gd name="connsiteY3196" fmla="*/ 970757 h 1762127"/>
                <a:gd name="connsiteX3197" fmla="*/ 1214500 w 9759834"/>
                <a:gd name="connsiteY3197" fmla="*/ 1004889 h 1762127"/>
                <a:gd name="connsiteX3198" fmla="*/ 1179573 w 9759834"/>
                <a:gd name="connsiteY3198" fmla="*/ 970757 h 1762127"/>
                <a:gd name="connsiteX3199" fmla="*/ 1214500 w 9759834"/>
                <a:gd name="connsiteY3199" fmla="*/ 936625 h 1762127"/>
                <a:gd name="connsiteX3200" fmla="*/ 707116 w 9759834"/>
                <a:gd name="connsiteY3200" fmla="*/ 936625 h 1762127"/>
                <a:gd name="connsiteX3201" fmla="*/ 741248 w 9759834"/>
                <a:gd name="connsiteY3201" fmla="*/ 970757 h 1762127"/>
                <a:gd name="connsiteX3202" fmla="*/ 707116 w 9759834"/>
                <a:gd name="connsiteY3202" fmla="*/ 1004889 h 1762127"/>
                <a:gd name="connsiteX3203" fmla="*/ 672984 w 9759834"/>
                <a:gd name="connsiteY3203" fmla="*/ 970757 h 1762127"/>
                <a:gd name="connsiteX3204" fmla="*/ 707116 w 9759834"/>
                <a:gd name="connsiteY3204" fmla="*/ 936625 h 1762127"/>
                <a:gd name="connsiteX3205" fmla="*/ 9389152 w 9759834"/>
                <a:gd name="connsiteY3205" fmla="*/ 849313 h 1762127"/>
                <a:gd name="connsiteX3206" fmla="*/ 9423284 w 9759834"/>
                <a:gd name="connsiteY3206" fmla="*/ 884238 h 1762127"/>
                <a:gd name="connsiteX3207" fmla="*/ 9389152 w 9759834"/>
                <a:gd name="connsiteY3207" fmla="*/ 919163 h 1762127"/>
                <a:gd name="connsiteX3208" fmla="*/ 9355020 w 9759834"/>
                <a:gd name="connsiteY3208" fmla="*/ 884238 h 1762127"/>
                <a:gd name="connsiteX3209" fmla="*/ 9389152 w 9759834"/>
                <a:gd name="connsiteY3209" fmla="*/ 849313 h 1762127"/>
                <a:gd name="connsiteX3210" fmla="*/ 9138327 w 9759834"/>
                <a:gd name="connsiteY3210" fmla="*/ 849313 h 1762127"/>
                <a:gd name="connsiteX3211" fmla="*/ 9172459 w 9759834"/>
                <a:gd name="connsiteY3211" fmla="*/ 884238 h 1762127"/>
                <a:gd name="connsiteX3212" fmla="*/ 9138327 w 9759834"/>
                <a:gd name="connsiteY3212" fmla="*/ 919163 h 1762127"/>
                <a:gd name="connsiteX3213" fmla="*/ 9104195 w 9759834"/>
                <a:gd name="connsiteY3213" fmla="*/ 884238 h 1762127"/>
                <a:gd name="connsiteX3214" fmla="*/ 9138327 w 9759834"/>
                <a:gd name="connsiteY3214" fmla="*/ 849313 h 1762127"/>
                <a:gd name="connsiteX3215" fmla="*/ 9052602 w 9759834"/>
                <a:gd name="connsiteY3215" fmla="*/ 849313 h 1762127"/>
                <a:gd name="connsiteX3216" fmla="*/ 9086734 w 9759834"/>
                <a:gd name="connsiteY3216" fmla="*/ 884238 h 1762127"/>
                <a:gd name="connsiteX3217" fmla="*/ 9052602 w 9759834"/>
                <a:gd name="connsiteY3217" fmla="*/ 919163 h 1762127"/>
                <a:gd name="connsiteX3218" fmla="*/ 9018470 w 9759834"/>
                <a:gd name="connsiteY3218" fmla="*/ 884238 h 1762127"/>
                <a:gd name="connsiteX3219" fmla="*/ 9052602 w 9759834"/>
                <a:gd name="connsiteY3219" fmla="*/ 849313 h 1762127"/>
                <a:gd name="connsiteX3220" fmla="*/ 8966877 w 9759834"/>
                <a:gd name="connsiteY3220" fmla="*/ 849313 h 1762127"/>
                <a:gd name="connsiteX3221" fmla="*/ 9001009 w 9759834"/>
                <a:gd name="connsiteY3221" fmla="*/ 884238 h 1762127"/>
                <a:gd name="connsiteX3222" fmla="*/ 8966877 w 9759834"/>
                <a:gd name="connsiteY3222" fmla="*/ 919163 h 1762127"/>
                <a:gd name="connsiteX3223" fmla="*/ 8932745 w 9759834"/>
                <a:gd name="connsiteY3223" fmla="*/ 884238 h 1762127"/>
                <a:gd name="connsiteX3224" fmla="*/ 8966877 w 9759834"/>
                <a:gd name="connsiteY3224" fmla="*/ 849313 h 1762127"/>
                <a:gd name="connsiteX3225" fmla="*/ 8884327 w 9759834"/>
                <a:gd name="connsiteY3225" fmla="*/ 849313 h 1762127"/>
                <a:gd name="connsiteX3226" fmla="*/ 8921634 w 9759834"/>
                <a:gd name="connsiteY3226" fmla="*/ 884238 h 1762127"/>
                <a:gd name="connsiteX3227" fmla="*/ 8884327 w 9759834"/>
                <a:gd name="connsiteY3227" fmla="*/ 919163 h 1762127"/>
                <a:gd name="connsiteX3228" fmla="*/ 8847020 w 9759834"/>
                <a:gd name="connsiteY3228" fmla="*/ 884238 h 1762127"/>
                <a:gd name="connsiteX3229" fmla="*/ 8884327 w 9759834"/>
                <a:gd name="connsiteY3229" fmla="*/ 849313 h 1762127"/>
                <a:gd name="connsiteX3230" fmla="*/ 8801777 w 9759834"/>
                <a:gd name="connsiteY3230" fmla="*/ 849313 h 1762127"/>
                <a:gd name="connsiteX3231" fmla="*/ 8835909 w 9759834"/>
                <a:gd name="connsiteY3231" fmla="*/ 884238 h 1762127"/>
                <a:gd name="connsiteX3232" fmla="*/ 8801777 w 9759834"/>
                <a:gd name="connsiteY3232" fmla="*/ 919163 h 1762127"/>
                <a:gd name="connsiteX3233" fmla="*/ 8767645 w 9759834"/>
                <a:gd name="connsiteY3233" fmla="*/ 884238 h 1762127"/>
                <a:gd name="connsiteX3234" fmla="*/ 8801777 w 9759834"/>
                <a:gd name="connsiteY3234" fmla="*/ 849313 h 1762127"/>
                <a:gd name="connsiteX3235" fmla="*/ 8716052 w 9759834"/>
                <a:gd name="connsiteY3235" fmla="*/ 849313 h 1762127"/>
                <a:gd name="connsiteX3236" fmla="*/ 8750184 w 9759834"/>
                <a:gd name="connsiteY3236" fmla="*/ 884238 h 1762127"/>
                <a:gd name="connsiteX3237" fmla="*/ 8716052 w 9759834"/>
                <a:gd name="connsiteY3237" fmla="*/ 919163 h 1762127"/>
                <a:gd name="connsiteX3238" fmla="*/ 8681920 w 9759834"/>
                <a:gd name="connsiteY3238" fmla="*/ 884238 h 1762127"/>
                <a:gd name="connsiteX3239" fmla="*/ 8716052 w 9759834"/>
                <a:gd name="connsiteY3239" fmla="*/ 849313 h 1762127"/>
                <a:gd name="connsiteX3240" fmla="*/ 8630327 w 9759834"/>
                <a:gd name="connsiteY3240" fmla="*/ 849313 h 1762127"/>
                <a:gd name="connsiteX3241" fmla="*/ 8664459 w 9759834"/>
                <a:gd name="connsiteY3241" fmla="*/ 884238 h 1762127"/>
                <a:gd name="connsiteX3242" fmla="*/ 8630327 w 9759834"/>
                <a:gd name="connsiteY3242" fmla="*/ 919163 h 1762127"/>
                <a:gd name="connsiteX3243" fmla="*/ 8596195 w 9759834"/>
                <a:gd name="connsiteY3243" fmla="*/ 884238 h 1762127"/>
                <a:gd name="connsiteX3244" fmla="*/ 8630327 w 9759834"/>
                <a:gd name="connsiteY3244" fmla="*/ 849313 h 1762127"/>
                <a:gd name="connsiteX3245" fmla="*/ 8544602 w 9759834"/>
                <a:gd name="connsiteY3245" fmla="*/ 849313 h 1762127"/>
                <a:gd name="connsiteX3246" fmla="*/ 8578734 w 9759834"/>
                <a:gd name="connsiteY3246" fmla="*/ 884238 h 1762127"/>
                <a:gd name="connsiteX3247" fmla="*/ 8544602 w 9759834"/>
                <a:gd name="connsiteY3247" fmla="*/ 919163 h 1762127"/>
                <a:gd name="connsiteX3248" fmla="*/ 8510470 w 9759834"/>
                <a:gd name="connsiteY3248" fmla="*/ 884238 h 1762127"/>
                <a:gd name="connsiteX3249" fmla="*/ 8544602 w 9759834"/>
                <a:gd name="connsiteY3249" fmla="*/ 849313 h 1762127"/>
                <a:gd name="connsiteX3250" fmla="*/ 8465227 w 9759834"/>
                <a:gd name="connsiteY3250" fmla="*/ 849313 h 1762127"/>
                <a:gd name="connsiteX3251" fmla="*/ 8499359 w 9759834"/>
                <a:gd name="connsiteY3251" fmla="*/ 884238 h 1762127"/>
                <a:gd name="connsiteX3252" fmla="*/ 8465227 w 9759834"/>
                <a:gd name="connsiteY3252" fmla="*/ 919163 h 1762127"/>
                <a:gd name="connsiteX3253" fmla="*/ 8431095 w 9759834"/>
                <a:gd name="connsiteY3253" fmla="*/ 884238 h 1762127"/>
                <a:gd name="connsiteX3254" fmla="*/ 8465227 w 9759834"/>
                <a:gd name="connsiteY3254" fmla="*/ 849313 h 1762127"/>
                <a:gd name="connsiteX3255" fmla="*/ 8379502 w 9759834"/>
                <a:gd name="connsiteY3255" fmla="*/ 849313 h 1762127"/>
                <a:gd name="connsiteX3256" fmla="*/ 8413634 w 9759834"/>
                <a:gd name="connsiteY3256" fmla="*/ 884238 h 1762127"/>
                <a:gd name="connsiteX3257" fmla="*/ 8379502 w 9759834"/>
                <a:gd name="connsiteY3257" fmla="*/ 919163 h 1762127"/>
                <a:gd name="connsiteX3258" fmla="*/ 8345370 w 9759834"/>
                <a:gd name="connsiteY3258" fmla="*/ 884238 h 1762127"/>
                <a:gd name="connsiteX3259" fmla="*/ 8379502 w 9759834"/>
                <a:gd name="connsiteY3259" fmla="*/ 849313 h 1762127"/>
                <a:gd name="connsiteX3260" fmla="*/ 8293777 w 9759834"/>
                <a:gd name="connsiteY3260" fmla="*/ 849313 h 1762127"/>
                <a:gd name="connsiteX3261" fmla="*/ 8327909 w 9759834"/>
                <a:gd name="connsiteY3261" fmla="*/ 884238 h 1762127"/>
                <a:gd name="connsiteX3262" fmla="*/ 8293777 w 9759834"/>
                <a:gd name="connsiteY3262" fmla="*/ 919163 h 1762127"/>
                <a:gd name="connsiteX3263" fmla="*/ 8259645 w 9759834"/>
                <a:gd name="connsiteY3263" fmla="*/ 884238 h 1762127"/>
                <a:gd name="connsiteX3264" fmla="*/ 8293777 w 9759834"/>
                <a:gd name="connsiteY3264" fmla="*/ 849313 h 1762127"/>
                <a:gd name="connsiteX3265" fmla="*/ 8208052 w 9759834"/>
                <a:gd name="connsiteY3265" fmla="*/ 849313 h 1762127"/>
                <a:gd name="connsiteX3266" fmla="*/ 8242184 w 9759834"/>
                <a:gd name="connsiteY3266" fmla="*/ 884238 h 1762127"/>
                <a:gd name="connsiteX3267" fmla="*/ 8208052 w 9759834"/>
                <a:gd name="connsiteY3267" fmla="*/ 919163 h 1762127"/>
                <a:gd name="connsiteX3268" fmla="*/ 8173920 w 9759834"/>
                <a:gd name="connsiteY3268" fmla="*/ 884238 h 1762127"/>
                <a:gd name="connsiteX3269" fmla="*/ 8208052 w 9759834"/>
                <a:gd name="connsiteY3269" fmla="*/ 849313 h 1762127"/>
                <a:gd name="connsiteX3270" fmla="*/ 8125502 w 9759834"/>
                <a:gd name="connsiteY3270" fmla="*/ 849313 h 1762127"/>
                <a:gd name="connsiteX3271" fmla="*/ 8162809 w 9759834"/>
                <a:gd name="connsiteY3271" fmla="*/ 884238 h 1762127"/>
                <a:gd name="connsiteX3272" fmla="*/ 8125502 w 9759834"/>
                <a:gd name="connsiteY3272" fmla="*/ 919163 h 1762127"/>
                <a:gd name="connsiteX3273" fmla="*/ 8088195 w 9759834"/>
                <a:gd name="connsiteY3273" fmla="*/ 884238 h 1762127"/>
                <a:gd name="connsiteX3274" fmla="*/ 8125502 w 9759834"/>
                <a:gd name="connsiteY3274" fmla="*/ 849313 h 1762127"/>
                <a:gd name="connsiteX3275" fmla="*/ 8042952 w 9759834"/>
                <a:gd name="connsiteY3275" fmla="*/ 849313 h 1762127"/>
                <a:gd name="connsiteX3276" fmla="*/ 8077084 w 9759834"/>
                <a:gd name="connsiteY3276" fmla="*/ 884238 h 1762127"/>
                <a:gd name="connsiteX3277" fmla="*/ 8042952 w 9759834"/>
                <a:gd name="connsiteY3277" fmla="*/ 919163 h 1762127"/>
                <a:gd name="connsiteX3278" fmla="*/ 8008820 w 9759834"/>
                <a:gd name="connsiteY3278" fmla="*/ 884238 h 1762127"/>
                <a:gd name="connsiteX3279" fmla="*/ 8042952 w 9759834"/>
                <a:gd name="connsiteY3279" fmla="*/ 849313 h 1762127"/>
                <a:gd name="connsiteX3280" fmla="*/ 7957227 w 9759834"/>
                <a:gd name="connsiteY3280" fmla="*/ 849313 h 1762127"/>
                <a:gd name="connsiteX3281" fmla="*/ 7991359 w 9759834"/>
                <a:gd name="connsiteY3281" fmla="*/ 884238 h 1762127"/>
                <a:gd name="connsiteX3282" fmla="*/ 7957227 w 9759834"/>
                <a:gd name="connsiteY3282" fmla="*/ 919163 h 1762127"/>
                <a:gd name="connsiteX3283" fmla="*/ 7923095 w 9759834"/>
                <a:gd name="connsiteY3283" fmla="*/ 884238 h 1762127"/>
                <a:gd name="connsiteX3284" fmla="*/ 7957227 w 9759834"/>
                <a:gd name="connsiteY3284" fmla="*/ 849313 h 1762127"/>
                <a:gd name="connsiteX3285" fmla="*/ 7871502 w 9759834"/>
                <a:gd name="connsiteY3285" fmla="*/ 849313 h 1762127"/>
                <a:gd name="connsiteX3286" fmla="*/ 7905634 w 9759834"/>
                <a:gd name="connsiteY3286" fmla="*/ 884238 h 1762127"/>
                <a:gd name="connsiteX3287" fmla="*/ 7871502 w 9759834"/>
                <a:gd name="connsiteY3287" fmla="*/ 919163 h 1762127"/>
                <a:gd name="connsiteX3288" fmla="*/ 7837370 w 9759834"/>
                <a:gd name="connsiteY3288" fmla="*/ 884238 h 1762127"/>
                <a:gd name="connsiteX3289" fmla="*/ 7871502 w 9759834"/>
                <a:gd name="connsiteY3289" fmla="*/ 849313 h 1762127"/>
                <a:gd name="connsiteX3290" fmla="*/ 7785777 w 9759834"/>
                <a:gd name="connsiteY3290" fmla="*/ 849313 h 1762127"/>
                <a:gd name="connsiteX3291" fmla="*/ 7819909 w 9759834"/>
                <a:gd name="connsiteY3291" fmla="*/ 884238 h 1762127"/>
                <a:gd name="connsiteX3292" fmla="*/ 7785777 w 9759834"/>
                <a:gd name="connsiteY3292" fmla="*/ 919163 h 1762127"/>
                <a:gd name="connsiteX3293" fmla="*/ 7751645 w 9759834"/>
                <a:gd name="connsiteY3293" fmla="*/ 884238 h 1762127"/>
                <a:gd name="connsiteX3294" fmla="*/ 7785777 w 9759834"/>
                <a:gd name="connsiteY3294" fmla="*/ 849313 h 1762127"/>
                <a:gd name="connsiteX3295" fmla="*/ 7706402 w 9759834"/>
                <a:gd name="connsiteY3295" fmla="*/ 849313 h 1762127"/>
                <a:gd name="connsiteX3296" fmla="*/ 7740534 w 9759834"/>
                <a:gd name="connsiteY3296" fmla="*/ 884238 h 1762127"/>
                <a:gd name="connsiteX3297" fmla="*/ 7706402 w 9759834"/>
                <a:gd name="connsiteY3297" fmla="*/ 919163 h 1762127"/>
                <a:gd name="connsiteX3298" fmla="*/ 7672270 w 9759834"/>
                <a:gd name="connsiteY3298" fmla="*/ 884238 h 1762127"/>
                <a:gd name="connsiteX3299" fmla="*/ 7706402 w 9759834"/>
                <a:gd name="connsiteY3299" fmla="*/ 849313 h 1762127"/>
                <a:gd name="connsiteX3300" fmla="*/ 7620677 w 9759834"/>
                <a:gd name="connsiteY3300" fmla="*/ 849313 h 1762127"/>
                <a:gd name="connsiteX3301" fmla="*/ 7654809 w 9759834"/>
                <a:gd name="connsiteY3301" fmla="*/ 884238 h 1762127"/>
                <a:gd name="connsiteX3302" fmla="*/ 7620677 w 9759834"/>
                <a:gd name="connsiteY3302" fmla="*/ 919163 h 1762127"/>
                <a:gd name="connsiteX3303" fmla="*/ 7586545 w 9759834"/>
                <a:gd name="connsiteY3303" fmla="*/ 884238 h 1762127"/>
                <a:gd name="connsiteX3304" fmla="*/ 7620677 w 9759834"/>
                <a:gd name="connsiteY3304" fmla="*/ 849313 h 1762127"/>
                <a:gd name="connsiteX3305" fmla="*/ 7534952 w 9759834"/>
                <a:gd name="connsiteY3305" fmla="*/ 849313 h 1762127"/>
                <a:gd name="connsiteX3306" fmla="*/ 7569084 w 9759834"/>
                <a:gd name="connsiteY3306" fmla="*/ 884238 h 1762127"/>
                <a:gd name="connsiteX3307" fmla="*/ 7534952 w 9759834"/>
                <a:gd name="connsiteY3307" fmla="*/ 919163 h 1762127"/>
                <a:gd name="connsiteX3308" fmla="*/ 7500820 w 9759834"/>
                <a:gd name="connsiteY3308" fmla="*/ 884238 h 1762127"/>
                <a:gd name="connsiteX3309" fmla="*/ 7534952 w 9759834"/>
                <a:gd name="connsiteY3309" fmla="*/ 849313 h 1762127"/>
                <a:gd name="connsiteX3310" fmla="*/ 7449227 w 9759834"/>
                <a:gd name="connsiteY3310" fmla="*/ 849313 h 1762127"/>
                <a:gd name="connsiteX3311" fmla="*/ 7483359 w 9759834"/>
                <a:gd name="connsiteY3311" fmla="*/ 884238 h 1762127"/>
                <a:gd name="connsiteX3312" fmla="*/ 7449227 w 9759834"/>
                <a:gd name="connsiteY3312" fmla="*/ 919163 h 1762127"/>
                <a:gd name="connsiteX3313" fmla="*/ 7415095 w 9759834"/>
                <a:gd name="connsiteY3313" fmla="*/ 884238 h 1762127"/>
                <a:gd name="connsiteX3314" fmla="*/ 7449227 w 9759834"/>
                <a:gd name="connsiteY3314" fmla="*/ 849313 h 1762127"/>
                <a:gd name="connsiteX3315" fmla="*/ 7366677 w 9759834"/>
                <a:gd name="connsiteY3315" fmla="*/ 849313 h 1762127"/>
                <a:gd name="connsiteX3316" fmla="*/ 7403984 w 9759834"/>
                <a:gd name="connsiteY3316" fmla="*/ 884238 h 1762127"/>
                <a:gd name="connsiteX3317" fmla="*/ 7366677 w 9759834"/>
                <a:gd name="connsiteY3317" fmla="*/ 919163 h 1762127"/>
                <a:gd name="connsiteX3318" fmla="*/ 7329370 w 9759834"/>
                <a:gd name="connsiteY3318" fmla="*/ 884238 h 1762127"/>
                <a:gd name="connsiteX3319" fmla="*/ 7366677 w 9759834"/>
                <a:gd name="connsiteY3319" fmla="*/ 849313 h 1762127"/>
                <a:gd name="connsiteX3320" fmla="*/ 7284127 w 9759834"/>
                <a:gd name="connsiteY3320" fmla="*/ 849313 h 1762127"/>
                <a:gd name="connsiteX3321" fmla="*/ 7318259 w 9759834"/>
                <a:gd name="connsiteY3321" fmla="*/ 884238 h 1762127"/>
                <a:gd name="connsiteX3322" fmla="*/ 7284127 w 9759834"/>
                <a:gd name="connsiteY3322" fmla="*/ 919163 h 1762127"/>
                <a:gd name="connsiteX3323" fmla="*/ 7249995 w 9759834"/>
                <a:gd name="connsiteY3323" fmla="*/ 884238 h 1762127"/>
                <a:gd name="connsiteX3324" fmla="*/ 7284127 w 9759834"/>
                <a:gd name="connsiteY3324" fmla="*/ 849313 h 1762127"/>
                <a:gd name="connsiteX3325" fmla="*/ 7198402 w 9759834"/>
                <a:gd name="connsiteY3325" fmla="*/ 849313 h 1762127"/>
                <a:gd name="connsiteX3326" fmla="*/ 7232534 w 9759834"/>
                <a:gd name="connsiteY3326" fmla="*/ 884238 h 1762127"/>
                <a:gd name="connsiteX3327" fmla="*/ 7198402 w 9759834"/>
                <a:gd name="connsiteY3327" fmla="*/ 919163 h 1762127"/>
                <a:gd name="connsiteX3328" fmla="*/ 7164270 w 9759834"/>
                <a:gd name="connsiteY3328" fmla="*/ 884238 h 1762127"/>
                <a:gd name="connsiteX3329" fmla="*/ 7198402 w 9759834"/>
                <a:gd name="connsiteY3329" fmla="*/ 849313 h 1762127"/>
                <a:gd name="connsiteX3330" fmla="*/ 7112677 w 9759834"/>
                <a:gd name="connsiteY3330" fmla="*/ 849313 h 1762127"/>
                <a:gd name="connsiteX3331" fmla="*/ 7146809 w 9759834"/>
                <a:gd name="connsiteY3331" fmla="*/ 884238 h 1762127"/>
                <a:gd name="connsiteX3332" fmla="*/ 7112677 w 9759834"/>
                <a:gd name="connsiteY3332" fmla="*/ 919163 h 1762127"/>
                <a:gd name="connsiteX3333" fmla="*/ 7078545 w 9759834"/>
                <a:gd name="connsiteY3333" fmla="*/ 884238 h 1762127"/>
                <a:gd name="connsiteX3334" fmla="*/ 7112677 w 9759834"/>
                <a:gd name="connsiteY3334" fmla="*/ 849313 h 1762127"/>
                <a:gd name="connsiteX3335" fmla="*/ 7027745 w 9759834"/>
                <a:gd name="connsiteY3335" fmla="*/ 849313 h 1762127"/>
                <a:gd name="connsiteX3336" fmla="*/ 7062670 w 9759834"/>
                <a:gd name="connsiteY3336" fmla="*/ 884238 h 1762127"/>
                <a:gd name="connsiteX3337" fmla="*/ 7027745 w 9759834"/>
                <a:gd name="connsiteY3337" fmla="*/ 919163 h 1762127"/>
                <a:gd name="connsiteX3338" fmla="*/ 6992820 w 9759834"/>
                <a:gd name="connsiteY3338" fmla="*/ 884238 h 1762127"/>
                <a:gd name="connsiteX3339" fmla="*/ 7027745 w 9759834"/>
                <a:gd name="connsiteY3339" fmla="*/ 849313 h 1762127"/>
                <a:gd name="connsiteX3340" fmla="*/ 6947577 w 9759834"/>
                <a:gd name="connsiteY3340" fmla="*/ 849313 h 1762127"/>
                <a:gd name="connsiteX3341" fmla="*/ 6981709 w 9759834"/>
                <a:gd name="connsiteY3341" fmla="*/ 884238 h 1762127"/>
                <a:gd name="connsiteX3342" fmla="*/ 6947577 w 9759834"/>
                <a:gd name="connsiteY3342" fmla="*/ 919163 h 1762127"/>
                <a:gd name="connsiteX3343" fmla="*/ 6913445 w 9759834"/>
                <a:gd name="connsiteY3343" fmla="*/ 884238 h 1762127"/>
                <a:gd name="connsiteX3344" fmla="*/ 6947577 w 9759834"/>
                <a:gd name="connsiteY3344" fmla="*/ 849313 h 1762127"/>
                <a:gd name="connsiteX3345" fmla="*/ 6861852 w 9759834"/>
                <a:gd name="connsiteY3345" fmla="*/ 849313 h 1762127"/>
                <a:gd name="connsiteX3346" fmla="*/ 6895984 w 9759834"/>
                <a:gd name="connsiteY3346" fmla="*/ 884238 h 1762127"/>
                <a:gd name="connsiteX3347" fmla="*/ 6861852 w 9759834"/>
                <a:gd name="connsiteY3347" fmla="*/ 919163 h 1762127"/>
                <a:gd name="connsiteX3348" fmla="*/ 6827720 w 9759834"/>
                <a:gd name="connsiteY3348" fmla="*/ 884238 h 1762127"/>
                <a:gd name="connsiteX3349" fmla="*/ 6861852 w 9759834"/>
                <a:gd name="connsiteY3349" fmla="*/ 849313 h 1762127"/>
                <a:gd name="connsiteX3350" fmla="*/ 6691195 w 9759834"/>
                <a:gd name="connsiteY3350" fmla="*/ 849313 h 1762127"/>
                <a:gd name="connsiteX3351" fmla="*/ 6726120 w 9759834"/>
                <a:gd name="connsiteY3351" fmla="*/ 884238 h 1762127"/>
                <a:gd name="connsiteX3352" fmla="*/ 6691195 w 9759834"/>
                <a:gd name="connsiteY3352" fmla="*/ 919163 h 1762127"/>
                <a:gd name="connsiteX3353" fmla="*/ 6656270 w 9759834"/>
                <a:gd name="connsiteY3353" fmla="*/ 884238 h 1762127"/>
                <a:gd name="connsiteX3354" fmla="*/ 6691195 w 9759834"/>
                <a:gd name="connsiteY3354" fmla="*/ 849313 h 1762127"/>
                <a:gd name="connsiteX3355" fmla="*/ 6607852 w 9759834"/>
                <a:gd name="connsiteY3355" fmla="*/ 849313 h 1762127"/>
                <a:gd name="connsiteX3356" fmla="*/ 6645159 w 9759834"/>
                <a:gd name="connsiteY3356" fmla="*/ 884238 h 1762127"/>
                <a:gd name="connsiteX3357" fmla="*/ 6607852 w 9759834"/>
                <a:gd name="connsiteY3357" fmla="*/ 919163 h 1762127"/>
                <a:gd name="connsiteX3358" fmla="*/ 6570545 w 9759834"/>
                <a:gd name="connsiteY3358" fmla="*/ 884238 h 1762127"/>
                <a:gd name="connsiteX3359" fmla="*/ 6607852 w 9759834"/>
                <a:gd name="connsiteY3359" fmla="*/ 849313 h 1762127"/>
                <a:gd name="connsiteX3360" fmla="*/ 6525302 w 9759834"/>
                <a:gd name="connsiteY3360" fmla="*/ 849313 h 1762127"/>
                <a:gd name="connsiteX3361" fmla="*/ 6559434 w 9759834"/>
                <a:gd name="connsiteY3361" fmla="*/ 884238 h 1762127"/>
                <a:gd name="connsiteX3362" fmla="*/ 6525302 w 9759834"/>
                <a:gd name="connsiteY3362" fmla="*/ 919163 h 1762127"/>
                <a:gd name="connsiteX3363" fmla="*/ 6491170 w 9759834"/>
                <a:gd name="connsiteY3363" fmla="*/ 884238 h 1762127"/>
                <a:gd name="connsiteX3364" fmla="*/ 6525302 w 9759834"/>
                <a:gd name="connsiteY3364" fmla="*/ 849313 h 1762127"/>
                <a:gd name="connsiteX3365" fmla="*/ 6439577 w 9759834"/>
                <a:gd name="connsiteY3365" fmla="*/ 849313 h 1762127"/>
                <a:gd name="connsiteX3366" fmla="*/ 6473709 w 9759834"/>
                <a:gd name="connsiteY3366" fmla="*/ 884238 h 1762127"/>
                <a:gd name="connsiteX3367" fmla="*/ 6439577 w 9759834"/>
                <a:gd name="connsiteY3367" fmla="*/ 919163 h 1762127"/>
                <a:gd name="connsiteX3368" fmla="*/ 6405445 w 9759834"/>
                <a:gd name="connsiteY3368" fmla="*/ 884238 h 1762127"/>
                <a:gd name="connsiteX3369" fmla="*/ 6439577 w 9759834"/>
                <a:gd name="connsiteY3369" fmla="*/ 849313 h 1762127"/>
                <a:gd name="connsiteX3370" fmla="*/ 6353852 w 9759834"/>
                <a:gd name="connsiteY3370" fmla="*/ 849313 h 1762127"/>
                <a:gd name="connsiteX3371" fmla="*/ 6387984 w 9759834"/>
                <a:gd name="connsiteY3371" fmla="*/ 884238 h 1762127"/>
                <a:gd name="connsiteX3372" fmla="*/ 6353852 w 9759834"/>
                <a:gd name="connsiteY3372" fmla="*/ 919163 h 1762127"/>
                <a:gd name="connsiteX3373" fmla="*/ 6319720 w 9759834"/>
                <a:gd name="connsiteY3373" fmla="*/ 884238 h 1762127"/>
                <a:gd name="connsiteX3374" fmla="*/ 6353852 w 9759834"/>
                <a:gd name="connsiteY3374" fmla="*/ 849313 h 1762127"/>
                <a:gd name="connsiteX3375" fmla="*/ 6268920 w 9759834"/>
                <a:gd name="connsiteY3375" fmla="*/ 849313 h 1762127"/>
                <a:gd name="connsiteX3376" fmla="*/ 6303845 w 9759834"/>
                <a:gd name="connsiteY3376" fmla="*/ 884238 h 1762127"/>
                <a:gd name="connsiteX3377" fmla="*/ 6268920 w 9759834"/>
                <a:gd name="connsiteY3377" fmla="*/ 919163 h 1762127"/>
                <a:gd name="connsiteX3378" fmla="*/ 6233995 w 9759834"/>
                <a:gd name="connsiteY3378" fmla="*/ 884238 h 1762127"/>
                <a:gd name="connsiteX3379" fmla="*/ 6268920 w 9759834"/>
                <a:gd name="connsiteY3379" fmla="*/ 849313 h 1762127"/>
                <a:gd name="connsiteX3380" fmla="*/ 6103027 w 9759834"/>
                <a:gd name="connsiteY3380" fmla="*/ 849313 h 1762127"/>
                <a:gd name="connsiteX3381" fmla="*/ 6137159 w 9759834"/>
                <a:gd name="connsiteY3381" fmla="*/ 884238 h 1762127"/>
                <a:gd name="connsiteX3382" fmla="*/ 6103027 w 9759834"/>
                <a:gd name="connsiteY3382" fmla="*/ 919163 h 1762127"/>
                <a:gd name="connsiteX3383" fmla="*/ 6068895 w 9759834"/>
                <a:gd name="connsiteY3383" fmla="*/ 884238 h 1762127"/>
                <a:gd name="connsiteX3384" fmla="*/ 6103027 w 9759834"/>
                <a:gd name="connsiteY3384" fmla="*/ 849313 h 1762127"/>
                <a:gd name="connsiteX3385" fmla="*/ 5849821 w 9759834"/>
                <a:gd name="connsiteY3385" fmla="*/ 849313 h 1762127"/>
                <a:gd name="connsiteX3386" fmla="*/ 5886334 w 9759834"/>
                <a:gd name="connsiteY3386" fmla="*/ 884238 h 1762127"/>
                <a:gd name="connsiteX3387" fmla="*/ 5849821 w 9759834"/>
                <a:gd name="connsiteY3387" fmla="*/ 919163 h 1762127"/>
                <a:gd name="connsiteX3388" fmla="*/ 5813308 w 9759834"/>
                <a:gd name="connsiteY3388" fmla="*/ 884238 h 1762127"/>
                <a:gd name="connsiteX3389" fmla="*/ 5849821 w 9759834"/>
                <a:gd name="connsiteY3389" fmla="*/ 849313 h 1762127"/>
                <a:gd name="connsiteX3390" fmla="*/ 5766477 w 9759834"/>
                <a:gd name="connsiteY3390" fmla="*/ 849313 h 1762127"/>
                <a:gd name="connsiteX3391" fmla="*/ 5800609 w 9759834"/>
                <a:gd name="connsiteY3391" fmla="*/ 884238 h 1762127"/>
                <a:gd name="connsiteX3392" fmla="*/ 5766477 w 9759834"/>
                <a:gd name="connsiteY3392" fmla="*/ 919163 h 1762127"/>
                <a:gd name="connsiteX3393" fmla="*/ 5732345 w 9759834"/>
                <a:gd name="connsiteY3393" fmla="*/ 884238 h 1762127"/>
                <a:gd name="connsiteX3394" fmla="*/ 5766477 w 9759834"/>
                <a:gd name="connsiteY3394" fmla="*/ 849313 h 1762127"/>
                <a:gd name="connsiteX3395" fmla="*/ 5680752 w 9759834"/>
                <a:gd name="connsiteY3395" fmla="*/ 849313 h 1762127"/>
                <a:gd name="connsiteX3396" fmla="*/ 5714884 w 9759834"/>
                <a:gd name="connsiteY3396" fmla="*/ 884238 h 1762127"/>
                <a:gd name="connsiteX3397" fmla="*/ 5680752 w 9759834"/>
                <a:gd name="connsiteY3397" fmla="*/ 919163 h 1762127"/>
                <a:gd name="connsiteX3398" fmla="*/ 5646620 w 9759834"/>
                <a:gd name="connsiteY3398" fmla="*/ 884238 h 1762127"/>
                <a:gd name="connsiteX3399" fmla="*/ 5680752 w 9759834"/>
                <a:gd name="connsiteY3399" fmla="*/ 849313 h 1762127"/>
                <a:gd name="connsiteX3400" fmla="*/ 5595820 w 9759834"/>
                <a:gd name="connsiteY3400" fmla="*/ 849313 h 1762127"/>
                <a:gd name="connsiteX3401" fmla="*/ 5630745 w 9759834"/>
                <a:gd name="connsiteY3401" fmla="*/ 884238 h 1762127"/>
                <a:gd name="connsiteX3402" fmla="*/ 5595820 w 9759834"/>
                <a:gd name="connsiteY3402" fmla="*/ 919163 h 1762127"/>
                <a:gd name="connsiteX3403" fmla="*/ 5560895 w 9759834"/>
                <a:gd name="connsiteY3403" fmla="*/ 884238 h 1762127"/>
                <a:gd name="connsiteX3404" fmla="*/ 5595820 w 9759834"/>
                <a:gd name="connsiteY3404" fmla="*/ 849313 h 1762127"/>
                <a:gd name="connsiteX3405" fmla="*/ 5510095 w 9759834"/>
                <a:gd name="connsiteY3405" fmla="*/ 849313 h 1762127"/>
                <a:gd name="connsiteX3406" fmla="*/ 5545020 w 9759834"/>
                <a:gd name="connsiteY3406" fmla="*/ 884238 h 1762127"/>
                <a:gd name="connsiteX3407" fmla="*/ 5510095 w 9759834"/>
                <a:gd name="connsiteY3407" fmla="*/ 919163 h 1762127"/>
                <a:gd name="connsiteX3408" fmla="*/ 5475170 w 9759834"/>
                <a:gd name="connsiteY3408" fmla="*/ 884238 h 1762127"/>
                <a:gd name="connsiteX3409" fmla="*/ 5510095 w 9759834"/>
                <a:gd name="connsiteY3409" fmla="*/ 849313 h 1762127"/>
                <a:gd name="connsiteX3410" fmla="*/ 4163895 w 9759834"/>
                <a:gd name="connsiteY3410" fmla="*/ 849313 h 1762127"/>
                <a:gd name="connsiteX3411" fmla="*/ 4198820 w 9759834"/>
                <a:gd name="connsiteY3411" fmla="*/ 884238 h 1762127"/>
                <a:gd name="connsiteX3412" fmla="*/ 4163895 w 9759834"/>
                <a:gd name="connsiteY3412" fmla="*/ 919163 h 1762127"/>
                <a:gd name="connsiteX3413" fmla="*/ 4128970 w 9759834"/>
                <a:gd name="connsiteY3413" fmla="*/ 884238 h 1762127"/>
                <a:gd name="connsiteX3414" fmla="*/ 4163895 w 9759834"/>
                <a:gd name="connsiteY3414" fmla="*/ 849313 h 1762127"/>
                <a:gd name="connsiteX3415" fmla="*/ 4078170 w 9759834"/>
                <a:gd name="connsiteY3415" fmla="*/ 849313 h 1762127"/>
                <a:gd name="connsiteX3416" fmla="*/ 4113095 w 9759834"/>
                <a:gd name="connsiteY3416" fmla="*/ 884238 h 1762127"/>
                <a:gd name="connsiteX3417" fmla="*/ 4078170 w 9759834"/>
                <a:gd name="connsiteY3417" fmla="*/ 919163 h 1762127"/>
                <a:gd name="connsiteX3418" fmla="*/ 4043245 w 9759834"/>
                <a:gd name="connsiteY3418" fmla="*/ 884238 h 1762127"/>
                <a:gd name="connsiteX3419" fmla="*/ 4078170 w 9759834"/>
                <a:gd name="connsiteY3419" fmla="*/ 849313 h 1762127"/>
                <a:gd name="connsiteX3420" fmla="*/ 3993240 w 9759834"/>
                <a:gd name="connsiteY3420" fmla="*/ 849313 h 1762127"/>
                <a:gd name="connsiteX3421" fmla="*/ 4027372 w 9759834"/>
                <a:gd name="connsiteY3421" fmla="*/ 884238 h 1762127"/>
                <a:gd name="connsiteX3422" fmla="*/ 3993240 w 9759834"/>
                <a:gd name="connsiteY3422" fmla="*/ 919163 h 1762127"/>
                <a:gd name="connsiteX3423" fmla="*/ 3959108 w 9759834"/>
                <a:gd name="connsiteY3423" fmla="*/ 884238 h 1762127"/>
                <a:gd name="connsiteX3424" fmla="*/ 3993240 w 9759834"/>
                <a:gd name="connsiteY3424" fmla="*/ 849313 h 1762127"/>
                <a:gd name="connsiteX3425" fmla="*/ 3912277 w 9759834"/>
                <a:gd name="connsiteY3425" fmla="*/ 849313 h 1762127"/>
                <a:gd name="connsiteX3426" fmla="*/ 3946409 w 9759834"/>
                <a:gd name="connsiteY3426" fmla="*/ 884238 h 1762127"/>
                <a:gd name="connsiteX3427" fmla="*/ 3912277 w 9759834"/>
                <a:gd name="connsiteY3427" fmla="*/ 919163 h 1762127"/>
                <a:gd name="connsiteX3428" fmla="*/ 3878145 w 9759834"/>
                <a:gd name="connsiteY3428" fmla="*/ 884238 h 1762127"/>
                <a:gd name="connsiteX3429" fmla="*/ 3912277 w 9759834"/>
                <a:gd name="connsiteY3429" fmla="*/ 849313 h 1762127"/>
                <a:gd name="connsiteX3430" fmla="*/ 3826552 w 9759834"/>
                <a:gd name="connsiteY3430" fmla="*/ 849313 h 1762127"/>
                <a:gd name="connsiteX3431" fmla="*/ 3860684 w 9759834"/>
                <a:gd name="connsiteY3431" fmla="*/ 884238 h 1762127"/>
                <a:gd name="connsiteX3432" fmla="*/ 3826552 w 9759834"/>
                <a:gd name="connsiteY3432" fmla="*/ 919163 h 1762127"/>
                <a:gd name="connsiteX3433" fmla="*/ 3792420 w 9759834"/>
                <a:gd name="connsiteY3433" fmla="*/ 884238 h 1762127"/>
                <a:gd name="connsiteX3434" fmla="*/ 3826552 w 9759834"/>
                <a:gd name="connsiteY3434" fmla="*/ 849313 h 1762127"/>
                <a:gd name="connsiteX3435" fmla="*/ 3741620 w 9759834"/>
                <a:gd name="connsiteY3435" fmla="*/ 849313 h 1762127"/>
                <a:gd name="connsiteX3436" fmla="*/ 3776545 w 9759834"/>
                <a:gd name="connsiteY3436" fmla="*/ 884238 h 1762127"/>
                <a:gd name="connsiteX3437" fmla="*/ 3741620 w 9759834"/>
                <a:gd name="connsiteY3437" fmla="*/ 919163 h 1762127"/>
                <a:gd name="connsiteX3438" fmla="*/ 3706695 w 9759834"/>
                <a:gd name="connsiteY3438" fmla="*/ 884238 h 1762127"/>
                <a:gd name="connsiteX3439" fmla="*/ 3741620 w 9759834"/>
                <a:gd name="connsiteY3439" fmla="*/ 849313 h 1762127"/>
                <a:gd name="connsiteX3440" fmla="*/ 3320140 w 9759834"/>
                <a:gd name="connsiteY3440" fmla="*/ 849313 h 1762127"/>
                <a:gd name="connsiteX3441" fmla="*/ 3354272 w 9759834"/>
                <a:gd name="connsiteY3441" fmla="*/ 884238 h 1762127"/>
                <a:gd name="connsiteX3442" fmla="*/ 3320140 w 9759834"/>
                <a:gd name="connsiteY3442" fmla="*/ 919163 h 1762127"/>
                <a:gd name="connsiteX3443" fmla="*/ 3286008 w 9759834"/>
                <a:gd name="connsiteY3443" fmla="*/ 884238 h 1762127"/>
                <a:gd name="connsiteX3444" fmla="*/ 3320140 w 9759834"/>
                <a:gd name="connsiteY3444" fmla="*/ 849313 h 1762127"/>
                <a:gd name="connsiteX3445" fmla="*/ 3234415 w 9759834"/>
                <a:gd name="connsiteY3445" fmla="*/ 849313 h 1762127"/>
                <a:gd name="connsiteX3446" fmla="*/ 3268547 w 9759834"/>
                <a:gd name="connsiteY3446" fmla="*/ 884238 h 1762127"/>
                <a:gd name="connsiteX3447" fmla="*/ 3234415 w 9759834"/>
                <a:gd name="connsiteY3447" fmla="*/ 919163 h 1762127"/>
                <a:gd name="connsiteX3448" fmla="*/ 3200283 w 9759834"/>
                <a:gd name="connsiteY3448" fmla="*/ 884238 h 1762127"/>
                <a:gd name="connsiteX3449" fmla="*/ 3234415 w 9759834"/>
                <a:gd name="connsiteY3449" fmla="*/ 849313 h 1762127"/>
                <a:gd name="connsiteX3450" fmla="*/ 3153452 w 9759834"/>
                <a:gd name="connsiteY3450" fmla="*/ 849313 h 1762127"/>
                <a:gd name="connsiteX3451" fmla="*/ 3187584 w 9759834"/>
                <a:gd name="connsiteY3451" fmla="*/ 884238 h 1762127"/>
                <a:gd name="connsiteX3452" fmla="*/ 3153452 w 9759834"/>
                <a:gd name="connsiteY3452" fmla="*/ 919163 h 1762127"/>
                <a:gd name="connsiteX3453" fmla="*/ 3119320 w 9759834"/>
                <a:gd name="connsiteY3453" fmla="*/ 884238 h 1762127"/>
                <a:gd name="connsiteX3454" fmla="*/ 3153452 w 9759834"/>
                <a:gd name="connsiteY3454" fmla="*/ 849313 h 1762127"/>
                <a:gd name="connsiteX3455" fmla="*/ 2646273 w 9759834"/>
                <a:gd name="connsiteY3455" fmla="*/ 849313 h 1762127"/>
                <a:gd name="connsiteX3456" fmla="*/ 2681197 w 9759834"/>
                <a:gd name="connsiteY3456" fmla="*/ 884238 h 1762127"/>
                <a:gd name="connsiteX3457" fmla="*/ 2646273 w 9759834"/>
                <a:gd name="connsiteY3457" fmla="*/ 919163 h 1762127"/>
                <a:gd name="connsiteX3458" fmla="*/ 2611348 w 9759834"/>
                <a:gd name="connsiteY3458" fmla="*/ 884238 h 1762127"/>
                <a:gd name="connsiteX3459" fmla="*/ 2646273 w 9759834"/>
                <a:gd name="connsiteY3459" fmla="*/ 849313 h 1762127"/>
                <a:gd name="connsiteX3460" fmla="*/ 2561352 w 9759834"/>
                <a:gd name="connsiteY3460" fmla="*/ 849313 h 1762127"/>
                <a:gd name="connsiteX3461" fmla="*/ 2595485 w 9759834"/>
                <a:gd name="connsiteY3461" fmla="*/ 884238 h 1762127"/>
                <a:gd name="connsiteX3462" fmla="*/ 2561352 w 9759834"/>
                <a:gd name="connsiteY3462" fmla="*/ 919163 h 1762127"/>
                <a:gd name="connsiteX3463" fmla="*/ 2527220 w 9759834"/>
                <a:gd name="connsiteY3463" fmla="*/ 884238 h 1762127"/>
                <a:gd name="connsiteX3464" fmla="*/ 2561352 w 9759834"/>
                <a:gd name="connsiteY3464" fmla="*/ 849313 h 1762127"/>
                <a:gd name="connsiteX3465" fmla="*/ 2394666 w 9759834"/>
                <a:gd name="connsiteY3465" fmla="*/ 849313 h 1762127"/>
                <a:gd name="connsiteX3466" fmla="*/ 2428797 w 9759834"/>
                <a:gd name="connsiteY3466" fmla="*/ 884238 h 1762127"/>
                <a:gd name="connsiteX3467" fmla="*/ 2394666 w 9759834"/>
                <a:gd name="connsiteY3467" fmla="*/ 919163 h 1762127"/>
                <a:gd name="connsiteX3468" fmla="*/ 2360533 w 9759834"/>
                <a:gd name="connsiteY3468" fmla="*/ 884238 h 1762127"/>
                <a:gd name="connsiteX3469" fmla="*/ 2394666 w 9759834"/>
                <a:gd name="connsiteY3469" fmla="*/ 849313 h 1762127"/>
                <a:gd name="connsiteX3470" fmla="*/ 2309735 w 9759834"/>
                <a:gd name="connsiteY3470" fmla="*/ 849313 h 1762127"/>
                <a:gd name="connsiteX3471" fmla="*/ 2344660 w 9759834"/>
                <a:gd name="connsiteY3471" fmla="*/ 884238 h 1762127"/>
                <a:gd name="connsiteX3472" fmla="*/ 2309735 w 9759834"/>
                <a:gd name="connsiteY3472" fmla="*/ 919163 h 1762127"/>
                <a:gd name="connsiteX3473" fmla="*/ 2274810 w 9759834"/>
                <a:gd name="connsiteY3473" fmla="*/ 884238 h 1762127"/>
                <a:gd name="connsiteX3474" fmla="*/ 2309735 w 9759834"/>
                <a:gd name="connsiteY3474" fmla="*/ 849313 h 1762127"/>
                <a:gd name="connsiteX3475" fmla="*/ 2224804 w 9759834"/>
                <a:gd name="connsiteY3475" fmla="*/ 849313 h 1762127"/>
                <a:gd name="connsiteX3476" fmla="*/ 2258936 w 9759834"/>
                <a:gd name="connsiteY3476" fmla="*/ 884238 h 1762127"/>
                <a:gd name="connsiteX3477" fmla="*/ 2224804 w 9759834"/>
                <a:gd name="connsiteY3477" fmla="*/ 919163 h 1762127"/>
                <a:gd name="connsiteX3478" fmla="*/ 2190671 w 9759834"/>
                <a:gd name="connsiteY3478" fmla="*/ 884238 h 1762127"/>
                <a:gd name="connsiteX3479" fmla="*/ 2224804 w 9759834"/>
                <a:gd name="connsiteY3479" fmla="*/ 849313 h 1762127"/>
                <a:gd name="connsiteX3480" fmla="*/ 2055721 w 9759834"/>
                <a:gd name="connsiteY3480" fmla="*/ 849313 h 1762127"/>
                <a:gd name="connsiteX3481" fmla="*/ 2092234 w 9759834"/>
                <a:gd name="connsiteY3481" fmla="*/ 884238 h 1762127"/>
                <a:gd name="connsiteX3482" fmla="*/ 2055721 w 9759834"/>
                <a:gd name="connsiteY3482" fmla="*/ 919163 h 1762127"/>
                <a:gd name="connsiteX3483" fmla="*/ 2019209 w 9759834"/>
                <a:gd name="connsiteY3483" fmla="*/ 884238 h 1762127"/>
                <a:gd name="connsiteX3484" fmla="*/ 2055721 w 9759834"/>
                <a:gd name="connsiteY3484" fmla="*/ 849313 h 1762127"/>
                <a:gd name="connsiteX3485" fmla="*/ 1973171 w 9759834"/>
                <a:gd name="connsiteY3485" fmla="*/ 849313 h 1762127"/>
                <a:gd name="connsiteX3486" fmla="*/ 2008096 w 9759834"/>
                <a:gd name="connsiteY3486" fmla="*/ 884238 h 1762127"/>
                <a:gd name="connsiteX3487" fmla="*/ 1973171 w 9759834"/>
                <a:gd name="connsiteY3487" fmla="*/ 919163 h 1762127"/>
                <a:gd name="connsiteX3488" fmla="*/ 1938246 w 9759834"/>
                <a:gd name="connsiteY3488" fmla="*/ 884238 h 1762127"/>
                <a:gd name="connsiteX3489" fmla="*/ 1973171 w 9759834"/>
                <a:gd name="connsiteY3489" fmla="*/ 849313 h 1762127"/>
                <a:gd name="connsiteX3490" fmla="*/ 1802514 w 9759834"/>
                <a:gd name="connsiteY3490" fmla="*/ 849313 h 1762127"/>
                <a:gd name="connsiteX3491" fmla="*/ 1836646 w 9759834"/>
                <a:gd name="connsiteY3491" fmla="*/ 884238 h 1762127"/>
                <a:gd name="connsiteX3492" fmla="*/ 1802514 w 9759834"/>
                <a:gd name="connsiteY3492" fmla="*/ 919163 h 1762127"/>
                <a:gd name="connsiteX3493" fmla="*/ 1768382 w 9759834"/>
                <a:gd name="connsiteY3493" fmla="*/ 884238 h 1762127"/>
                <a:gd name="connsiteX3494" fmla="*/ 1802514 w 9759834"/>
                <a:gd name="connsiteY3494" fmla="*/ 849313 h 1762127"/>
                <a:gd name="connsiteX3495" fmla="*/ 1719170 w 9759834"/>
                <a:gd name="connsiteY3495" fmla="*/ 849313 h 1762127"/>
                <a:gd name="connsiteX3496" fmla="*/ 1755684 w 9759834"/>
                <a:gd name="connsiteY3496" fmla="*/ 884238 h 1762127"/>
                <a:gd name="connsiteX3497" fmla="*/ 1719170 w 9759834"/>
                <a:gd name="connsiteY3497" fmla="*/ 919163 h 1762127"/>
                <a:gd name="connsiteX3498" fmla="*/ 1682658 w 9759834"/>
                <a:gd name="connsiteY3498" fmla="*/ 884238 h 1762127"/>
                <a:gd name="connsiteX3499" fmla="*/ 1719170 w 9759834"/>
                <a:gd name="connsiteY3499" fmla="*/ 849313 h 1762127"/>
                <a:gd name="connsiteX3500" fmla="*/ 1636620 w 9759834"/>
                <a:gd name="connsiteY3500" fmla="*/ 849313 h 1762127"/>
                <a:gd name="connsiteX3501" fmla="*/ 1671545 w 9759834"/>
                <a:gd name="connsiteY3501" fmla="*/ 884238 h 1762127"/>
                <a:gd name="connsiteX3502" fmla="*/ 1636620 w 9759834"/>
                <a:gd name="connsiteY3502" fmla="*/ 919163 h 1762127"/>
                <a:gd name="connsiteX3503" fmla="*/ 1601695 w 9759834"/>
                <a:gd name="connsiteY3503" fmla="*/ 884238 h 1762127"/>
                <a:gd name="connsiteX3504" fmla="*/ 1636620 w 9759834"/>
                <a:gd name="connsiteY3504" fmla="*/ 849313 h 1762127"/>
                <a:gd name="connsiteX3505" fmla="*/ 1551690 w 9759834"/>
                <a:gd name="connsiteY3505" fmla="*/ 849313 h 1762127"/>
                <a:gd name="connsiteX3506" fmla="*/ 1585821 w 9759834"/>
                <a:gd name="connsiteY3506" fmla="*/ 884238 h 1762127"/>
                <a:gd name="connsiteX3507" fmla="*/ 1551690 w 9759834"/>
                <a:gd name="connsiteY3507" fmla="*/ 919163 h 1762127"/>
                <a:gd name="connsiteX3508" fmla="*/ 1517557 w 9759834"/>
                <a:gd name="connsiteY3508" fmla="*/ 884238 h 1762127"/>
                <a:gd name="connsiteX3509" fmla="*/ 1551690 w 9759834"/>
                <a:gd name="connsiteY3509" fmla="*/ 849313 h 1762127"/>
                <a:gd name="connsiteX3510" fmla="*/ 1465955 w 9759834"/>
                <a:gd name="connsiteY3510" fmla="*/ 849313 h 1762127"/>
                <a:gd name="connsiteX3511" fmla="*/ 1500086 w 9759834"/>
                <a:gd name="connsiteY3511" fmla="*/ 884238 h 1762127"/>
                <a:gd name="connsiteX3512" fmla="*/ 1465955 w 9759834"/>
                <a:gd name="connsiteY3512" fmla="*/ 919163 h 1762127"/>
                <a:gd name="connsiteX3513" fmla="*/ 1431822 w 9759834"/>
                <a:gd name="connsiteY3513" fmla="*/ 884238 h 1762127"/>
                <a:gd name="connsiteX3514" fmla="*/ 1465955 w 9759834"/>
                <a:gd name="connsiteY3514" fmla="*/ 849313 h 1762127"/>
                <a:gd name="connsiteX3515" fmla="*/ 1380229 w 9759834"/>
                <a:gd name="connsiteY3515" fmla="*/ 849313 h 1762127"/>
                <a:gd name="connsiteX3516" fmla="*/ 1414361 w 9759834"/>
                <a:gd name="connsiteY3516" fmla="*/ 884238 h 1762127"/>
                <a:gd name="connsiteX3517" fmla="*/ 1380229 w 9759834"/>
                <a:gd name="connsiteY3517" fmla="*/ 919163 h 1762127"/>
                <a:gd name="connsiteX3518" fmla="*/ 1346096 w 9759834"/>
                <a:gd name="connsiteY3518" fmla="*/ 884238 h 1762127"/>
                <a:gd name="connsiteX3519" fmla="*/ 1380229 w 9759834"/>
                <a:gd name="connsiteY3519" fmla="*/ 849313 h 1762127"/>
                <a:gd name="connsiteX3520" fmla="*/ 1300050 w 9759834"/>
                <a:gd name="connsiteY3520" fmla="*/ 849313 h 1762127"/>
                <a:gd name="connsiteX3521" fmla="*/ 1334975 w 9759834"/>
                <a:gd name="connsiteY3521" fmla="*/ 884238 h 1762127"/>
                <a:gd name="connsiteX3522" fmla="*/ 1300050 w 9759834"/>
                <a:gd name="connsiteY3522" fmla="*/ 919163 h 1762127"/>
                <a:gd name="connsiteX3523" fmla="*/ 1265125 w 9759834"/>
                <a:gd name="connsiteY3523" fmla="*/ 884238 h 1762127"/>
                <a:gd name="connsiteX3524" fmla="*/ 1300050 w 9759834"/>
                <a:gd name="connsiteY3524" fmla="*/ 849313 h 1762127"/>
                <a:gd name="connsiteX3525" fmla="*/ 1214500 w 9759834"/>
                <a:gd name="connsiteY3525" fmla="*/ 849313 h 1762127"/>
                <a:gd name="connsiteX3526" fmla="*/ 1249422 w 9759834"/>
                <a:gd name="connsiteY3526" fmla="*/ 884238 h 1762127"/>
                <a:gd name="connsiteX3527" fmla="*/ 1214500 w 9759834"/>
                <a:gd name="connsiteY3527" fmla="*/ 919163 h 1762127"/>
                <a:gd name="connsiteX3528" fmla="*/ 1179573 w 9759834"/>
                <a:gd name="connsiteY3528" fmla="*/ 884238 h 1762127"/>
                <a:gd name="connsiteX3529" fmla="*/ 1214500 w 9759834"/>
                <a:gd name="connsiteY3529" fmla="*/ 849313 h 1762127"/>
                <a:gd name="connsiteX3530" fmla="*/ 1129569 w 9759834"/>
                <a:gd name="connsiteY3530" fmla="*/ 849313 h 1762127"/>
                <a:gd name="connsiteX3531" fmla="*/ 1163703 w 9759834"/>
                <a:gd name="connsiteY3531" fmla="*/ 884238 h 1762127"/>
                <a:gd name="connsiteX3532" fmla="*/ 1129569 w 9759834"/>
                <a:gd name="connsiteY3532" fmla="*/ 919163 h 1762127"/>
                <a:gd name="connsiteX3533" fmla="*/ 1095440 w 9759834"/>
                <a:gd name="connsiteY3533" fmla="*/ 884238 h 1762127"/>
                <a:gd name="connsiteX3534" fmla="*/ 1129569 w 9759834"/>
                <a:gd name="connsiteY3534" fmla="*/ 849313 h 1762127"/>
                <a:gd name="connsiteX3535" fmla="*/ 960493 w 9759834"/>
                <a:gd name="connsiteY3535" fmla="*/ 849313 h 1762127"/>
                <a:gd name="connsiteX3536" fmla="*/ 997009 w 9759834"/>
                <a:gd name="connsiteY3536" fmla="*/ 884238 h 1762127"/>
                <a:gd name="connsiteX3537" fmla="*/ 960493 w 9759834"/>
                <a:gd name="connsiteY3537" fmla="*/ 919163 h 1762127"/>
                <a:gd name="connsiteX3538" fmla="*/ 923978 w 9759834"/>
                <a:gd name="connsiteY3538" fmla="*/ 884238 h 1762127"/>
                <a:gd name="connsiteX3539" fmla="*/ 960493 w 9759834"/>
                <a:gd name="connsiteY3539" fmla="*/ 849313 h 1762127"/>
                <a:gd name="connsiteX3540" fmla="*/ 877939 w 9759834"/>
                <a:gd name="connsiteY3540" fmla="*/ 849313 h 1762127"/>
                <a:gd name="connsiteX3541" fmla="*/ 912864 w 9759834"/>
                <a:gd name="connsiteY3541" fmla="*/ 884238 h 1762127"/>
                <a:gd name="connsiteX3542" fmla="*/ 877939 w 9759834"/>
                <a:gd name="connsiteY3542" fmla="*/ 919163 h 1762127"/>
                <a:gd name="connsiteX3543" fmla="*/ 843014 w 9759834"/>
                <a:gd name="connsiteY3543" fmla="*/ 884238 h 1762127"/>
                <a:gd name="connsiteX3544" fmla="*/ 877939 w 9759834"/>
                <a:gd name="connsiteY3544" fmla="*/ 849313 h 1762127"/>
                <a:gd name="connsiteX3545" fmla="*/ 793002 w 9759834"/>
                <a:gd name="connsiteY3545" fmla="*/ 849313 h 1762127"/>
                <a:gd name="connsiteX3546" fmla="*/ 827137 w 9759834"/>
                <a:gd name="connsiteY3546" fmla="*/ 884238 h 1762127"/>
                <a:gd name="connsiteX3547" fmla="*/ 793002 w 9759834"/>
                <a:gd name="connsiteY3547" fmla="*/ 919163 h 1762127"/>
                <a:gd name="connsiteX3548" fmla="*/ 758871 w 9759834"/>
                <a:gd name="connsiteY3548" fmla="*/ 884238 h 1762127"/>
                <a:gd name="connsiteX3549" fmla="*/ 793002 w 9759834"/>
                <a:gd name="connsiteY3549" fmla="*/ 849313 h 1762127"/>
                <a:gd name="connsiteX3550" fmla="*/ 707275 w 9759834"/>
                <a:gd name="connsiteY3550" fmla="*/ 849313 h 1762127"/>
                <a:gd name="connsiteX3551" fmla="*/ 741409 w 9759834"/>
                <a:gd name="connsiteY3551" fmla="*/ 884238 h 1762127"/>
                <a:gd name="connsiteX3552" fmla="*/ 707275 w 9759834"/>
                <a:gd name="connsiteY3552" fmla="*/ 919163 h 1762127"/>
                <a:gd name="connsiteX3553" fmla="*/ 673133 w 9759834"/>
                <a:gd name="connsiteY3553" fmla="*/ 884238 h 1762127"/>
                <a:gd name="connsiteX3554" fmla="*/ 707275 w 9759834"/>
                <a:gd name="connsiteY3554" fmla="*/ 849313 h 1762127"/>
                <a:gd name="connsiteX3555" fmla="*/ 621537 w 9759834"/>
                <a:gd name="connsiteY3555" fmla="*/ 849313 h 1762127"/>
                <a:gd name="connsiteX3556" fmla="*/ 655670 w 9759834"/>
                <a:gd name="connsiteY3556" fmla="*/ 884238 h 1762127"/>
                <a:gd name="connsiteX3557" fmla="*/ 621537 w 9759834"/>
                <a:gd name="connsiteY3557" fmla="*/ 919163 h 1762127"/>
                <a:gd name="connsiteX3558" fmla="*/ 587405 w 9759834"/>
                <a:gd name="connsiteY3558" fmla="*/ 884238 h 1762127"/>
                <a:gd name="connsiteX3559" fmla="*/ 621537 w 9759834"/>
                <a:gd name="connsiteY3559" fmla="*/ 849313 h 1762127"/>
                <a:gd name="connsiteX3560" fmla="*/ 9138327 w 9759834"/>
                <a:gd name="connsiteY3560" fmla="*/ 763588 h 1762127"/>
                <a:gd name="connsiteX3561" fmla="*/ 9172459 w 9759834"/>
                <a:gd name="connsiteY3561" fmla="*/ 797720 h 1762127"/>
                <a:gd name="connsiteX3562" fmla="*/ 9138327 w 9759834"/>
                <a:gd name="connsiteY3562" fmla="*/ 831852 h 1762127"/>
                <a:gd name="connsiteX3563" fmla="*/ 9104195 w 9759834"/>
                <a:gd name="connsiteY3563" fmla="*/ 797720 h 1762127"/>
                <a:gd name="connsiteX3564" fmla="*/ 9138327 w 9759834"/>
                <a:gd name="connsiteY3564" fmla="*/ 763588 h 1762127"/>
                <a:gd name="connsiteX3565" fmla="*/ 9052602 w 9759834"/>
                <a:gd name="connsiteY3565" fmla="*/ 763588 h 1762127"/>
                <a:gd name="connsiteX3566" fmla="*/ 9086734 w 9759834"/>
                <a:gd name="connsiteY3566" fmla="*/ 797720 h 1762127"/>
                <a:gd name="connsiteX3567" fmla="*/ 9052602 w 9759834"/>
                <a:gd name="connsiteY3567" fmla="*/ 831852 h 1762127"/>
                <a:gd name="connsiteX3568" fmla="*/ 9018470 w 9759834"/>
                <a:gd name="connsiteY3568" fmla="*/ 797720 h 1762127"/>
                <a:gd name="connsiteX3569" fmla="*/ 9052602 w 9759834"/>
                <a:gd name="connsiteY3569" fmla="*/ 763588 h 1762127"/>
                <a:gd name="connsiteX3570" fmla="*/ 8966877 w 9759834"/>
                <a:gd name="connsiteY3570" fmla="*/ 763588 h 1762127"/>
                <a:gd name="connsiteX3571" fmla="*/ 9001009 w 9759834"/>
                <a:gd name="connsiteY3571" fmla="*/ 797720 h 1762127"/>
                <a:gd name="connsiteX3572" fmla="*/ 8966877 w 9759834"/>
                <a:gd name="connsiteY3572" fmla="*/ 831852 h 1762127"/>
                <a:gd name="connsiteX3573" fmla="*/ 8932745 w 9759834"/>
                <a:gd name="connsiteY3573" fmla="*/ 797720 h 1762127"/>
                <a:gd name="connsiteX3574" fmla="*/ 8966877 w 9759834"/>
                <a:gd name="connsiteY3574" fmla="*/ 763588 h 1762127"/>
                <a:gd name="connsiteX3575" fmla="*/ 8884327 w 9759834"/>
                <a:gd name="connsiteY3575" fmla="*/ 763588 h 1762127"/>
                <a:gd name="connsiteX3576" fmla="*/ 8921634 w 9759834"/>
                <a:gd name="connsiteY3576" fmla="*/ 797720 h 1762127"/>
                <a:gd name="connsiteX3577" fmla="*/ 8884327 w 9759834"/>
                <a:gd name="connsiteY3577" fmla="*/ 831852 h 1762127"/>
                <a:gd name="connsiteX3578" fmla="*/ 8847020 w 9759834"/>
                <a:gd name="connsiteY3578" fmla="*/ 797720 h 1762127"/>
                <a:gd name="connsiteX3579" fmla="*/ 8884327 w 9759834"/>
                <a:gd name="connsiteY3579" fmla="*/ 763588 h 1762127"/>
                <a:gd name="connsiteX3580" fmla="*/ 8801777 w 9759834"/>
                <a:gd name="connsiteY3580" fmla="*/ 763588 h 1762127"/>
                <a:gd name="connsiteX3581" fmla="*/ 8835909 w 9759834"/>
                <a:gd name="connsiteY3581" fmla="*/ 797720 h 1762127"/>
                <a:gd name="connsiteX3582" fmla="*/ 8801777 w 9759834"/>
                <a:gd name="connsiteY3582" fmla="*/ 831852 h 1762127"/>
                <a:gd name="connsiteX3583" fmla="*/ 8767645 w 9759834"/>
                <a:gd name="connsiteY3583" fmla="*/ 797720 h 1762127"/>
                <a:gd name="connsiteX3584" fmla="*/ 8801777 w 9759834"/>
                <a:gd name="connsiteY3584" fmla="*/ 763588 h 1762127"/>
                <a:gd name="connsiteX3585" fmla="*/ 8716052 w 9759834"/>
                <a:gd name="connsiteY3585" fmla="*/ 763588 h 1762127"/>
                <a:gd name="connsiteX3586" fmla="*/ 8750184 w 9759834"/>
                <a:gd name="connsiteY3586" fmla="*/ 797720 h 1762127"/>
                <a:gd name="connsiteX3587" fmla="*/ 8716052 w 9759834"/>
                <a:gd name="connsiteY3587" fmla="*/ 831852 h 1762127"/>
                <a:gd name="connsiteX3588" fmla="*/ 8681920 w 9759834"/>
                <a:gd name="connsiteY3588" fmla="*/ 797720 h 1762127"/>
                <a:gd name="connsiteX3589" fmla="*/ 8716052 w 9759834"/>
                <a:gd name="connsiteY3589" fmla="*/ 763588 h 1762127"/>
                <a:gd name="connsiteX3590" fmla="*/ 8630327 w 9759834"/>
                <a:gd name="connsiteY3590" fmla="*/ 763588 h 1762127"/>
                <a:gd name="connsiteX3591" fmla="*/ 8664459 w 9759834"/>
                <a:gd name="connsiteY3591" fmla="*/ 797720 h 1762127"/>
                <a:gd name="connsiteX3592" fmla="*/ 8630327 w 9759834"/>
                <a:gd name="connsiteY3592" fmla="*/ 831852 h 1762127"/>
                <a:gd name="connsiteX3593" fmla="*/ 8596195 w 9759834"/>
                <a:gd name="connsiteY3593" fmla="*/ 797720 h 1762127"/>
                <a:gd name="connsiteX3594" fmla="*/ 8630327 w 9759834"/>
                <a:gd name="connsiteY3594" fmla="*/ 763588 h 1762127"/>
                <a:gd name="connsiteX3595" fmla="*/ 8544602 w 9759834"/>
                <a:gd name="connsiteY3595" fmla="*/ 763588 h 1762127"/>
                <a:gd name="connsiteX3596" fmla="*/ 8578734 w 9759834"/>
                <a:gd name="connsiteY3596" fmla="*/ 797720 h 1762127"/>
                <a:gd name="connsiteX3597" fmla="*/ 8544602 w 9759834"/>
                <a:gd name="connsiteY3597" fmla="*/ 831852 h 1762127"/>
                <a:gd name="connsiteX3598" fmla="*/ 8510470 w 9759834"/>
                <a:gd name="connsiteY3598" fmla="*/ 797720 h 1762127"/>
                <a:gd name="connsiteX3599" fmla="*/ 8544602 w 9759834"/>
                <a:gd name="connsiteY3599" fmla="*/ 763588 h 1762127"/>
                <a:gd name="connsiteX3600" fmla="*/ 8465227 w 9759834"/>
                <a:gd name="connsiteY3600" fmla="*/ 763588 h 1762127"/>
                <a:gd name="connsiteX3601" fmla="*/ 8499359 w 9759834"/>
                <a:gd name="connsiteY3601" fmla="*/ 797720 h 1762127"/>
                <a:gd name="connsiteX3602" fmla="*/ 8465227 w 9759834"/>
                <a:gd name="connsiteY3602" fmla="*/ 831852 h 1762127"/>
                <a:gd name="connsiteX3603" fmla="*/ 8431095 w 9759834"/>
                <a:gd name="connsiteY3603" fmla="*/ 797720 h 1762127"/>
                <a:gd name="connsiteX3604" fmla="*/ 8465227 w 9759834"/>
                <a:gd name="connsiteY3604" fmla="*/ 763588 h 1762127"/>
                <a:gd name="connsiteX3605" fmla="*/ 8379502 w 9759834"/>
                <a:gd name="connsiteY3605" fmla="*/ 763588 h 1762127"/>
                <a:gd name="connsiteX3606" fmla="*/ 8413634 w 9759834"/>
                <a:gd name="connsiteY3606" fmla="*/ 797720 h 1762127"/>
                <a:gd name="connsiteX3607" fmla="*/ 8379502 w 9759834"/>
                <a:gd name="connsiteY3607" fmla="*/ 831852 h 1762127"/>
                <a:gd name="connsiteX3608" fmla="*/ 8345370 w 9759834"/>
                <a:gd name="connsiteY3608" fmla="*/ 797720 h 1762127"/>
                <a:gd name="connsiteX3609" fmla="*/ 8379502 w 9759834"/>
                <a:gd name="connsiteY3609" fmla="*/ 763588 h 1762127"/>
                <a:gd name="connsiteX3610" fmla="*/ 8293777 w 9759834"/>
                <a:gd name="connsiteY3610" fmla="*/ 763588 h 1762127"/>
                <a:gd name="connsiteX3611" fmla="*/ 8327909 w 9759834"/>
                <a:gd name="connsiteY3611" fmla="*/ 797720 h 1762127"/>
                <a:gd name="connsiteX3612" fmla="*/ 8293777 w 9759834"/>
                <a:gd name="connsiteY3612" fmla="*/ 831852 h 1762127"/>
                <a:gd name="connsiteX3613" fmla="*/ 8259645 w 9759834"/>
                <a:gd name="connsiteY3613" fmla="*/ 797720 h 1762127"/>
                <a:gd name="connsiteX3614" fmla="*/ 8293777 w 9759834"/>
                <a:gd name="connsiteY3614" fmla="*/ 763588 h 1762127"/>
                <a:gd name="connsiteX3615" fmla="*/ 8208052 w 9759834"/>
                <a:gd name="connsiteY3615" fmla="*/ 763588 h 1762127"/>
                <a:gd name="connsiteX3616" fmla="*/ 8242184 w 9759834"/>
                <a:gd name="connsiteY3616" fmla="*/ 797720 h 1762127"/>
                <a:gd name="connsiteX3617" fmla="*/ 8208052 w 9759834"/>
                <a:gd name="connsiteY3617" fmla="*/ 831852 h 1762127"/>
                <a:gd name="connsiteX3618" fmla="*/ 8173920 w 9759834"/>
                <a:gd name="connsiteY3618" fmla="*/ 797720 h 1762127"/>
                <a:gd name="connsiteX3619" fmla="*/ 8208052 w 9759834"/>
                <a:gd name="connsiteY3619" fmla="*/ 763588 h 1762127"/>
                <a:gd name="connsiteX3620" fmla="*/ 8125502 w 9759834"/>
                <a:gd name="connsiteY3620" fmla="*/ 763588 h 1762127"/>
                <a:gd name="connsiteX3621" fmla="*/ 8162809 w 9759834"/>
                <a:gd name="connsiteY3621" fmla="*/ 797720 h 1762127"/>
                <a:gd name="connsiteX3622" fmla="*/ 8125502 w 9759834"/>
                <a:gd name="connsiteY3622" fmla="*/ 831852 h 1762127"/>
                <a:gd name="connsiteX3623" fmla="*/ 8088195 w 9759834"/>
                <a:gd name="connsiteY3623" fmla="*/ 797720 h 1762127"/>
                <a:gd name="connsiteX3624" fmla="*/ 8125502 w 9759834"/>
                <a:gd name="connsiteY3624" fmla="*/ 763588 h 1762127"/>
                <a:gd name="connsiteX3625" fmla="*/ 8042952 w 9759834"/>
                <a:gd name="connsiteY3625" fmla="*/ 763588 h 1762127"/>
                <a:gd name="connsiteX3626" fmla="*/ 8077084 w 9759834"/>
                <a:gd name="connsiteY3626" fmla="*/ 797720 h 1762127"/>
                <a:gd name="connsiteX3627" fmla="*/ 8042952 w 9759834"/>
                <a:gd name="connsiteY3627" fmla="*/ 831852 h 1762127"/>
                <a:gd name="connsiteX3628" fmla="*/ 8008820 w 9759834"/>
                <a:gd name="connsiteY3628" fmla="*/ 797720 h 1762127"/>
                <a:gd name="connsiteX3629" fmla="*/ 8042952 w 9759834"/>
                <a:gd name="connsiteY3629" fmla="*/ 763588 h 1762127"/>
                <a:gd name="connsiteX3630" fmla="*/ 7957227 w 9759834"/>
                <a:gd name="connsiteY3630" fmla="*/ 763588 h 1762127"/>
                <a:gd name="connsiteX3631" fmla="*/ 7991359 w 9759834"/>
                <a:gd name="connsiteY3631" fmla="*/ 797720 h 1762127"/>
                <a:gd name="connsiteX3632" fmla="*/ 7957227 w 9759834"/>
                <a:gd name="connsiteY3632" fmla="*/ 831852 h 1762127"/>
                <a:gd name="connsiteX3633" fmla="*/ 7923095 w 9759834"/>
                <a:gd name="connsiteY3633" fmla="*/ 797720 h 1762127"/>
                <a:gd name="connsiteX3634" fmla="*/ 7957227 w 9759834"/>
                <a:gd name="connsiteY3634" fmla="*/ 763588 h 1762127"/>
                <a:gd name="connsiteX3635" fmla="*/ 7871502 w 9759834"/>
                <a:gd name="connsiteY3635" fmla="*/ 763588 h 1762127"/>
                <a:gd name="connsiteX3636" fmla="*/ 7905634 w 9759834"/>
                <a:gd name="connsiteY3636" fmla="*/ 797720 h 1762127"/>
                <a:gd name="connsiteX3637" fmla="*/ 7871502 w 9759834"/>
                <a:gd name="connsiteY3637" fmla="*/ 831852 h 1762127"/>
                <a:gd name="connsiteX3638" fmla="*/ 7837370 w 9759834"/>
                <a:gd name="connsiteY3638" fmla="*/ 797720 h 1762127"/>
                <a:gd name="connsiteX3639" fmla="*/ 7871502 w 9759834"/>
                <a:gd name="connsiteY3639" fmla="*/ 763588 h 1762127"/>
                <a:gd name="connsiteX3640" fmla="*/ 7785777 w 9759834"/>
                <a:gd name="connsiteY3640" fmla="*/ 763588 h 1762127"/>
                <a:gd name="connsiteX3641" fmla="*/ 7819909 w 9759834"/>
                <a:gd name="connsiteY3641" fmla="*/ 797720 h 1762127"/>
                <a:gd name="connsiteX3642" fmla="*/ 7785777 w 9759834"/>
                <a:gd name="connsiteY3642" fmla="*/ 831852 h 1762127"/>
                <a:gd name="connsiteX3643" fmla="*/ 7751645 w 9759834"/>
                <a:gd name="connsiteY3643" fmla="*/ 797720 h 1762127"/>
                <a:gd name="connsiteX3644" fmla="*/ 7785777 w 9759834"/>
                <a:gd name="connsiteY3644" fmla="*/ 763588 h 1762127"/>
                <a:gd name="connsiteX3645" fmla="*/ 7706402 w 9759834"/>
                <a:gd name="connsiteY3645" fmla="*/ 763588 h 1762127"/>
                <a:gd name="connsiteX3646" fmla="*/ 7740534 w 9759834"/>
                <a:gd name="connsiteY3646" fmla="*/ 797720 h 1762127"/>
                <a:gd name="connsiteX3647" fmla="*/ 7706402 w 9759834"/>
                <a:gd name="connsiteY3647" fmla="*/ 831852 h 1762127"/>
                <a:gd name="connsiteX3648" fmla="*/ 7672270 w 9759834"/>
                <a:gd name="connsiteY3648" fmla="*/ 797720 h 1762127"/>
                <a:gd name="connsiteX3649" fmla="*/ 7706402 w 9759834"/>
                <a:gd name="connsiteY3649" fmla="*/ 763588 h 1762127"/>
                <a:gd name="connsiteX3650" fmla="*/ 7620677 w 9759834"/>
                <a:gd name="connsiteY3650" fmla="*/ 763588 h 1762127"/>
                <a:gd name="connsiteX3651" fmla="*/ 7654809 w 9759834"/>
                <a:gd name="connsiteY3651" fmla="*/ 797720 h 1762127"/>
                <a:gd name="connsiteX3652" fmla="*/ 7620677 w 9759834"/>
                <a:gd name="connsiteY3652" fmla="*/ 831852 h 1762127"/>
                <a:gd name="connsiteX3653" fmla="*/ 7586545 w 9759834"/>
                <a:gd name="connsiteY3653" fmla="*/ 797720 h 1762127"/>
                <a:gd name="connsiteX3654" fmla="*/ 7620677 w 9759834"/>
                <a:gd name="connsiteY3654" fmla="*/ 763588 h 1762127"/>
                <a:gd name="connsiteX3655" fmla="*/ 7534952 w 9759834"/>
                <a:gd name="connsiteY3655" fmla="*/ 763588 h 1762127"/>
                <a:gd name="connsiteX3656" fmla="*/ 7569084 w 9759834"/>
                <a:gd name="connsiteY3656" fmla="*/ 797720 h 1762127"/>
                <a:gd name="connsiteX3657" fmla="*/ 7534952 w 9759834"/>
                <a:gd name="connsiteY3657" fmla="*/ 831852 h 1762127"/>
                <a:gd name="connsiteX3658" fmla="*/ 7500820 w 9759834"/>
                <a:gd name="connsiteY3658" fmla="*/ 797720 h 1762127"/>
                <a:gd name="connsiteX3659" fmla="*/ 7534952 w 9759834"/>
                <a:gd name="connsiteY3659" fmla="*/ 763588 h 1762127"/>
                <a:gd name="connsiteX3660" fmla="*/ 7449227 w 9759834"/>
                <a:gd name="connsiteY3660" fmla="*/ 763588 h 1762127"/>
                <a:gd name="connsiteX3661" fmla="*/ 7483359 w 9759834"/>
                <a:gd name="connsiteY3661" fmla="*/ 797720 h 1762127"/>
                <a:gd name="connsiteX3662" fmla="*/ 7449227 w 9759834"/>
                <a:gd name="connsiteY3662" fmla="*/ 831852 h 1762127"/>
                <a:gd name="connsiteX3663" fmla="*/ 7415095 w 9759834"/>
                <a:gd name="connsiteY3663" fmla="*/ 797720 h 1762127"/>
                <a:gd name="connsiteX3664" fmla="*/ 7449227 w 9759834"/>
                <a:gd name="connsiteY3664" fmla="*/ 763588 h 1762127"/>
                <a:gd name="connsiteX3665" fmla="*/ 7366677 w 9759834"/>
                <a:gd name="connsiteY3665" fmla="*/ 763588 h 1762127"/>
                <a:gd name="connsiteX3666" fmla="*/ 7403984 w 9759834"/>
                <a:gd name="connsiteY3666" fmla="*/ 797720 h 1762127"/>
                <a:gd name="connsiteX3667" fmla="*/ 7366677 w 9759834"/>
                <a:gd name="connsiteY3667" fmla="*/ 831852 h 1762127"/>
                <a:gd name="connsiteX3668" fmla="*/ 7329370 w 9759834"/>
                <a:gd name="connsiteY3668" fmla="*/ 797720 h 1762127"/>
                <a:gd name="connsiteX3669" fmla="*/ 7366677 w 9759834"/>
                <a:gd name="connsiteY3669" fmla="*/ 763588 h 1762127"/>
                <a:gd name="connsiteX3670" fmla="*/ 7284127 w 9759834"/>
                <a:gd name="connsiteY3670" fmla="*/ 763588 h 1762127"/>
                <a:gd name="connsiteX3671" fmla="*/ 7318259 w 9759834"/>
                <a:gd name="connsiteY3671" fmla="*/ 797720 h 1762127"/>
                <a:gd name="connsiteX3672" fmla="*/ 7284127 w 9759834"/>
                <a:gd name="connsiteY3672" fmla="*/ 831852 h 1762127"/>
                <a:gd name="connsiteX3673" fmla="*/ 7249995 w 9759834"/>
                <a:gd name="connsiteY3673" fmla="*/ 797720 h 1762127"/>
                <a:gd name="connsiteX3674" fmla="*/ 7284127 w 9759834"/>
                <a:gd name="connsiteY3674" fmla="*/ 763588 h 1762127"/>
                <a:gd name="connsiteX3675" fmla="*/ 7198402 w 9759834"/>
                <a:gd name="connsiteY3675" fmla="*/ 763588 h 1762127"/>
                <a:gd name="connsiteX3676" fmla="*/ 7232534 w 9759834"/>
                <a:gd name="connsiteY3676" fmla="*/ 797720 h 1762127"/>
                <a:gd name="connsiteX3677" fmla="*/ 7198402 w 9759834"/>
                <a:gd name="connsiteY3677" fmla="*/ 831852 h 1762127"/>
                <a:gd name="connsiteX3678" fmla="*/ 7164270 w 9759834"/>
                <a:gd name="connsiteY3678" fmla="*/ 797720 h 1762127"/>
                <a:gd name="connsiteX3679" fmla="*/ 7198402 w 9759834"/>
                <a:gd name="connsiteY3679" fmla="*/ 763588 h 1762127"/>
                <a:gd name="connsiteX3680" fmla="*/ 7112677 w 9759834"/>
                <a:gd name="connsiteY3680" fmla="*/ 763588 h 1762127"/>
                <a:gd name="connsiteX3681" fmla="*/ 7146809 w 9759834"/>
                <a:gd name="connsiteY3681" fmla="*/ 797720 h 1762127"/>
                <a:gd name="connsiteX3682" fmla="*/ 7112677 w 9759834"/>
                <a:gd name="connsiteY3682" fmla="*/ 831852 h 1762127"/>
                <a:gd name="connsiteX3683" fmla="*/ 7078545 w 9759834"/>
                <a:gd name="connsiteY3683" fmla="*/ 797720 h 1762127"/>
                <a:gd name="connsiteX3684" fmla="*/ 7112677 w 9759834"/>
                <a:gd name="connsiteY3684" fmla="*/ 763588 h 1762127"/>
                <a:gd name="connsiteX3685" fmla="*/ 7027745 w 9759834"/>
                <a:gd name="connsiteY3685" fmla="*/ 763588 h 1762127"/>
                <a:gd name="connsiteX3686" fmla="*/ 7062670 w 9759834"/>
                <a:gd name="connsiteY3686" fmla="*/ 797720 h 1762127"/>
                <a:gd name="connsiteX3687" fmla="*/ 7027745 w 9759834"/>
                <a:gd name="connsiteY3687" fmla="*/ 831852 h 1762127"/>
                <a:gd name="connsiteX3688" fmla="*/ 6992820 w 9759834"/>
                <a:gd name="connsiteY3688" fmla="*/ 797720 h 1762127"/>
                <a:gd name="connsiteX3689" fmla="*/ 7027745 w 9759834"/>
                <a:gd name="connsiteY3689" fmla="*/ 763588 h 1762127"/>
                <a:gd name="connsiteX3690" fmla="*/ 6861852 w 9759834"/>
                <a:gd name="connsiteY3690" fmla="*/ 763588 h 1762127"/>
                <a:gd name="connsiteX3691" fmla="*/ 6895984 w 9759834"/>
                <a:gd name="connsiteY3691" fmla="*/ 797720 h 1762127"/>
                <a:gd name="connsiteX3692" fmla="*/ 6861852 w 9759834"/>
                <a:gd name="connsiteY3692" fmla="*/ 831852 h 1762127"/>
                <a:gd name="connsiteX3693" fmla="*/ 6827720 w 9759834"/>
                <a:gd name="connsiteY3693" fmla="*/ 797720 h 1762127"/>
                <a:gd name="connsiteX3694" fmla="*/ 6861852 w 9759834"/>
                <a:gd name="connsiteY3694" fmla="*/ 763588 h 1762127"/>
                <a:gd name="connsiteX3695" fmla="*/ 6776127 w 9759834"/>
                <a:gd name="connsiteY3695" fmla="*/ 763588 h 1762127"/>
                <a:gd name="connsiteX3696" fmla="*/ 6810259 w 9759834"/>
                <a:gd name="connsiteY3696" fmla="*/ 797720 h 1762127"/>
                <a:gd name="connsiteX3697" fmla="*/ 6776127 w 9759834"/>
                <a:gd name="connsiteY3697" fmla="*/ 831852 h 1762127"/>
                <a:gd name="connsiteX3698" fmla="*/ 6741995 w 9759834"/>
                <a:gd name="connsiteY3698" fmla="*/ 797720 h 1762127"/>
                <a:gd name="connsiteX3699" fmla="*/ 6776127 w 9759834"/>
                <a:gd name="connsiteY3699" fmla="*/ 763588 h 1762127"/>
                <a:gd name="connsiteX3700" fmla="*/ 6607852 w 9759834"/>
                <a:gd name="connsiteY3700" fmla="*/ 763588 h 1762127"/>
                <a:gd name="connsiteX3701" fmla="*/ 6645159 w 9759834"/>
                <a:gd name="connsiteY3701" fmla="*/ 797720 h 1762127"/>
                <a:gd name="connsiteX3702" fmla="*/ 6607852 w 9759834"/>
                <a:gd name="connsiteY3702" fmla="*/ 831852 h 1762127"/>
                <a:gd name="connsiteX3703" fmla="*/ 6570545 w 9759834"/>
                <a:gd name="connsiteY3703" fmla="*/ 797720 h 1762127"/>
                <a:gd name="connsiteX3704" fmla="*/ 6607852 w 9759834"/>
                <a:gd name="connsiteY3704" fmla="*/ 763588 h 1762127"/>
                <a:gd name="connsiteX3705" fmla="*/ 6525302 w 9759834"/>
                <a:gd name="connsiteY3705" fmla="*/ 763588 h 1762127"/>
                <a:gd name="connsiteX3706" fmla="*/ 6559434 w 9759834"/>
                <a:gd name="connsiteY3706" fmla="*/ 797720 h 1762127"/>
                <a:gd name="connsiteX3707" fmla="*/ 6525302 w 9759834"/>
                <a:gd name="connsiteY3707" fmla="*/ 831852 h 1762127"/>
                <a:gd name="connsiteX3708" fmla="*/ 6491170 w 9759834"/>
                <a:gd name="connsiteY3708" fmla="*/ 797720 h 1762127"/>
                <a:gd name="connsiteX3709" fmla="*/ 6525302 w 9759834"/>
                <a:gd name="connsiteY3709" fmla="*/ 763588 h 1762127"/>
                <a:gd name="connsiteX3710" fmla="*/ 6188752 w 9759834"/>
                <a:gd name="connsiteY3710" fmla="*/ 763588 h 1762127"/>
                <a:gd name="connsiteX3711" fmla="*/ 6222884 w 9759834"/>
                <a:gd name="connsiteY3711" fmla="*/ 797720 h 1762127"/>
                <a:gd name="connsiteX3712" fmla="*/ 6188752 w 9759834"/>
                <a:gd name="connsiteY3712" fmla="*/ 831852 h 1762127"/>
                <a:gd name="connsiteX3713" fmla="*/ 6154620 w 9759834"/>
                <a:gd name="connsiteY3713" fmla="*/ 797720 h 1762127"/>
                <a:gd name="connsiteX3714" fmla="*/ 6188752 w 9759834"/>
                <a:gd name="connsiteY3714" fmla="*/ 763588 h 1762127"/>
                <a:gd name="connsiteX3715" fmla="*/ 5680752 w 9759834"/>
                <a:gd name="connsiteY3715" fmla="*/ 763588 h 1762127"/>
                <a:gd name="connsiteX3716" fmla="*/ 5714884 w 9759834"/>
                <a:gd name="connsiteY3716" fmla="*/ 797720 h 1762127"/>
                <a:gd name="connsiteX3717" fmla="*/ 5680752 w 9759834"/>
                <a:gd name="connsiteY3717" fmla="*/ 831852 h 1762127"/>
                <a:gd name="connsiteX3718" fmla="*/ 5646620 w 9759834"/>
                <a:gd name="connsiteY3718" fmla="*/ 797720 h 1762127"/>
                <a:gd name="connsiteX3719" fmla="*/ 5680752 w 9759834"/>
                <a:gd name="connsiteY3719" fmla="*/ 763588 h 1762127"/>
                <a:gd name="connsiteX3720" fmla="*/ 5595820 w 9759834"/>
                <a:gd name="connsiteY3720" fmla="*/ 763588 h 1762127"/>
                <a:gd name="connsiteX3721" fmla="*/ 5630745 w 9759834"/>
                <a:gd name="connsiteY3721" fmla="*/ 797720 h 1762127"/>
                <a:gd name="connsiteX3722" fmla="*/ 5595820 w 9759834"/>
                <a:gd name="connsiteY3722" fmla="*/ 831852 h 1762127"/>
                <a:gd name="connsiteX3723" fmla="*/ 5560895 w 9759834"/>
                <a:gd name="connsiteY3723" fmla="*/ 797720 h 1762127"/>
                <a:gd name="connsiteX3724" fmla="*/ 5595820 w 9759834"/>
                <a:gd name="connsiteY3724" fmla="*/ 763588 h 1762127"/>
                <a:gd name="connsiteX3725" fmla="*/ 4332171 w 9759834"/>
                <a:gd name="connsiteY3725" fmla="*/ 763588 h 1762127"/>
                <a:gd name="connsiteX3726" fmla="*/ 4368684 w 9759834"/>
                <a:gd name="connsiteY3726" fmla="*/ 797720 h 1762127"/>
                <a:gd name="connsiteX3727" fmla="*/ 4332171 w 9759834"/>
                <a:gd name="connsiteY3727" fmla="*/ 831852 h 1762127"/>
                <a:gd name="connsiteX3728" fmla="*/ 4295658 w 9759834"/>
                <a:gd name="connsiteY3728" fmla="*/ 797720 h 1762127"/>
                <a:gd name="connsiteX3729" fmla="*/ 4332171 w 9759834"/>
                <a:gd name="connsiteY3729" fmla="*/ 763588 h 1762127"/>
                <a:gd name="connsiteX3730" fmla="*/ 4248827 w 9759834"/>
                <a:gd name="connsiteY3730" fmla="*/ 763588 h 1762127"/>
                <a:gd name="connsiteX3731" fmla="*/ 4282959 w 9759834"/>
                <a:gd name="connsiteY3731" fmla="*/ 797720 h 1762127"/>
                <a:gd name="connsiteX3732" fmla="*/ 4248827 w 9759834"/>
                <a:gd name="connsiteY3732" fmla="*/ 831852 h 1762127"/>
                <a:gd name="connsiteX3733" fmla="*/ 4214695 w 9759834"/>
                <a:gd name="connsiteY3733" fmla="*/ 797720 h 1762127"/>
                <a:gd name="connsiteX3734" fmla="*/ 4248827 w 9759834"/>
                <a:gd name="connsiteY3734" fmla="*/ 763588 h 1762127"/>
                <a:gd name="connsiteX3735" fmla="*/ 4163895 w 9759834"/>
                <a:gd name="connsiteY3735" fmla="*/ 763588 h 1762127"/>
                <a:gd name="connsiteX3736" fmla="*/ 4198820 w 9759834"/>
                <a:gd name="connsiteY3736" fmla="*/ 797720 h 1762127"/>
                <a:gd name="connsiteX3737" fmla="*/ 4163895 w 9759834"/>
                <a:gd name="connsiteY3737" fmla="*/ 831852 h 1762127"/>
                <a:gd name="connsiteX3738" fmla="*/ 4128970 w 9759834"/>
                <a:gd name="connsiteY3738" fmla="*/ 797720 h 1762127"/>
                <a:gd name="connsiteX3739" fmla="*/ 4163895 w 9759834"/>
                <a:gd name="connsiteY3739" fmla="*/ 763588 h 1762127"/>
                <a:gd name="connsiteX3740" fmla="*/ 4078170 w 9759834"/>
                <a:gd name="connsiteY3740" fmla="*/ 763588 h 1762127"/>
                <a:gd name="connsiteX3741" fmla="*/ 4113095 w 9759834"/>
                <a:gd name="connsiteY3741" fmla="*/ 797720 h 1762127"/>
                <a:gd name="connsiteX3742" fmla="*/ 4078170 w 9759834"/>
                <a:gd name="connsiteY3742" fmla="*/ 831852 h 1762127"/>
                <a:gd name="connsiteX3743" fmla="*/ 4043245 w 9759834"/>
                <a:gd name="connsiteY3743" fmla="*/ 797720 h 1762127"/>
                <a:gd name="connsiteX3744" fmla="*/ 4078170 w 9759834"/>
                <a:gd name="connsiteY3744" fmla="*/ 763588 h 1762127"/>
                <a:gd name="connsiteX3745" fmla="*/ 3993240 w 9759834"/>
                <a:gd name="connsiteY3745" fmla="*/ 763588 h 1762127"/>
                <a:gd name="connsiteX3746" fmla="*/ 4027372 w 9759834"/>
                <a:gd name="connsiteY3746" fmla="*/ 797720 h 1762127"/>
                <a:gd name="connsiteX3747" fmla="*/ 3993240 w 9759834"/>
                <a:gd name="connsiteY3747" fmla="*/ 831852 h 1762127"/>
                <a:gd name="connsiteX3748" fmla="*/ 3959108 w 9759834"/>
                <a:gd name="connsiteY3748" fmla="*/ 797720 h 1762127"/>
                <a:gd name="connsiteX3749" fmla="*/ 3993240 w 9759834"/>
                <a:gd name="connsiteY3749" fmla="*/ 763588 h 1762127"/>
                <a:gd name="connsiteX3750" fmla="*/ 3912277 w 9759834"/>
                <a:gd name="connsiteY3750" fmla="*/ 763588 h 1762127"/>
                <a:gd name="connsiteX3751" fmla="*/ 3946409 w 9759834"/>
                <a:gd name="connsiteY3751" fmla="*/ 797720 h 1762127"/>
                <a:gd name="connsiteX3752" fmla="*/ 3912277 w 9759834"/>
                <a:gd name="connsiteY3752" fmla="*/ 831852 h 1762127"/>
                <a:gd name="connsiteX3753" fmla="*/ 3878145 w 9759834"/>
                <a:gd name="connsiteY3753" fmla="*/ 797720 h 1762127"/>
                <a:gd name="connsiteX3754" fmla="*/ 3912277 w 9759834"/>
                <a:gd name="connsiteY3754" fmla="*/ 763588 h 1762127"/>
                <a:gd name="connsiteX3755" fmla="*/ 3826552 w 9759834"/>
                <a:gd name="connsiteY3755" fmla="*/ 763588 h 1762127"/>
                <a:gd name="connsiteX3756" fmla="*/ 3860684 w 9759834"/>
                <a:gd name="connsiteY3756" fmla="*/ 797720 h 1762127"/>
                <a:gd name="connsiteX3757" fmla="*/ 3826552 w 9759834"/>
                <a:gd name="connsiteY3757" fmla="*/ 831852 h 1762127"/>
                <a:gd name="connsiteX3758" fmla="*/ 3792420 w 9759834"/>
                <a:gd name="connsiteY3758" fmla="*/ 797720 h 1762127"/>
                <a:gd name="connsiteX3759" fmla="*/ 3826552 w 9759834"/>
                <a:gd name="connsiteY3759" fmla="*/ 763588 h 1762127"/>
                <a:gd name="connsiteX3760" fmla="*/ 3234415 w 9759834"/>
                <a:gd name="connsiteY3760" fmla="*/ 763588 h 1762127"/>
                <a:gd name="connsiteX3761" fmla="*/ 3268547 w 9759834"/>
                <a:gd name="connsiteY3761" fmla="*/ 797720 h 1762127"/>
                <a:gd name="connsiteX3762" fmla="*/ 3234415 w 9759834"/>
                <a:gd name="connsiteY3762" fmla="*/ 831852 h 1762127"/>
                <a:gd name="connsiteX3763" fmla="*/ 3200283 w 9759834"/>
                <a:gd name="connsiteY3763" fmla="*/ 797720 h 1762127"/>
                <a:gd name="connsiteX3764" fmla="*/ 3234415 w 9759834"/>
                <a:gd name="connsiteY3764" fmla="*/ 763588 h 1762127"/>
                <a:gd name="connsiteX3765" fmla="*/ 3068520 w 9759834"/>
                <a:gd name="connsiteY3765" fmla="*/ 763588 h 1762127"/>
                <a:gd name="connsiteX3766" fmla="*/ 3103445 w 9759834"/>
                <a:gd name="connsiteY3766" fmla="*/ 797720 h 1762127"/>
                <a:gd name="connsiteX3767" fmla="*/ 3068520 w 9759834"/>
                <a:gd name="connsiteY3767" fmla="*/ 831852 h 1762127"/>
                <a:gd name="connsiteX3768" fmla="*/ 3033595 w 9759834"/>
                <a:gd name="connsiteY3768" fmla="*/ 797720 h 1762127"/>
                <a:gd name="connsiteX3769" fmla="*/ 3068520 w 9759834"/>
                <a:gd name="connsiteY3769" fmla="*/ 763588 h 1762127"/>
                <a:gd name="connsiteX3770" fmla="*/ 2897865 w 9759834"/>
                <a:gd name="connsiteY3770" fmla="*/ 763588 h 1762127"/>
                <a:gd name="connsiteX3771" fmla="*/ 2931997 w 9759834"/>
                <a:gd name="connsiteY3771" fmla="*/ 797720 h 1762127"/>
                <a:gd name="connsiteX3772" fmla="*/ 2897865 w 9759834"/>
                <a:gd name="connsiteY3772" fmla="*/ 831852 h 1762127"/>
                <a:gd name="connsiteX3773" fmla="*/ 2863733 w 9759834"/>
                <a:gd name="connsiteY3773" fmla="*/ 797720 h 1762127"/>
                <a:gd name="connsiteX3774" fmla="*/ 2897865 w 9759834"/>
                <a:gd name="connsiteY3774" fmla="*/ 763588 h 1762127"/>
                <a:gd name="connsiteX3775" fmla="*/ 2814521 w 9759834"/>
                <a:gd name="connsiteY3775" fmla="*/ 763588 h 1762127"/>
                <a:gd name="connsiteX3776" fmla="*/ 2851034 w 9759834"/>
                <a:gd name="connsiteY3776" fmla="*/ 797720 h 1762127"/>
                <a:gd name="connsiteX3777" fmla="*/ 2814521 w 9759834"/>
                <a:gd name="connsiteY3777" fmla="*/ 831852 h 1762127"/>
                <a:gd name="connsiteX3778" fmla="*/ 2778008 w 9759834"/>
                <a:gd name="connsiteY3778" fmla="*/ 797720 h 1762127"/>
                <a:gd name="connsiteX3779" fmla="*/ 2814521 w 9759834"/>
                <a:gd name="connsiteY3779" fmla="*/ 763588 h 1762127"/>
                <a:gd name="connsiteX3780" fmla="*/ 2732006 w 9759834"/>
                <a:gd name="connsiteY3780" fmla="*/ 763588 h 1762127"/>
                <a:gd name="connsiteX3781" fmla="*/ 2766930 w 9759834"/>
                <a:gd name="connsiteY3781" fmla="*/ 797720 h 1762127"/>
                <a:gd name="connsiteX3782" fmla="*/ 2732006 w 9759834"/>
                <a:gd name="connsiteY3782" fmla="*/ 831852 h 1762127"/>
                <a:gd name="connsiteX3783" fmla="*/ 2697081 w 9759834"/>
                <a:gd name="connsiteY3783" fmla="*/ 797720 h 1762127"/>
                <a:gd name="connsiteX3784" fmla="*/ 2732006 w 9759834"/>
                <a:gd name="connsiteY3784" fmla="*/ 763588 h 1762127"/>
                <a:gd name="connsiteX3785" fmla="*/ 2646283 w 9759834"/>
                <a:gd name="connsiteY3785" fmla="*/ 763588 h 1762127"/>
                <a:gd name="connsiteX3786" fmla="*/ 2681207 w 9759834"/>
                <a:gd name="connsiteY3786" fmla="*/ 797720 h 1762127"/>
                <a:gd name="connsiteX3787" fmla="*/ 2646283 w 9759834"/>
                <a:gd name="connsiteY3787" fmla="*/ 831852 h 1762127"/>
                <a:gd name="connsiteX3788" fmla="*/ 2611358 w 9759834"/>
                <a:gd name="connsiteY3788" fmla="*/ 797720 h 1762127"/>
                <a:gd name="connsiteX3789" fmla="*/ 2646283 w 9759834"/>
                <a:gd name="connsiteY3789" fmla="*/ 763588 h 1762127"/>
                <a:gd name="connsiteX3790" fmla="*/ 2561353 w 9759834"/>
                <a:gd name="connsiteY3790" fmla="*/ 763588 h 1762127"/>
                <a:gd name="connsiteX3791" fmla="*/ 2595485 w 9759834"/>
                <a:gd name="connsiteY3791" fmla="*/ 797720 h 1762127"/>
                <a:gd name="connsiteX3792" fmla="*/ 2561353 w 9759834"/>
                <a:gd name="connsiteY3792" fmla="*/ 831852 h 1762127"/>
                <a:gd name="connsiteX3793" fmla="*/ 2527220 w 9759834"/>
                <a:gd name="connsiteY3793" fmla="*/ 797720 h 1762127"/>
                <a:gd name="connsiteX3794" fmla="*/ 2561353 w 9759834"/>
                <a:gd name="connsiteY3794" fmla="*/ 763588 h 1762127"/>
                <a:gd name="connsiteX3795" fmla="*/ 2475627 w 9759834"/>
                <a:gd name="connsiteY3795" fmla="*/ 763588 h 1762127"/>
                <a:gd name="connsiteX3796" fmla="*/ 2509761 w 9759834"/>
                <a:gd name="connsiteY3796" fmla="*/ 797720 h 1762127"/>
                <a:gd name="connsiteX3797" fmla="*/ 2475627 w 9759834"/>
                <a:gd name="connsiteY3797" fmla="*/ 831852 h 1762127"/>
                <a:gd name="connsiteX3798" fmla="*/ 2441496 w 9759834"/>
                <a:gd name="connsiteY3798" fmla="*/ 797720 h 1762127"/>
                <a:gd name="connsiteX3799" fmla="*/ 2475627 w 9759834"/>
                <a:gd name="connsiteY3799" fmla="*/ 763588 h 1762127"/>
                <a:gd name="connsiteX3800" fmla="*/ 2394666 w 9759834"/>
                <a:gd name="connsiteY3800" fmla="*/ 763588 h 1762127"/>
                <a:gd name="connsiteX3801" fmla="*/ 2428797 w 9759834"/>
                <a:gd name="connsiteY3801" fmla="*/ 797720 h 1762127"/>
                <a:gd name="connsiteX3802" fmla="*/ 2394666 w 9759834"/>
                <a:gd name="connsiteY3802" fmla="*/ 831852 h 1762127"/>
                <a:gd name="connsiteX3803" fmla="*/ 2360533 w 9759834"/>
                <a:gd name="connsiteY3803" fmla="*/ 797720 h 1762127"/>
                <a:gd name="connsiteX3804" fmla="*/ 2394666 w 9759834"/>
                <a:gd name="connsiteY3804" fmla="*/ 763588 h 1762127"/>
                <a:gd name="connsiteX3805" fmla="*/ 2309733 w 9759834"/>
                <a:gd name="connsiteY3805" fmla="*/ 763588 h 1762127"/>
                <a:gd name="connsiteX3806" fmla="*/ 2344659 w 9759834"/>
                <a:gd name="connsiteY3806" fmla="*/ 797720 h 1762127"/>
                <a:gd name="connsiteX3807" fmla="*/ 2309733 w 9759834"/>
                <a:gd name="connsiteY3807" fmla="*/ 831852 h 1762127"/>
                <a:gd name="connsiteX3808" fmla="*/ 2274806 w 9759834"/>
                <a:gd name="connsiteY3808" fmla="*/ 797720 h 1762127"/>
                <a:gd name="connsiteX3809" fmla="*/ 2309733 w 9759834"/>
                <a:gd name="connsiteY3809" fmla="*/ 763588 h 1762127"/>
                <a:gd name="connsiteX3810" fmla="*/ 2224804 w 9759834"/>
                <a:gd name="connsiteY3810" fmla="*/ 763588 h 1762127"/>
                <a:gd name="connsiteX3811" fmla="*/ 2258936 w 9759834"/>
                <a:gd name="connsiteY3811" fmla="*/ 797720 h 1762127"/>
                <a:gd name="connsiteX3812" fmla="*/ 2224804 w 9759834"/>
                <a:gd name="connsiteY3812" fmla="*/ 831852 h 1762127"/>
                <a:gd name="connsiteX3813" fmla="*/ 2190671 w 9759834"/>
                <a:gd name="connsiteY3813" fmla="*/ 797720 h 1762127"/>
                <a:gd name="connsiteX3814" fmla="*/ 2224804 w 9759834"/>
                <a:gd name="connsiteY3814" fmla="*/ 763588 h 1762127"/>
                <a:gd name="connsiteX3815" fmla="*/ 2139081 w 9759834"/>
                <a:gd name="connsiteY3815" fmla="*/ 763588 h 1762127"/>
                <a:gd name="connsiteX3816" fmla="*/ 2173211 w 9759834"/>
                <a:gd name="connsiteY3816" fmla="*/ 797720 h 1762127"/>
                <a:gd name="connsiteX3817" fmla="*/ 2139081 w 9759834"/>
                <a:gd name="connsiteY3817" fmla="*/ 831852 h 1762127"/>
                <a:gd name="connsiteX3818" fmla="*/ 2104948 w 9759834"/>
                <a:gd name="connsiteY3818" fmla="*/ 797720 h 1762127"/>
                <a:gd name="connsiteX3819" fmla="*/ 2139081 w 9759834"/>
                <a:gd name="connsiteY3819" fmla="*/ 763588 h 1762127"/>
                <a:gd name="connsiteX3820" fmla="*/ 2055721 w 9759834"/>
                <a:gd name="connsiteY3820" fmla="*/ 763588 h 1762127"/>
                <a:gd name="connsiteX3821" fmla="*/ 2092234 w 9759834"/>
                <a:gd name="connsiteY3821" fmla="*/ 797720 h 1762127"/>
                <a:gd name="connsiteX3822" fmla="*/ 2055721 w 9759834"/>
                <a:gd name="connsiteY3822" fmla="*/ 831852 h 1762127"/>
                <a:gd name="connsiteX3823" fmla="*/ 2019209 w 9759834"/>
                <a:gd name="connsiteY3823" fmla="*/ 797720 h 1762127"/>
                <a:gd name="connsiteX3824" fmla="*/ 2055721 w 9759834"/>
                <a:gd name="connsiteY3824" fmla="*/ 763588 h 1762127"/>
                <a:gd name="connsiteX3825" fmla="*/ 1973171 w 9759834"/>
                <a:gd name="connsiteY3825" fmla="*/ 763588 h 1762127"/>
                <a:gd name="connsiteX3826" fmla="*/ 2008096 w 9759834"/>
                <a:gd name="connsiteY3826" fmla="*/ 797720 h 1762127"/>
                <a:gd name="connsiteX3827" fmla="*/ 1973171 w 9759834"/>
                <a:gd name="connsiteY3827" fmla="*/ 831852 h 1762127"/>
                <a:gd name="connsiteX3828" fmla="*/ 1938247 w 9759834"/>
                <a:gd name="connsiteY3828" fmla="*/ 797720 h 1762127"/>
                <a:gd name="connsiteX3829" fmla="*/ 1973171 w 9759834"/>
                <a:gd name="connsiteY3829" fmla="*/ 763588 h 1762127"/>
                <a:gd name="connsiteX3830" fmla="*/ 1888243 w 9759834"/>
                <a:gd name="connsiteY3830" fmla="*/ 763588 h 1762127"/>
                <a:gd name="connsiteX3831" fmla="*/ 1922374 w 9759834"/>
                <a:gd name="connsiteY3831" fmla="*/ 797720 h 1762127"/>
                <a:gd name="connsiteX3832" fmla="*/ 1888243 w 9759834"/>
                <a:gd name="connsiteY3832" fmla="*/ 831852 h 1762127"/>
                <a:gd name="connsiteX3833" fmla="*/ 1854111 w 9759834"/>
                <a:gd name="connsiteY3833" fmla="*/ 797720 h 1762127"/>
                <a:gd name="connsiteX3834" fmla="*/ 1888243 w 9759834"/>
                <a:gd name="connsiteY3834" fmla="*/ 763588 h 1762127"/>
                <a:gd name="connsiteX3835" fmla="*/ 1802519 w 9759834"/>
                <a:gd name="connsiteY3835" fmla="*/ 763588 h 1762127"/>
                <a:gd name="connsiteX3836" fmla="*/ 1836651 w 9759834"/>
                <a:gd name="connsiteY3836" fmla="*/ 797720 h 1762127"/>
                <a:gd name="connsiteX3837" fmla="*/ 1802519 w 9759834"/>
                <a:gd name="connsiteY3837" fmla="*/ 831852 h 1762127"/>
                <a:gd name="connsiteX3838" fmla="*/ 1768387 w 9759834"/>
                <a:gd name="connsiteY3838" fmla="*/ 797720 h 1762127"/>
                <a:gd name="connsiteX3839" fmla="*/ 1802519 w 9759834"/>
                <a:gd name="connsiteY3839" fmla="*/ 763588 h 1762127"/>
                <a:gd name="connsiteX3840" fmla="*/ 1719175 w 9759834"/>
                <a:gd name="connsiteY3840" fmla="*/ 763588 h 1762127"/>
                <a:gd name="connsiteX3841" fmla="*/ 1755688 w 9759834"/>
                <a:gd name="connsiteY3841" fmla="*/ 797720 h 1762127"/>
                <a:gd name="connsiteX3842" fmla="*/ 1719175 w 9759834"/>
                <a:gd name="connsiteY3842" fmla="*/ 831852 h 1762127"/>
                <a:gd name="connsiteX3843" fmla="*/ 1682662 w 9759834"/>
                <a:gd name="connsiteY3843" fmla="*/ 797720 h 1762127"/>
                <a:gd name="connsiteX3844" fmla="*/ 1719175 w 9759834"/>
                <a:gd name="connsiteY3844" fmla="*/ 763588 h 1762127"/>
                <a:gd name="connsiteX3845" fmla="*/ 1636620 w 9759834"/>
                <a:gd name="connsiteY3845" fmla="*/ 763588 h 1762127"/>
                <a:gd name="connsiteX3846" fmla="*/ 1671546 w 9759834"/>
                <a:gd name="connsiteY3846" fmla="*/ 797720 h 1762127"/>
                <a:gd name="connsiteX3847" fmla="*/ 1636620 w 9759834"/>
                <a:gd name="connsiteY3847" fmla="*/ 831852 h 1762127"/>
                <a:gd name="connsiteX3848" fmla="*/ 1601695 w 9759834"/>
                <a:gd name="connsiteY3848" fmla="*/ 797720 h 1762127"/>
                <a:gd name="connsiteX3849" fmla="*/ 1636620 w 9759834"/>
                <a:gd name="connsiteY3849" fmla="*/ 763588 h 1762127"/>
                <a:gd name="connsiteX3850" fmla="*/ 1551690 w 9759834"/>
                <a:gd name="connsiteY3850" fmla="*/ 763588 h 1762127"/>
                <a:gd name="connsiteX3851" fmla="*/ 1585822 w 9759834"/>
                <a:gd name="connsiteY3851" fmla="*/ 797720 h 1762127"/>
                <a:gd name="connsiteX3852" fmla="*/ 1551690 w 9759834"/>
                <a:gd name="connsiteY3852" fmla="*/ 831852 h 1762127"/>
                <a:gd name="connsiteX3853" fmla="*/ 1517557 w 9759834"/>
                <a:gd name="connsiteY3853" fmla="*/ 797720 h 1762127"/>
                <a:gd name="connsiteX3854" fmla="*/ 1551690 w 9759834"/>
                <a:gd name="connsiteY3854" fmla="*/ 763588 h 1762127"/>
                <a:gd name="connsiteX3855" fmla="*/ 1465955 w 9759834"/>
                <a:gd name="connsiteY3855" fmla="*/ 763588 h 1762127"/>
                <a:gd name="connsiteX3856" fmla="*/ 1500087 w 9759834"/>
                <a:gd name="connsiteY3856" fmla="*/ 797720 h 1762127"/>
                <a:gd name="connsiteX3857" fmla="*/ 1465955 w 9759834"/>
                <a:gd name="connsiteY3857" fmla="*/ 831852 h 1762127"/>
                <a:gd name="connsiteX3858" fmla="*/ 1431822 w 9759834"/>
                <a:gd name="connsiteY3858" fmla="*/ 797720 h 1762127"/>
                <a:gd name="connsiteX3859" fmla="*/ 1465955 w 9759834"/>
                <a:gd name="connsiteY3859" fmla="*/ 763588 h 1762127"/>
                <a:gd name="connsiteX3860" fmla="*/ 1380218 w 9759834"/>
                <a:gd name="connsiteY3860" fmla="*/ 763588 h 1762127"/>
                <a:gd name="connsiteX3861" fmla="*/ 1414351 w 9759834"/>
                <a:gd name="connsiteY3861" fmla="*/ 797720 h 1762127"/>
                <a:gd name="connsiteX3862" fmla="*/ 1380218 w 9759834"/>
                <a:gd name="connsiteY3862" fmla="*/ 831852 h 1762127"/>
                <a:gd name="connsiteX3863" fmla="*/ 1346087 w 9759834"/>
                <a:gd name="connsiteY3863" fmla="*/ 797720 h 1762127"/>
                <a:gd name="connsiteX3864" fmla="*/ 1380218 w 9759834"/>
                <a:gd name="connsiteY3864" fmla="*/ 763588 h 1762127"/>
                <a:gd name="connsiteX3865" fmla="*/ 1300049 w 9759834"/>
                <a:gd name="connsiteY3865" fmla="*/ 763588 h 1762127"/>
                <a:gd name="connsiteX3866" fmla="*/ 1334974 w 9759834"/>
                <a:gd name="connsiteY3866" fmla="*/ 797720 h 1762127"/>
                <a:gd name="connsiteX3867" fmla="*/ 1300049 w 9759834"/>
                <a:gd name="connsiteY3867" fmla="*/ 831852 h 1762127"/>
                <a:gd name="connsiteX3868" fmla="*/ 1265124 w 9759834"/>
                <a:gd name="connsiteY3868" fmla="*/ 797720 h 1762127"/>
                <a:gd name="connsiteX3869" fmla="*/ 1300049 w 9759834"/>
                <a:gd name="connsiteY3869" fmla="*/ 763588 h 1762127"/>
                <a:gd name="connsiteX3870" fmla="*/ 1214324 w 9759834"/>
                <a:gd name="connsiteY3870" fmla="*/ 763588 h 1762127"/>
                <a:gd name="connsiteX3871" fmla="*/ 1249249 w 9759834"/>
                <a:gd name="connsiteY3871" fmla="*/ 797720 h 1762127"/>
                <a:gd name="connsiteX3872" fmla="*/ 1214324 w 9759834"/>
                <a:gd name="connsiteY3872" fmla="*/ 831852 h 1762127"/>
                <a:gd name="connsiteX3873" fmla="*/ 1179399 w 9759834"/>
                <a:gd name="connsiteY3873" fmla="*/ 797720 h 1762127"/>
                <a:gd name="connsiteX3874" fmla="*/ 1214324 w 9759834"/>
                <a:gd name="connsiteY3874" fmla="*/ 763588 h 1762127"/>
                <a:gd name="connsiteX3875" fmla="*/ 1129569 w 9759834"/>
                <a:gd name="connsiteY3875" fmla="*/ 763588 h 1762127"/>
                <a:gd name="connsiteX3876" fmla="*/ 1163703 w 9759834"/>
                <a:gd name="connsiteY3876" fmla="*/ 797720 h 1762127"/>
                <a:gd name="connsiteX3877" fmla="*/ 1129569 w 9759834"/>
                <a:gd name="connsiteY3877" fmla="*/ 831852 h 1762127"/>
                <a:gd name="connsiteX3878" fmla="*/ 1095440 w 9759834"/>
                <a:gd name="connsiteY3878" fmla="*/ 797720 h 1762127"/>
                <a:gd name="connsiteX3879" fmla="*/ 1129569 w 9759834"/>
                <a:gd name="connsiteY3879" fmla="*/ 763588 h 1762127"/>
                <a:gd name="connsiteX3880" fmla="*/ 1043844 w 9759834"/>
                <a:gd name="connsiteY3880" fmla="*/ 763588 h 1762127"/>
                <a:gd name="connsiteX3881" fmla="*/ 1077977 w 9759834"/>
                <a:gd name="connsiteY3881" fmla="*/ 797720 h 1762127"/>
                <a:gd name="connsiteX3882" fmla="*/ 1043844 w 9759834"/>
                <a:gd name="connsiteY3882" fmla="*/ 831852 h 1762127"/>
                <a:gd name="connsiteX3883" fmla="*/ 1009710 w 9759834"/>
                <a:gd name="connsiteY3883" fmla="*/ 797720 h 1762127"/>
                <a:gd name="connsiteX3884" fmla="*/ 1043844 w 9759834"/>
                <a:gd name="connsiteY3884" fmla="*/ 763588 h 1762127"/>
                <a:gd name="connsiteX3885" fmla="*/ 960493 w 9759834"/>
                <a:gd name="connsiteY3885" fmla="*/ 763588 h 1762127"/>
                <a:gd name="connsiteX3886" fmla="*/ 997009 w 9759834"/>
                <a:gd name="connsiteY3886" fmla="*/ 797720 h 1762127"/>
                <a:gd name="connsiteX3887" fmla="*/ 960493 w 9759834"/>
                <a:gd name="connsiteY3887" fmla="*/ 831852 h 1762127"/>
                <a:gd name="connsiteX3888" fmla="*/ 923978 w 9759834"/>
                <a:gd name="connsiteY3888" fmla="*/ 797720 h 1762127"/>
                <a:gd name="connsiteX3889" fmla="*/ 960493 w 9759834"/>
                <a:gd name="connsiteY3889" fmla="*/ 763588 h 1762127"/>
                <a:gd name="connsiteX3890" fmla="*/ 877939 w 9759834"/>
                <a:gd name="connsiteY3890" fmla="*/ 763588 h 1762127"/>
                <a:gd name="connsiteX3891" fmla="*/ 912864 w 9759834"/>
                <a:gd name="connsiteY3891" fmla="*/ 797720 h 1762127"/>
                <a:gd name="connsiteX3892" fmla="*/ 877939 w 9759834"/>
                <a:gd name="connsiteY3892" fmla="*/ 831852 h 1762127"/>
                <a:gd name="connsiteX3893" fmla="*/ 843014 w 9759834"/>
                <a:gd name="connsiteY3893" fmla="*/ 797720 h 1762127"/>
                <a:gd name="connsiteX3894" fmla="*/ 877939 w 9759834"/>
                <a:gd name="connsiteY3894" fmla="*/ 763588 h 1762127"/>
                <a:gd name="connsiteX3895" fmla="*/ 793002 w 9759834"/>
                <a:gd name="connsiteY3895" fmla="*/ 763588 h 1762127"/>
                <a:gd name="connsiteX3896" fmla="*/ 827137 w 9759834"/>
                <a:gd name="connsiteY3896" fmla="*/ 797720 h 1762127"/>
                <a:gd name="connsiteX3897" fmla="*/ 793002 w 9759834"/>
                <a:gd name="connsiteY3897" fmla="*/ 831852 h 1762127"/>
                <a:gd name="connsiteX3898" fmla="*/ 758871 w 9759834"/>
                <a:gd name="connsiteY3898" fmla="*/ 797720 h 1762127"/>
                <a:gd name="connsiteX3899" fmla="*/ 793002 w 9759834"/>
                <a:gd name="connsiteY3899" fmla="*/ 763588 h 1762127"/>
                <a:gd name="connsiteX3900" fmla="*/ 707116 w 9759834"/>
                <a:gd name="connsiteY3900" fmla="*/ 763588 h 1762127"/>
                <a:gd name="connsiteX3901" fmla="*/ 741248 w 9759834"/>
                <a:gd name="connsiteY3901" fmla="*/ 797720 h 1762127"/>
                <a:gd name="connsiteX3902" fmla="*/ 707116 w 9759834"/>
                <a:gd name="connsiteY3902" fmla="*/ 831852 h 1762127"/>
                <a:gd name="connsiteX3903" fmla="*/ 672984 w 9759834"/>
                <a:gd name="connsiteY3903" fmla="*/ 797720 h 1762127"/>
                <a:gd name="connsiteX3904" fmla="*/ 707116 w 9759834"/>
                <a:gd name="connsiteY3904" fmla="*/ 763588 h 1762127"/>
                <a:gd name="connsiteX3905" fmla="*/ 621537 w 9759834"/>
                <a:gd name="connsiteY3905" fmla="*/ 763588 h 1762127"/>
                <a:gd name="connsiteX3906" fmla="*/ 655670 w 9759834"/>
                <a:gd name="connsiteY3906" fmla="*/ 797720 h 1762127"/>
                <a:gd name="connsiteX3907" fmla="*/ 621537 w 9759834"/>
                <a:gd name="connsiteY3907" fmla="*/ 831852 h 1762127"/>
                <a:gd name="connsiteX3908" fmla="*/ 587405 w 9759834"/>
                <a:gd name="connsiteY3908" fmla="*/ 797720 h 1762127"/>
                <a:gd name="connsiteX3909" fmla="*/ 621537 w 9759834"/>
                <a:gd name="connsiteY3909" fmla="*/ 763588 h 1762127"/>
                <a:gd name="connsiteX3910" fmla="*/ 541221 w 9759834"/>
                <a:gd name="connsiteY3910" fmla="*/ 763588 h 1762127"/>
                <a:gd name="connsiteX3911" fmla="*/ 576146 w 9759834"/>
                <a:gd name="connsiteY3911" fmla="*/ 797720 h 1762127"/>
                <a:gd name="connsiteX3912" fmla="*/ 541221 w 9759834"/>
                <a:gd name="connsiteY3912" fmla="*/ 831852 h 1762127"/>
                <a:gd name="connsiteX3913" fmla="*/ 506297 w 9759834"/>
                <a:gd name="connsiteY3913" fmla="*/ 797720 h 1762127"/>
                <a:gd name="connsiteX3914" fmla="*/ 541221 w 9759834"/>
                <a:gd name="connsiteY3914" fmla="*/ 763588 h 1762127"/>
                <a:gd name="connsiteX3915" fmla="*/ 9138327 w 9759834"/>
                <a:gd name="connsiteY3915" fmla="*/ 677863 h 1762127"/>
                <a:gd name="connsiteX3916" fmla="*/ 9172459 w 9759834"/>
                <a:gd name="connsiteY3916" fmla="*/ 711995 h 1762127"/>
                <a:gd name="connsiteX3917" fmla="*/ 9138327 w 9759834"/>
                <a:gd name="connsiteY3917" fmla="*/ 746127 h 1762127"/>
                <a:gd name="connsiteX3918" fmla="*/ 9104195 w 9759834"/>
                <a:gd name="connsiteY3918" fmla="*/ 711995 h 1762127"/>
                <a:gd name="connsiteX3919" fmla="*/ 9138327 w 9759834"/>
                <a:gd name="connsiteY3919" fmla="*/ 677863 h 1762127"/>
                <a:gd name="connsiteX3920" fmla="*/ 9052602 w 9759834"/>
                <a:gd name="connsiteY3920" fmla="*/ 677863 h 1762127"/>
                <a:gd name="connsiteX3921" fmla="*/ 9086734 w 9759834"/>
                <a:gd name="connsiteY3921" fmla="*/ 711995 h 1762127"/>
                <a:gd name="connsiteX3922" fmla="*/ 9052602 w 9759834"/>
                <a:gd name="connsiteY3922" fmla="*/ 746127 h 1762127"/>
                <a:gd name="connsiteX3923" fmla="*/ 9018470 w 9759834"/>
                <a:gd name="connsiteY3923" fmla="*/ 711995 h 1762127"/>
                <a:gd name="connsiteX3924" fmla="*/ 9052602 w 9759834"/>
                <a:gd name="connsiteY3924" fmla="*/ 677863 h 1762127"/>
                <a:gd name="connsiteX3925" fmla="*/ 8966877 w 9759834"/>
                <a:gd name="connsiteY3925" fmla="*/ 677863 h 1762127"/>
                <a:gd name="connsiteX3926" fmla="*/ 9001009 w 9759834"/>
                <a:gd name="connsiteY3926" fmla="*/ 711995 h 1762127"/>
                <a:gd name="connsiteX3927" fmla="*/ 8966877 w 9759834"/>
                <a:gd name="connsiteY3927" fmla="*/ 746127 h 1762127"/>
                <a:gd name="connsiteX3928" fmla="*/ 8932745 w 9759834"/>
                <a:gd name="connsiteY3928" fmla="*/ 711995 h 1762127"/>
                <a:gd name="connsiteX3929" fmla="*/ 8966877 w 9759834"/>
                <a:gd name="connsiteY3929" fmla="*/ 677863 h 1762127"/>
                <a:gd name="connsiteX3930" fmla="*/ 8884327 w 9759834"/>
                <a:gd name="connsiteY3930" fmla="*/ 677863 h 1762127"/>
                <a:gd name="connsiteX3931" fmla="*/ 8921634 w 9759834"/>
                <a:gd name="connsiteY3931" fmla="*/ 711995 h 1762127"/>
                <a:gd name="connsiteX3932" fmla="*/ 8884327 w 9759834"/>
                <a:gd name="connsiteY3932" fmla="*/ 746127 h 1762127"/>
                <a:gd name="connsiteX3933" fmla="*/ 8847020 w 9759834"/>
                <a:gd name="connsiteY3933" fmla="*/ 711995 h 1762127"/>
                <a:gd name="connsiteX3934" fmla="*/ 8884327 w 9759834"/>
                <a:gd name="connsiteY3934" fmla="*/ 677863 h 1762127"/>
                <a:gd name="connsiteX3935" fmla="*/ 8801777 w 9759834"/>
                <a:gd name="connsiteY3935" fmla="*/ 677863 h 1762127"/>
                <a:gd name="connsiteX3936" fmla="*/ 8835909 w 9759834"/>
                <a:gd name="connsiteY3936" fmla="*/ 711995 h 1762127"/>
                <a:gd name="connsiteX3937" fmla="*/ 8801777 w 9759834"/>
                <a:gd name="connsiteY3937" fmla="*/ 746127 h 1762127"/>
                <a:gd name="connsiteX3938" fmla="*/ 8767645 w 9759834"/>
                <a:gd name="connsiteY3938" fmla="*/ 711995 h 1762127"/>
                <a:gd name="connsiteX3939" fmla="*/ 8801777 w 9759834"/>
                <a:gd name="connsiteY3939" fmla="*/ 677863 h 1762127"/>
                <a:gd name="connsiteX3940" fmla="*/ 8716052 w 9759834"/>
                <a:gd name="connsiteY3940" fmla="*/ 677863 h 1762127"/>
                <a:gd name="connsiteX3941" fmla="*/ 8750184 w 9759834"/>
                <a:gd name="connsiteY3941" fmla="*/ 711995 h 1762127"/>
                <a:gd name="connsiteX3942" fmla="*/ 8716052 w 9759834"/>
                <a:gd name="connsiteY3942" fmla="*/ 746127 h 1762127"/>
                <a:gd name="connsiteX3943" fmla="*/ 8681920 w 9759834"/>
                <a:gd name="connsiteY3943" fmla="*/ 711995 h 1762127"/>
                <a:gd name="connsiteX3944" fmla="*/ 8716052 w 9759834"/>
                <a:gd name="connsiteY3944" fmla="*/ 677863 h 1762127"/>
                <a:gd name="connsiteX3945" fmla="*/ 8630327 w 9759834"/>
                <a:gd name="connsiteY3945" fmla="*/ 677863 h 1762127"/>
                <a:gd name="connsiteX3946" fmla="*/ 8664459 w 9759834"/>
                <a:gd name="connsiteY3946" fmla="*/ 711995 h 1762127"/>
                <a:gd name="connsiteX3947" fmla="*/ 8630327 w 9759834"/>
                <a:gd name="connsiteY3947" fmla="*/ 746127 h 1762127"/>
                <a:gd name="connsiteX3948" fmla="*/ 8596195 w 9759834"/>
                <a:gd name="connsiteY3948" fmla="*/ 711995 h 1762127"/>
                <a:gd name="connsiteX3949" fmla="*/ 8630327 w 9759834"/>
                <a:gd name="connsiteY3949" fmla="*/ 677863 h 1762127"/>
                <a:gd name="connsiteX3950" fmla="*/ 8544602 w 9759834"/>
                <a:gd name="connsiteY3950" fmla="*/ 677863 h 1762127"/>
                <a:gd name="connsiteX3951" fmla="*/ 8578734 w 9759834"/>
                <a:gd name="connsiteY3951" fmla="*/ 711995 h 1762127"/>
                <a:gd name="connsiteX3952" fmla="*/ 8544602 w 9759834"/>
                <a:gd name="connsiteY3952" fmla="*/ 746127 h 1762127"/>
                <a:gd name="connsiteX3953" fmla="*/ 8510470 w 9759834"/>
                <a:gd name="connsiteY3953" fmla="*/ 711995 h 1762127"/>
                <a:gd name="connsiteX3954" fmla="*/ 8544602 w 9759834"/>
                <a:gd name="connsiteY3954" fmla="*/ 677863 h 1762127"/>
                <a:gd name="connsiteX3955" fmla="*/ 8465227 w 9759834"/>
                <a:gd name="connsiteY3955" fmla="*/ 677863 h 1762127"/>
                <a:gd name="connsiteX3956" fmla="*/ 8499359 w 9759834"/>
                <a:gd name="connsiteY3956" fmla="*/ 711995 h 1762127"/>
                <a:gd name="connsiteX3957" fmla="*/ 8465227 w 9759834"/>
                <a:gd name="connsiteY3957" fmla="*/ 746127 h 1762127"/>
                <a:gd name="connsiteX3958" fmla="*/ 8431095 w 9759834"/>
                <a:gd name="connsiteY3958" fmla="*/ 711995 h 1762127"/>
                <a:gd name="connsiteX3959" fmla="*/ 8465227 w 9759834"/>
                <a:gd name="connsiteY3959" fmla="*/ 677863 h 1762127"/>
                <a:gd name="connsiteX3960" fmla="*/ 8379502 w 9759834"/>
                <a:gd name="connsiteY3960" fmla="*/ 677863 h 1762127"/>
                <a:gd name="connsiteX3961" fmla="*/ 8413634 w 9759834"/>
                <a:gd name="connsiteY3961" fmla="*/ 711995 h 1762127"/>
                <a:gd name="connsiteX3962" fmla="*/ 8379502 w 9759834"/>
                <a:gd name="connsiteY3962" fmla="*/ 746127 h 1762127"/>
                <a:gd name="connsiteX3963" fmla="*/ 8345370 w 9759834"/>
                <a:gd name="connsiteY3963" fmla="*/ 711995 h 1762127"/>
                <a:gd name="connsiteX3964" fmla="*/ 8379502 w 9759834"/>
                <a:gd name="connsiteY3964" fmla="*/ 677863 h 1762127"/>
                <a:gd name="connsiteX3965" fmla="*/ 8293777 w 9759834"/>
                <a:gd name="connsiteY3965" fmla="*/ 677863 h 1762127"/>
                <a:gd name="connsiteX3966" fmla="*/ 8327909 w 9759834"/>
                <a:gd name="connsiteY3966" fmla="*/ 711995 h 1762127"/>
                <a:gd name="connsiteX3967" fmla="*/ 8293777 w 9759834"/>
                <a:gd name="connsiteY3967" fmla="*/ 746127 h 1762127"/>
                <a:gd name="connsiteX3968" fmla="*/ 8259645 w 9759834"/>
                <a:gd name="connsiteY3968" fmla="*/ 711995 h 1762127"/>
                <a:gd name="connsiteX3969" fmla="*/ 8293777 w 9759834"/>
                <a:gd name="connsiteY3969" fmla="*/ 677863 h 1762127"/>
                <a:gd name="connsiteX3970" fmla="*/ 8208052 w 9759834"/>
                <a:gd name="connsiteY3970" fmla="*/ 677863 h 1762127"/>
                <a:gd name="connsiteX3971" fmla="*/ 8242184 w 9759834"/>
                <a:gd name="connsiteY3971" fmla="*/ 711995 h 1762127"/>
                <a:gd name="connsiteX3972" fmla="*/ 8208052 w 9759834"/>
                <a:gd name="connsiteY3972" fmla="*/ 746127 h 1762127"/>
                <a:gd name="connsiteX3973" fmla="*/ 8173920 w 9759834"/>
                <a:gd name="connsiteY3973" fmla="*/ 711995 h 1762127"/>
                <a:gd name="connsiteX3974" fmla="*/ 8208052 w 9759834"/>
                <a:gd name="connsiteY3974" fmla="*/ 677863 h 1762127"/>
                <a:gd name="connsiteX3975" fmla="*/ 8125502 w 9759834"/>
                <a:gd name="connsiteY3975" fmla="*/ 677863 h 1762127"/>
                <a:gd name="connsiteX3976" fmla="*/ 8162809 w 9759834"/>
                <a:gd name="connsiteY3976" fmla="*/ 711995 h 1762127"/>
                <a:gd name="connsiteX3977" fmla="*/ 8125502 w 9759834"/>
                <a:gd name="connsiteY3977" fmla="*/ 746127 h 1762127"/>
                <a:gd name="connsiteX3978" fmla="*/ 8088195 w 9759834"/>
                <a:gd name="connsiteY3978" fmla="*/ 711995 h 1762127"/>
                <a:gd name="connsiteX3979" fmla="*/ 8125502 w 9759834"/>
                <a:gd name="connsiteY3979" fmla="*/ 677863 h 1762127"/>
                <a:gd name="connsiteX3980" fmla="*/ 8042952 w 9759834"/>
                <a:gd name="connsiteY3980" fmla="*/ 677863 h 1762127"/>
                <a:gd name="connsiteX3981" fmla="*/ 8077084 w 9759834"/>
                <a:gd name="connsiteY3981" fmla="*/ 711995 h 1762127"/>
                <a:gd name="connsiteX3982" fmla="*/ 8042952 w 9759834"/>
                <a:gd name="connsiteY3982" fmla="*/ 746127 h 1762127"/>
                <a:gd name="connsiteX3983" fmla="*/ 8008820 w 9759834"/>
                <a:gd name="connsiteY3983" fmla="*/ 711995 h 1762127"/>
                <a:gd name="connsiteX3984" fmla="*/ 8042952 w 9759834"/>
                <a:gd name="connsiteY3984" fmla="*/ 677863 h 1762127"/>
                <a:gd name="connsiteX3985" fmla="*/ 7957227 w 9759834"/>
                <a:gd name="connsiteY3985" fmla="*/ 677863 h 1762127"/>
                <a:gd name="connsiteX3986" fmla="*/ 7991359 w 9759834"/>
                <a:gd name="connsiteY3986" fmla="*/ 711995 h 1762127"/>
                <a:gd name="connsiteX3987" fmla="*/ 7957227 w 9759834"/>
                <a:gd name="connsiteY3987" fmla="*/ 746127 h 1762127"/>
                <a:gd name="connsiteX3988" fmla="*/ 7923095 w 9759834"/>
                <a:gd name="connsiteY3988" fmla="*/ 711995 h 1762127"/>
                <a:gd name="connsiteX3989" fmla="*/ 7957227 w 9759834"/>
                <a:gd name="connsiteY3989" fmla="*/ 677863 h 1762127"/>
                <a:gd name="connsiteX3990" fmla="*/ 7871502 w 9759834"/>
                <a:gd name="connsiteY3990" fmla="*/ 677863 h 1762127"/>
                <a:gd name="connsiteX3991" fmla="*/ 7905634 w 9759834"/>
                <a:gd name="connsiteY3991" fmla="*/ 711995 h 1762127"/>
                <a:gd name="connsiteX3992" fmla="*/ 7871502 w 9759834"/>
                <a:gd name="connsiteY3992" fmla="*/ 746127 h 1762127"/>
                <a:gd name="connsiteX3993" fmla="*/ 7837370 w 9759834"/>
                <a:gd name="connsiteY3993" fmla="*/ 711995 h 1762127"/>
                <a:gd name="connsiteX3994" fmla="*/ 7871502 w 9759834"/>
                <a:gd name="connsiteY3994" fmla="*/ 677863 h 1762127"/>
                <a:gd name="connsiteX3995" fmla="*/ 7785777 w 9759834"/>
                <a:gd name="connsiteY3995" fmla="*/ 677863 h 1762127"/>
                <a:gd name="connsiteX3996" fmla="*/ 7819909 w 9759834"/>
                <a:gd name="connsiteY3996" fmla="*/ 711995 h 1762127"/>
                <a:gd name="connsiteX3997" fmla="*/ 7785777 w 9759834"/>
                <a:gd name="connsiteY3997" fmla="*/ 746127 h 1762127"/>
                <a:gd name="connsiteX3998" fmla="*/ 7751645 w 9759834"/>
                <a:gd name="connsiteY3998" fmla="*/ 711995 h 1762127"/>
                <a:gd name="connsiteX3999" fmla="*/ 7785777 w 9759834"/>
                <a:gd name="connsiteY3999" fmla="*/ 677863 h 1762127"/>
                <a:gd name="connsiteX4000" fmla="*/ 7706402 w 9759834"/>
                <a:gd name="connsiteY4000" fmla="*/ 677863 h 1762127"/>
                <a:gd name="connsiteX4001" fmla="*/ 7740534 w 9759834"/>
                <a:gd name="connsiteY4001" fmla="*/ 711995 h 1762127"/>
                <a:gd name="connsiteX4002" fmla="*/ 7706402 w 9759834"/>
                <a:gd name="connsiteY4002" fmla="*/ 746127 h 1762127"/>
                <a:gd name="connsiteX4003" fmla="*/ 7672270 w 9759834"/>
                <a:gd name="connsiteY4003" fmla="*/ 711995 h 1762127"/>
                <a:gd name="connsiteX4004" fmla="*/ 7706402 w 9759834"/>
                <a:gd name="connsiteY4004" fmla="*/ 677863 h 1762127"/>
                <a:gd name="connsiteX4005" fmla="*/ 7620677 w 9759834"/>
                <a:gd name="connsiteY4005" fmla="*/ 677863 h 1762127"/>
                <a:gd name="connsiteX4006" fmla="*/ 7654809 w 9759834"/>
                <a:gd name="connsiteY4006" fmla="*/ 711995 h 1762127"/>
                <a:gd name="connsiteX4007" fmla="*/ 7620677 w 9759834"/>
                <a:gd name="connsiteY4007" fmla="*/ 746127 h 1762127"/>
                <a:gd name="connsiteX4008" fmla="*/ 7586545 w 9759834"/>
                <a:gd name="connsiteY4008" fmla="*/ 711995 h 1762127"/>
                <a:gd name="connsiteX4009" fmla="*/ 7620677 w 9759834"/>
                <a:gd name="connsiteY4009" fmla="*/ 677863 h 1762127"/>
                <a:gd name="connsiteX4010" fmla="*/ 7534952 w 9759834"/>
                <a:gd name="connsiteY4010" fmla="*/ 677863 h 1762127"/>
                <a:gd name="connsiteX4011" fmla="*/ 7569084 w 9759834"/>
                <a:gd name="connsiteY4011" fmla="*/ 711995 h 1762127"/>
                <a:gd name="connsiteX4012" fmla="*/ 7534952 w 9759834"/>
                <a:gd name="connsiteY4012" fmla="*/ 746127 h 1762127"/>
                <a:gd name="connsiteX4013" fmla="*/ 7500820 w 9759834"/>
                <a:gd name="connsiteY4013" fmla="*/ 711995 h 1762127"/>
                <a:gd name="connsiteX4014" fmla="*/ 7534952 w 9759834"/>
                <a:gd name="connsiteY4014" fmla="*/ 677863 h 1762127"/>
                <a:gd name="connsiteX4015" fmla="*/ 7449227 w 9759834"/>
                <a:gd name="connsiteY4015" fmla="*/ 677863 h 1762127"/>
                <a:gd name="connsiteX4016" fmla="*/ 7483359 w 9759834"/>
                <a:gd name="connsiteY4016" fmla="*/ 711995 h 1762127"/>
                <a:gd name="connsiteX4017" fmla="*/ 7449227 w 9759834"/>
                <a:gd name="connsiteY4017" fmla="*/ 746127 h 1762127"/>
                <a:gd name="connsiteX4018" fmla="*/ 7415095 w 9759834"/>
                <a:gd name="connsiteY4018" fmla="*/ 711995 h 1762127"/>
                <a:gd name="connsiteX4019" fmla="*/ 7449227 w 9759834"/>
                <a:gd name="connsiteY4019" fmla="*/ 677863 h 1762127"/>
                <a:gd name="connsiteX4020" fmla="*/ 7366677 w 9759834"/>
                <a:gd name="connsiteY4020" fmla="*/ 677863 h 1762127"/>
                <a:gd name="connsiteX4021" fmla="*/ 7403984 w 9759834"/>
                <a:gd name="connsiteY4021" fmla="*/ 711995 h 1762127"/>
                <a:gd name="connsiteX4022" fmla="*/ 7366677 w 9759834"/>
                <a:gd name="connsiteY4022" fmla="*/ 746127 h 1762127"/>
                <a:gd name="connsiteX4023" fmla="*/ 7329370 w 9759834"/>
                <a:gd name="connsiteY4023" fmla="*/ 711995 h 1762127"/>
                <a:gd name="connsiteX4024" fmla="*/ 7366677 w 9759834"/>
                <a:gd name="connsiteY4024" fmla="*/ 677863 h 1762127"/>
                <a:gd name="connsiteX4025" fmla="*/ 7284127 w 9759834"/>
                <a:gd name="connsiteY4025" fmla="*/ 677863 h 1762127"/>
                <a:gd name="connsiteX4026" fmla="*/ 7318259 w 9759834"/>
                <a:gd name="connsiteY4026" fmla="*/ 711995 h 1762127"/>
                <a:gd name="connsiteX4027" fmla="*/ 7284127 w 9759834"/>
                <a:gd name="connsiteY4027" fmla="*/ 746127 h 1762127"/>
                <a:gd name="connsiteX4028" fmla="*/ 7249995 w 9759834"/>
                <a:gd name="connsiteY4028" fmla="*/ 711995 h 1762127"/>
                <a:gd name="connsiteX4029" fmla="*/ 7284127 w 9759834"/>
                <a:gd name="connsiteY4029" fmla="*/ 677863 h 1762127"/>
                <a:gd name="connsiteX4030" fmla="*/ 7198402 w 9759834"/>
                <a:gd name="connsiteY4030" fmla="*/ 677863 h 1762127"/>
                <a:gd name="connsiteX4031" fmla="*/ 7232534 w 9759834"/>
                <a:gd name="connsiteY4031" fmla="*/ 711995 h 1762127"/>
                <a:gd name="connsiteX4032" fmla="*/ 7198402 w 9759834"/>
                <a:gd name="connsiteY4032" fmla="*/ 746127 h 1762127"/>
                <a:gd name="connsiteX4033" fmla="*/ 7164270 w 9759834"/>
                <a:gd name="connsiteY4033" fmla="*/ 711995 h 1762127"/>
                <a:gd name="connsiteX4034" fmla="*/ 7198402 w 9759834"/>
                <a:gd name="connsiteY4034" fmla="*/ 677863 h 1762127"/>
                <a:gd name="connsiteX4035" fmla="*/ 7112677 w 9759834"/>
                <a:gd name="connsiteY4035" fmla="*/ 677863 h 1762127"/>
                <a:gd name="connsiteX4036" fmla="*/ 7146809 w 9759834"/>
                <a:gd name="connsiteY4036" fmla="*/ 711995 h 1762127"/>
                <a:gd name="connsiteX4037" fmla="*/ 7112677 w 9759834"/>
                <a:gd name="connsiteY4037" fmla="*/ 746127 h 1762127"/>
                <a:gd name="connsiteX4038" fmla="*/ 7078545 w 9759834"/>
                <a:gd name="connsiteY4038" fmla="*/ 711995 h 1762127"/>
                <a:gd name="connsiteX4039" fmla="*/ 7112677 w 9759834"/>
                <a:gd name="connsiteY4039" fmla="*/ 677863 h 1762127"/>
                <a:gd name="connsiteX4040" fmla="*/ 7027745 w 9759834"/>
                <a:gd name="connsiteY4040" fmla="*/ 677863 h 1762127"/>
                <a:gd name="connsiteX4041" fmla="*/ 7062670 w 9759834"/>
                <a:gd name="connsiteY4041" fmla="*/ 711995 h 1762127"/>
                <a:gd name="connsiteX4042" fmla="*/ 7027745 w 9759834"/>
                <a:gd name="connsiteY4042" fmla="*/ 746127 h 1762127"/>
                <a:gd name="connsiteX4043" fmla="*/ 6992820 w 9759834"/>
                <a:gd name="connsiteY4043" fmla="*/ 711995 h 1762127"/>
                <a:gd name="connsiteX4044" fmla="*/ 7027745 w 9759834"/>
                <a:gd name="connsiteY4044" fmla="*/ 677863 h 1762127"/>
                <a:gd name="connsiteX4045" fmla="*/ 6947577 w 9759834"/>
                <a:gd name="connsiteY4045" fmla="*/ 677863 h 1762127"/>
                <a:gd name="connsiteX4046" fmla="*/ 6981709 w 9759834"/>
                <a:gd name="connsiteY4046" fmla="*/ 711995 h 1762127"/>
                <a:gd name="connsiteX4047" fmla="*/ 6947577 w 9759834"/>
                <a:gd name="connsiteY4047" fmla="*/ 746127 h 1762127"/>
                <a:gd name="connsiteX4048" fmla="*/ 6913445 w 9759834"/>
                <a:gd name="connsiteY4048" fmla="*/ 711995 h 1762127"/>
                <a:gd name="connsiteX4049" fmla="*/ 6947577 w 9759834"/>
                <a:gd name="connsiteY4049" fmla="*/ 677863 h 1762127"/>
                <a:gd name="connsiteX4050" fmla="*/ 6691195 w 9759834"/>
                <a:gd name="connsiteY4050" fmla="*/ 677863 h 1762127"/>
                <a:gd name="connsiteX4051" fmla="*/ 6726120 w 9759834"/>
                <a:gd name="connsiteY4051" fmla="*/ 711995 h 1762127"/>
                <a:gd name="connsiteX4052" fmla="*/ 6691195 w 9759834"/>
                <a:gd name="connsiteY4052" fmla="*/ 746127 h 1762127"/>
                <a:gd name="connsiteX4053" fmla="*/ 6656270 w 9759834"/>
                <a:gd name="connsiteY4053" fmla="*/ 711995 h 1762127"/>
                <a:gd name="connsiteX4054" fmla="*/ 6691195 w 9759834"/>
                <a:gd name="connsiteY4054" fmla="*/ 677863 h 1762127"/>
                <a:gd name="connsiteX4055" fmla="*/ 6353852 w 9759834"/>
                <a:gd name="connsiteY4055" fmla="*/ 677863 h 1762127"/>
                <a:gd name="connsiteX4056" fmla="*/ 6387984 w 9759834"/>
                <a:gd name="connsiteY4056" fmla="*/ 711995 h 1762127"/>
                <a:gd name="connsiteX4057" fmla="*/ 6353852 w 9759834"/>
                <a:gd name="connsiteY4057" fmla="*/ 746127 h 1762127"/>
                <a:gd name="connsiteX4058" fmla="*/ 6319720 w 9759834"/>
                <a:gd name="connsiteY4058" fmla="*/ 711995 h 1762127"/>
                <a:gd name="connsiteX4059" fmla="*/ 6353852 w 9759834"/>
                <a:gd name="connsiteY4059" fmla="*/ 677863 h 1762127"/>
                <a:gd name="connsiteX4060" fmla="*/ 4415515 w 9759834"/>
                <a:gd name="connsiteY4060" fmla="*/ 677863 h 1762127"/>
                <a:gd name="connsiteX4061" fmla="*/ 4449647 w 9759834"/>
                <a:gd name="connsiteY4061" fmla="*/ 711995 h 1762127"/>
                <a:gd name="connsiteX4062" fmla="*/ 4415515 w 9759834"/>
                <a:gd name="connsiteY4062" fmla="*/ 746127 h 1762127"/>
                <a:gd name="connsiteX4063" fmla="*/ 4381383 w 9759834"/>
                <a:gd name="connsiteY4063" fmla="*/ 711995 h 1762127"/>
                <a:gd name="connsiteX4064" fmla="*/ 4415515 w 9759834"/>
                <a:gd name="connsiteY4064" fmla="*/ 677863 h 1762127"/>
                <a:gd name="connsiteX4065" fmla="*/ 4248827 w 9759834"/>
                <a:gd name="connsiteY4065" fmla="*/ 677863 h 1762127"/>
                <a:gd name="connsiteX4066" fmla="*/ 4282959 w 9759834"/>
                <a:gd name="connsiteY4066" fmla="*/ 711995 h 1762127"/>
                <a:gd name="connsiteX4067" fmla="*/ 4248827 w 9759834"/>
                <a:gd name="connsiteY4067" fmla="*/ 746127 h 1762127"/>
                <a:gd name="connsiteX4068" fmla="*/ 4214695 w 9759834"/>
                <a:gd name="connsiteY4068" fmla="*/ 711995 h 1762127"/>
                <a:gd name="connsiteX4069" fmla="*/ 4248827 w 9759834"/>
                <a:gd name="connsiteY4069" fmla="*/ 677863 h 1762127"/>
                <a:gd name="connsiteX4070" fmla="*/ 4163895 w 9759834"/>
                <a:gd name="connsiteY4070" fmla="*/ 677863 h 1762127"/>
                <a:gd name="connsiteX4071" fmla="*/ 4198820 w 9759834"/>
                <a:gd name="connsiteY4071" fmla="*/ 711995 h 1762127"/>
                <a:gd name="connsiteX4072" fmla="*/ 4163895 w 9759834"/>
                <a:gd name="connsiteY4072" fmla="*/ 746127 h 1762127"/>
                <a:gd name="connsiteX4073" fmla="*/ 4128970 w 9759834"/>
                <a:gd name="connsiteY4073" fmla="*/ 711995 h 1762127"/>
                <a:gd name="connsiteX4074" fmla="*/ 4163895 w 9759834"/>
                <a:gd name="connsiteY4074" fmla="*/ 677863 h 1762127"/>
                <a:gd name="connsiteX4075" fmla="*/ 4078170 w 9759834"/>
                <a:gd name="connsiteY4075" fmla="*/ 677863 h 1762127"/>
                <a:gd name="connsiteX4076" fmla="*/ 4113095 w 9759834"/>
                <a:gd name="connsiteY4076" fmla="*/ 711995 h 1762127"/>
                <a:gd name="connsiteX4077" fmla="*/ 4078170 w 9759834"/>
                <a:gd name="connsiteY4077" fmla="*/ 746127 h 1762127"/>
                <a:gd name="connsiteX4078" fmla="*/ 4043245 w 9759834"/>
                <a:gd name="connsiteY4078" fmla="*/ 711995 h 1762127"/>
                <a:gd name="connsiteX4079" fmla="*/ 4078170 w 9759834"/>
                <a:gd name="connsiteY4079" fmla="*/ 677863 h 1762127"/>
                <a:gd name="connsiteX4080" fmla="*/ 3993240 w 9759834"/>
                <a:gd name="connsiteY4080" fmla="*/ 677863 h 1762127"/>
                <a:gd name="connsiteX4081" fmla="*/ 4027372 w 9759834"/>
                <a:gd name="connsiteY4081" fmla="*/ 711995 h 1762127"/>
                <a:gd name="connsiteX4082" fmla="*/ 3993240 w 9759834"/>
                <a:gd name="connsiteY4082" fmla="*/ 746127 h 1762127"/>
                <a:gd name="connsiteX4083" fmla="*/ 3959108 w 9759834"/>
                <a:gd name="connsiteY4083" fmla="*/ 711995 h 1762127"/>
                <a:gd name="connsiteX4084" fmla="*/ 3993240 w 9759834"/>
                <a:gd name="connsiteY4084" fmla="*/ 677863 h 1762127"/>
                <a:gd name="connsiteX4085" fmla="*/ 3912277 w 9759834"/>
                <a:gd name="connsiteY4085" fmla="*/ 677863 h 1762127"/>
                <a:gd name="connsiteX4086" fmla="*/ 3946409 w 9759834"/>
                <a:gd name="connsiteY4086" fmla="*/ 711995 h 1762127"/>
                <a:gd name="connsiteX4087" fmla="*/ 3912277 w 9759834"/>
                <a:gd name="connsiteY4087" fmla="*/ 746127 h 1762127"/>
                <a:gd name="connsiteX4088" fmla="*/ 3878145 w 9759834"/>
                <a:gd name="connsiteY4088" fmla="*/ 711995 h 1762127"/>
                <a:gd name="connsiteX4089" fmla="*/ 3912277 w 9759834"/>
                <a:gd name="connsiteY4089" fmla="*/ 677863 h 1762127"/>
                <a:gd name="connsiteX4090" fmla="*/ 3826552 w 9759834"/>
                <a:gd name="connsiteY4090" fmla="*/ 677863 h 1762127"/>
                <a:gd name="connsiteX4091" fmla="*/ 3860684 w 9759834"/>
                <a:gd name="connsiteY4091" fmla="*/ 711995 h 1762127"/>
                <a:gd name="connsiteX4092" fmla="*/ 3826552 w 9759834"/>
                <a:gd name="connsiteY4092" fmla="*/ 746127 h 1762127"/>
                <a:gd name="connsiteX4093" fmla="*/ 3792420 w 9759834"/>
                <a:gd name="connsiteY4093" fmla="*/ 711995 h 1762127"/>
                <a:gd name="connsiteX4094" fmla="*/ 3826552 w 9759834"/>
                <a:gd name="connsiteY4094" fmla="*/ 677863 h 1762127"/>
                <a:gd name="connsiteX4095" fmla="*/ 3741620 w 9759834"/>
                <a:gd name="connsiteY4095" fmla="*/ 677863 h 1762127"/>
                <a:gd name="connsiteX4096" fmla="*/ 3776545 w 9759834"/>
                <a:gd name="connsiteY4096" fmla="*/ 711995 h 1762127"/>
                <a:gd name="connsiteX4097" fmla="*/ 3741620 w 9759834"/>
                <a:gd name="connsiteY4097" fmla="*/ 746127 h 1762127"/>
                <a:gd name="connsiteX4098" fmla="*/ 3706695 w 9759834"/>
                <a:gd name="connsiteY4098" fmla="*/ 711995 h 1762127"/>
                <a:gd name="connsiteX4099" fmla="*/ 3741620 w 9759834"/>
                <a:gd name="connsiteY4099" fmla="*/ 677863 h 1762127"/>
                <a:gd name="connsiteX4100" fmla="*/ 3656690 w 9759834"/>
                <a:gd name="connsiteY4100" fmla="*/ 677863 h 1762127"/>
                <a:gd name="connsiteX4101" fmla="*/ 3690822 w 9759834"/>
                <a:gd name="connsiteY4101" fmla="*/ 711995 h 1762127"/>
                <a:gd name="connsiteX4102" fmla="*/ 3656690 w 9759834"/>
                <a:gd name="connsiteY4102" fmla="*/ 746127 h 1762127"/>
                <a:gd name="connsiteX4103" fmla="*/ 3622558 w 9759834"/>
                <a:gd name="connsiteY4103" fmla="*/ 711995 h 1762127"/>
                <a:gd name="connsiteX4104" fmla="*/ 3656690 w 9759834"/>
                <a:gd name="connsiteY4104" fmla="*/ 677863 h 1762127"/>
                <a:gd name="connsiteX4105" fmla="*/ 3320140 w 9759834"/>
                <a:gd name="connsiteY4105" fmla="*/ 677863 h 1762127"/>
                <a:gd name="connsiteX4106" fmla="*/ 3354272 w 9759834"/>
                <a:gd name="connsiteY4106" fmla="*/ 711995 h 1762127"/>
                <a:gd name="connsiteX4107" fmla="*/ 3320140 w 9759834"/>
                <a:gd name="connsiteY4107" fmla="*/ 746127 h 1762127"/>
                <a:gd name="connsiteX4108" fmla="*/ 3286008 w 9759834"/>
                <a:gd name="connsiteY4108" fmla="*/ 711995 h 1762127"/>
                <a:gd name="connsiteX4109" fmla="*/ 3320140 w 9759834"/>
                <a:gd name="connsiteY4109" fmla="*/ 677863 h 1762127"/>
                <a:gd name="connsiteX4110" fmla="*/ 3234415 w 9759834"/>
                <a:gd name="connsiteY4110" fmla="*/ 677863 h 1762127"/>
                <a:gd name="connsiteX4111" fmla="*/ 3268547 w 9759834"/>
                <a:gd name="connsiteY4111" fmla="*/ 711995 h 1762127"/>
                <a:gd name="connsiteX4112" fmla="*/ 3234415 w 9759834"/>
                <a:gd name="connsiteY4112" fmla="*/ 746127 h 1762127"/>
                <a:gd name="connsiteX4113" fmla="*/ 3200283 w 9759834"/>
                <a:gd name="connsiteY4113" fmla="*/ 711995 h 1762127"/>
                <a:gd name="connsiteX4114" fmla="*/ 3234415 w 9759834"/>
                <a:gd name="connsiteY4114" fmla="*/ 677863 h 1762127"/>
                <a:gd name="connsiteX4115" fmla="*/ 2897865 w 9759834"/>
                <a:gd name="connsiteY4115" fmla="*/ 677863 h 1762127"/>
                <a:gd name="connsiteX4116" fmla="*/ 2931997 w 9759834"/>
                <a:gd name="connsiteY4116" fmla="*/ 711995 h 1762127"/>
                <a:gd name="connsiteX4117" fmla="*/ 2897865 w 9759834"/>
                <a:gd name="connsiteY4117" fmla="*/ 746127 h 1762127"/>
                <a:gd name="connsiteX4118" fmla="*/ 2863733 w 9759834"/>
                <a:gd name="connsiteY4118" fmla="*/ 711995 h 1762127"/>
                <a:gd name="connsiteX4119" fmla="*/ 2897865 w 9759834"/>
                <a:gd name="connsiteY4119" fmla="*/ 677863 h 1762127"/>
                <a:gd name="connsiteX4120" fmla="*/ 2732006 w 9759834"/>
                <a:gd name="connsiteY4120" fmla="*/ 677863 h 1762127"/>
                <a:gd name="connsiteX4121" fmla="*/ 2766931 w 9759834"/>
                <a:gd name="connsiteY4121" fmla="*/ 711995 h 1762127"/>
                <a:gd name="connsiteX4122" fmla="*/ 2732006 w 9759834"/>
                <a:gd name="connsiteY4122" fmla="*/ 746127 h 1762127"/>
                <a:gd name="connsiteX4123" fmla="*/ 2697081 w 9759834"/>
                <a:gd name="connsiteY4123" fmla="*/ 711995 h 1762127"/>
                <a:gd name="connsiteX4124" fmla="*/ 2732006 w 9759834"/>
                <a:gd name="connsiteY4124" fmla="*/ 677863 h 1762127"/>
                <a:gd name="connsiteX4125" fmla="*/ 2646281 w 9759834"/>
                <a:gd name="connsiteY4125" fmla="*/ 677863 h 1762127"/>
                <a:gd name="connsiteX4126" fmla="*/ 2681205 w 9759834"/>
                <a:gd name="connsiteY4126" fmla="*/ 711995 h 1762127"/>
                <a:gd name="connsiteX4127" fmla="*/ 2646281 w 9759834"/>
                <a:gd name="connsiteY4127" fmla="*/ 746127 h 1762127"/>
                <a:gd name="connsiteX4128" fmla="*/ 2611356 w 9759834"/>
                <a:gd name="connsiteY4128" fmla="*/ 711995 h 1762127"/>
                <a:gd name="connsiteX4129" fmla="*/ 2646281 w 9759834"/>
                <a:gd name="connsiteY4129" fmla="*/ 677863 h 1762127"/>
                <a:gd name="connsiteX4130" fmla="*/ 2561353 w 9759834"/>
                <a:gd name="connsiteY4130" fmla="*/ 677863 h 1762127"/>
                <a:gd name="connsiteX4131" fmla="*/ 2595485 w 9759834"/>
                <a:gd name="connsiteY4131" fmla="*/ 711995 h 1762127"/>
                <a:gd name="connsiteX4132" fmla="*/ 2561353 w 9759834"/>
                <a:gd name="connsiteY4132" fmla="*/ 746127 h 1762127"/>
                <a:gd name="connsiteX4133" fmla="*/ 2527221 w 9759834"/>
                <a:gd name="connsiteY4133" fmla="*/ 711995 h 1762127"/>
                <a:gd name="connsiteX4134" fmla="*/ 2561353 w 9759834"/>
                <a:gd name="connsiteY4134" fmla="*/ 677863 h 1762127"/>
                <a:gd name="connsiteX4135" fmla="*/ 2475628 w 9759834"/>
                <a:gd name="connsiteY4135" fmla="*/ 677863 h 1762127"/>
                <a:gd name="connsiteX4136" fmla="*/ 2509761 w 9759834"/>
                <a:gd name="connsiteY4136" fmla="*/ 711995 h 1762127"/>
                <a:gd name="connsiteX4137" fmla="*/ 2475628 w 9759834"/>
                <a:gd name="connsiteY4137" fmla="*/ 746127 h 1762127"/>
                <a:gd name="connsiteX4138" fmla="*/ 2441497 w 9759834"/>
                <a:gd name="connsiteY4138" fmla="*/ 711995 h 1762127"/>
                <a:gd name="connsiteX4139" fmla="*/ 2475628 w 9759834"/>
                <a:gd name="connsiteY4139" fmla="*/ 677863 h 1762127"/>
                <a:gd name="connsiteX4140" fmla="*/ 2394666 w 9759834"/>
                <a:gd name="connsiteY4140" fmla="*/ 677863 h 1762127"/>
                <a:gd name="connsiteX4141" fmla="*/ 2428798 w 9759834"/>
                <a:gd name="connsiteY4141" fmla="*/ 711995 h 1762127"/>
                <a:gd name="connsiteX4142" fmla="*/ 2394666 w 9759834"/>
                <a:gd name="connsiteY4142" fmla="*/ 746127 h 1762127"/>
                <a:gd name="connsiteX4143" fmla="*/ 2360533 w 9759834"/>
                <a:gd name="connsiteY4143" fmla="*/ 711995 h 1762127"/>
                <a:gd name="connsiteX4144" fmla="*/ 2394666 w 9759834"/>
                <a:gd name="connsiteY4144" fmla="*/ 677863 h 1762127"/>
                <a:gd name="connsiteX4145" fmla="*/ 2309733 w 9759834"/>
                <a:gd name="connsiteY4145" fmla="*/ 677863 h 1762127"/>
                <a:gd name="connsiteX4146" fmla="*/ 2344659 w 9759834"/>
                <a:gd name="connsiteY4146" fmla="*/ 711995 h 1762127"/>
                <a:gd name="connsiteX4147" fmla="*/ 2309733 w 9759834"/>
                <a:gd name="connsiteY4147" fmla="*/ 746127 h 1762127"/>
                <a:gd name="connsiteX4148" fmla="*/ 2274806 w 9759834"/>
                <a:gd name="connsiteY4148" fmla="*/ 711995 h 1762127"/>
                <a:gd name="connsiteX4149" fmla="*/ 2309733 w 9759834"/>
                <a:gd name="connsiteY4149" fmla="*/ 677863 h 1762127"/>
                <a:gd name="connsiteX4150" fmla="*/ 2224804 w 9759834"/>
                <a:gd name="connsiteY4150" fmla="*/ 677863 h 1762127"/>
                <a:gd name="connsiteX4151" fmla="*/ 2258936 w 9759834"/>
                <a:gd name="connsiteY4151" fmla="*/ 711995 h 1762127"/>
                <a:gd name="connsiteX4152" fmla="*/ 2224804 w 9759834"/>
                <a:gd name="connsiteY4152" fmla="*/ 746127 h 1762127"/>
                <a:gd name="connsiteX4153" fmla="*/ 2190671 w 9759834"/>
                <a:gd name="connsiteY4153" fmla="*/ 711995 h 1762127"/>
                <a:gd name="connsiteX4154" fmla="*/ 2224804 w 9759834"/>
                <a:gd name="connsiteY4154" fmla="*/ 677863 h 1762127"/>
                <a:gd name="connsiteX4155" fmla="*/ 2139081 w 9759834"/>
                <a:gd name="connsiteY4155" fmla="*/ 677863 h 1762127"/>
                <a:gd name="connsiteX4156" fmla="*/ 2173212 w 9759834"/>
                <a:gd name="connsiteY4156" fmla="*/ 711995 h 1762127"/>
                <a:gd name="connsiteX4157" fmla="*/ 2139081 w 9759834"/>
                <a:gd name="connsiteY4157" fmla="*/ 746127 h 1762127"/>
                <a:gd name="connsiteX4158" fmla="*/ 2104949 w 9759834"/>
                <a:gd name="connsiteY4158" fmla="*/ 711995 h 1762127"/>
                <a:gd name="connsiteX4159" fmla="*/ 2139081 w 9759834"/>
                <a:gd name="connsiteY4159" fmla="*/ 677863 h 1762127"/>
                <a:gd name="connsiteX4160" fmla="*/ 2055738 w 9759834"/>
                <a:gd name="connsiteY4160" fmla="*/ 677863 h 1762127"/>
                <a:gd name="connsiteX4161" fmla="*/ 2092250 w 9759834"/>
                <a:gd name="connsiteY4161" fmla="*/ 711995 h 1762127"/>
                <a:gd name="connsiteX4162" fmla="*/ 2055738 w 9759834"/>
                <a:gd name="connsiteY4162" fmla="*/ 746127 h 1762127"/>
                <a:gd name="connsiteX4163" fmla="*/ 2019226 w 9759834"/>
                <a:gd name="connsiteY4163" fmla="*/ 711995 h 1762127"/>
                <a:gd name="connsiteX4164" fmla="*/ 2055738 w 9759834"/>
                <a:gd name="connsiteY4164" fmla="*/ 677863 h 1762127"/>
                <a:gd name="connsiteX4165" fmla="*/ 1802519 w 9759834"/>
                <a:gd name="connsiteY4165" fmla="*/ 677863 h 1762127"/>
                <a:gd name="connsiteX4166" fmla="*/ 1836651 w 9759834"/>
                <a:gd name="connsiteY4166" fmla="*/ 711995 h 1762127"/>
                <a:gd name="connsiteX4167" fmla="*/ 1802519 w 9759834"/>
                <a:gd name="connsiteY4167" fmla="*/ 746127 h 1762127"/>
                <a:gd name="connsiteX4168" fmla="*/ 1768387 w 9759834"/>
                <a:gd name="connsiteY4168" fmla="*/ 711995 h 1762127"/>
                <a:gd name="connsiteX4169" fmla="*/ 1802519 w 9759834"/>
                <a:gd name="connsiteY4169" fmla="*/ 677863 h 1762127"/>
                <a:gd name="connsiteX4170" fmla="*/ 1719175 w 9759834"/>
                <a:gd name="connsiteY4170" fmla="*/ 677863 h 1762127"/>
                <a:gd name="connsiteX4171" fmla="*/ 1755688 w 9759834"/>
                <a:gd name="connsiteY4171" fmla="*/ 711995 h 1762127"/>
                <a:gd name="connsiteX4172" fmla="*/ 1719175 w 9759834"/>
                <a:gd name="connsiteY4172" fmla="*/ 746127 h 1762127"/>
                <a:gd name="connsiteX4173" fmla="*/ 1682663 w 9759834"/>
                <a:gd name="connsiteY4173" fmla="*/ 711995 h 1762127"/>
                <a:gd name="connsiteX4174" fmla="*/ 1719175 w 9759834"/>
                <a:gd name="connsiteY4174" fmla="*/ 677863 h 1762127"/>
                <a:gd name="connsiteX4175" fmla="*/ 1636620 w 9759834"/>
                <a:gd name="connsiteY4175" fmla="*/ 677863 h 1762127"/>
                <a:gd name="connsiteX4176" fmla="*/ 1671546 w 9759834"/>
                <a:gd name="connsiteY4176" fmla="*/ 711995 h 1762127"/>
                <a:gd name="connsiteX4177" fmla="*/ 1636620 w 9759834"/>
                <a:gd name="connsiteY4177" fmla="*/ 746127 h 1762127"/>
                <a:gd name="connsiteX4178" fmla="*/ 1601695 w 9759834"/>
                <a:gd name="connsiteY4178" fmla="*/ 711995 h 1762127"/>
                <a:gd name="connsiteX4179" fmla="*/ 1636620 w 9759834"/>
                <a:gd name="connsiteY4179" fmla="*/ 677863 h 1762127"/>
                <a:gd name="connsiteX4180" fmla="*/ 1551691 w 9759834"/>
                <a:gd name="connsiteY4180" fmla="*/ 677863 h 1762127"/>
                <a:gd name="connsiteX4181" fmla="*/ 1585823 w 9759834"/>
                <a:gd name="connsiteY4181" fmla="*/ 711995 h 1762127"/>
                <a:gd name="connsiteX4182" fmla="*/ 1551691 w 9759834"/>
                <a:gd name="connsiteY4182" fmla="*/ 746127 h 1762127"/>
                <a:gd name="connsiteX4183" fmla="*/ 1517558 w 9759834"/>
                <a:gd name="connsiteY4183" fmla="*/ 711995 h 1762127"/>
                <a:gd name="connsiteX4184" fmla="*/ 1551691 w 9759834"/>
                <a:gd name="connsiteY4184" fmla="*/ 677863 h 1762127"/>
                <a:gd name="connsiteX4185" fmla="*/ 1465965 w 9759834"/>
                <a:gd name="connsiteY4185" fmla="*/ 677863 h 1762127"/>
                <a:gd name="connsiteX4186" fmla="*/ 1500097 w 9759834"/>
                <a:gd name="connsiteY4186" fmla="*/ 711995 h 1762127"/>
                <a:gd name="connsiteX4187" fmla="*/ 1465965 w 9759834"/>
                <a:gd name="connsiteY4187" fmla="*/ 746127 h 1762127"/>
                <a:gd name="connsiteX4188" fmla="*/ 1431832 w 9759834"/>
                <a:gd name="connsiteY4188" fmla="*/ 711995 h 1762127"/>
                <a:gd name="connsiteX4189" fmla="*/ 1465965 w 9759834"/>
                <a:gd name="connsiteY4189" fmla="*/ 677863 h 1762127"/>
                <a:gd name="connsiteX4190" fmla="*/ 1380239 w 9759834"/>
                <a:gd name="connsiteY4190" fmla="*/ 677863 h 1762127"/>
                <a:gd name="connsiteX4191" fmla="*/ 1414372 w 9759834"/>
                <a:gd name="connsiteY4191" fmla="*/ 711995 h 1762127"/>
                <a:gd name="connsiteX4192" fmla="*/ 1380239 w 9759834"/>
                <a:gd name="connsiteY4192" fmla="*/ 746127 h 1762127"/>
                <a:gd name="connsiteX4193" fmla="*/ 1346107 w 9759834"/>
                <a:gd name="connsiteY4193" fmla="*/ 711995 h 1762127"/>
                <a:gd name="connsiteX4194" fmla="*/ 1380239 w 9759834"/>
                <a:gd name="connsiteY4194" fmla="*/ 677863 h 1762127"/>
                <a:gd name="connsiteX4195" fmla="*/ 1300069 w 9759834"/>
                <a:gd name="connsiteY4195" fmla="*/ 677863 h 1762127"/>
                <a:gd name="connsiteX4196" fmla="*/ 1334994 w 9759834"/>
                <a:gd name="connsiteY4196" fmla="*/ 711995 h 1762127"/>
                <a:gd name="connsiteX4197" fmla="*/ 1300069 w 9759834"/>
                <a:gd name="connsiteY4197" fmla="*/ 746127 h 1762127"/>
                <a:gd name="connsiteX4198" fmla="*/ 1265143 w 9759834"/>
                <a:gd name="connsiteY4198" fmla="*/ 711995 h 1762127"/>
                <a:gd name="connsiteX4199" fmla="*/ 1300069 w 9759834"/>
                <a:gd name="connsiteY4199" fmla="*/ 677863 h 1762127"/>
                <a:gd name="connsiteX4200" fmla="*/ 1214323 w 9759834"/>
                <a:gd name="connsiteY4200" fmla="*/ 677863 h 1762127"/>
                <a:gd name="connsiteX4201" fmla="*/ 1249248 w 9759834"/>
                <a:gd name="connsiteY4201" fmla="*/ 711995 h 1762127"/>
                <a:gd name="connsiteX4202" fmla="*/ 1214323 w 9759834"/>
                <a:gd name="connsiteY4202" fmla="*/ 746127 h 1762127"/>
                <a:gd name="connsiteX4203" fmla="*/ 1179398 w 9759834"/>
                <a:gd name="connsiteY4203" fmla="*/ 711995 h 1762127"/>
                <a:gd name="connsiteX4204" fmla="*/ 1214323 w 9759834"/>
                <a:gd name="connsiteY4204" fmla="*/ 677863 h 1762127"/>
                <a:gd name="connsiteX4205" fmla="*/ 1129391 w 9759834"/>
                <a:gd name="connsiteY4205" fmla="*/ 677863 h 1762127"/>
                <a:gd name="connsiteX4206" fmla="*/ 1163524 w 9759834"/>
                <a:gd name="connsiteY4206" fmla="*/ 711995 h 1762127"/>
                <a:gd name="connsiteX4207" fmla="*/ 1129391 w 9759834"/>
                <a:gd name="connsiteY4207" fmla="*/ 746127 h 1762127"/>
                <a:gd name="connsiteX4208" fmla="*/ 1095259 w 9759834"/>
                <a:gd name="connsiteY4208" fmla="*/ 711995 h 1762127"/>
                <a:gd name="connsiteX4209" fmla="*/ 1129391 w 9759834"/>
                <a:gd name="connsiteY4209" fmla="*/ 677863 h 1762127"/>
                <a:gd name="connsiteX4210" fmla="*/ 1043844 w 9759834"/>
                <a:gd name="connsiteY4210" fmla="*/ 677863 h 1762127"/>
                <a:gd name="connsiteX4211" fmla="*/ 1077977 w 9759834"/>
                <a:gd name="connsiteY4211" fmla="*/ 711995 h 1762127"/>
                <a:gd name="connsiteX4212" fmla="*/ 1043844 w 9759834"/>
                <a:gd name="connsiteY4212" fmla="*/ 746127 h 1762127"/>
                <a:gd name="connsiteX4213" fmla="*/ 1009710 w 9759834"/>
                <a:gd name="connsiteY4213" fmla="*/ 711995 h 1762127"/>
                <a:gd name="connsiteX4214" fmla="*/ 1043844 w 9759834"/>
                <a:gd name="connsiteY4214" fmla="*/ 677863 h 1762127"/>
                <a:gd name="connsiteX4215" fmla="*/ 960493 w 9759834"/>
                <a:gd name="connsiteY4215" fmla="*/ 677863 h 1762127"/>
                <a:gd name="connsiteX4216" fmla="*/ 997009 w 9759834"/>
                <a:gd name="connsiteY4216" fmla="*/ 711995 h 1762127"/>
                <a:gd name="connsiteX4217" fmla="*/ 960493 w 9759834"/>
                <a:gd name="connsiteY4217" fmla="*/ 746127 h 1762127"/>
                <a:gd name="connsiteX4218" fmla="*/ 923978 w 9759834"/>
                <a:gd name="connsiteY4218" fmla="*/ 711995 h 1762127"/>
                <a:gd name="connsiteX4219" fmla="*/ 960493 w 9759834"/>
                <a:gd name="connsiteY4219" fmla="*/ 677863 h 1762127"/>
                <a:gd name="connsiteX4220" fmla="*/ 877939 w 9759834"/>
                <a:gd name="connsiteY4220" fmla="*/ 677863 h 1762127"/>
                <a:gd name="connsiteX4221" fmla="*/ 912864 w 9759834"/>
                <a:gd name="connsiteY4221" fmla="*/ 711995 h 1762127"/>
                <a:gd name="connsiteX4222" fmla="*/ 877939 w 9759834"/>
                <a:gd name="connsiteY4222" fmla="*/ 746127 h 1762127"/>
                <a:gd name="connsiteX4223" fmla="*/ 843014 w 9759834"/>
                <a:gd name="connsiteY4223" fmla="*/ 711995 h 1762127"/>
                <a:gd name="connsiteX4224" fmla="*/ 877939 w 9759834"/>
                <a:gd name="connsiteY4224" fmla="*/ 677863 h 1762127"/>
                <a:gd name="connsiteX4225" fmla="*/ 793002 w 9759834"/>
                <a:gd name="connsiteY4225" fmla="*/ 677863 h 1762127"/>
                <a:gd name="connsiteX4226" fmla="*/ 827137 w 9759834"/>
                <a:gd name="connsiteY4226" fmla="*/ 711995 h 1762127"/>
                <a:gd name="connsiteX4227" fmla="*/ 793002 w 9759834"/>
                <a:gd name="connsiteY4227" fmla="*/ 746127 h 1762127"/>
                <a:gd name="connsiteX4228" fmla="*/ 758871 w 9759834"/>
                <a:gd name="connsiteY4228" fmla="*/ 711995 h 1762127"/>
                <a:gd name="connsiteX4229" fmla="*/ 793002 w 9759834"/>
                <a:gd name="connsiteY4229" fmla="*/ 677863 h 1762127"/>
                <a:gd name="connsiteX4230" fmla="*/ 707275 w 9759834"/>
                <a:gd name="connsiteY4230" fmla="*/ 677863 h 1762127"/>
                <a:gd name="connsiteX4231" fmla="*/ 741409 w 9759834"/>
                <a:gd name="connsiteY4231" fmla="*/ 711995 h 1762127"/>
                <a:gd name="connsiteX4232" fmla="*/ 707275 w 9759834"/>
                <a:gd name="connsiteY4232" fmla="*/ 746127 h 1762127"/>
                <a:gd name="connsiteX4233" fmla="*/ 673133 w 9759834"/>
                <a:gd name="connsiteY4233" fmla="*/ 711995 h 1762127"/>
                <a:gd name="connsiteX4234" fmla="*/ 707275 w 9759834"/>
                <a:gd name="connsiteY4234" fmla="*/ 677863 h 1762127"/>
                <a:gd name="connsiteX4235" fmla="*/ 621537 w 9759834"/>
                <a:gd name="connsiteY4235" fmla="*/ 677863 h 1762127"/>
                <a:gd name="connsiteX4236" fmla="*/ 655670 w 9759834"/>
                <a:gd name="connsiteY4236" fmla="*/ 711995 h 1762127"/>
                <a:gd name="connsiteX4237" fmla="*/ 621537 w 9759834"/>
                <a:gd name="connsiteY4237" fmla="*/ 746127 h 1762127"/>
                <a:gd name="connsiteX4238" fmla="*/ 587405 w 9759834"/>
                <a:gd name="connsiteY4238" fmla="*/ 711995 h 1762127"/>
                <a:gd name="connsiteX4239" fmla="*/ 621537 w 9759834"/>
                <a:gd name="connsiteY4239" fmla="*/ 677863 h 1762127"/>
                <a:gd name="connsiteX4240" fmla="*/ 8966877 w 9759834"/>
                <a:gd name="connsiteY4240" fmla="*/ 596900 h 1762127"/>
                <a:gd name="connsiteX4241" fmla="*/ 9001009 w 9759834"/>
                <a:gd name="connsiteY4241" fmla="*/ 631825 h 1762127"/>
                <a:gd name="connsiteX4242" fmla="*/ 8966877 w 9759834"/>
                <a:gd name="connsiteY4242" fmla="*/ 666750 h 1762127"/>
                <a:gd name="connsiteX4243" fmla="*/ 8932745 w 9759834"/>
                <a:gd name="connsiteY4243" fmla="*/ 631825 h 1762127"/>
                <a:gd name="connsiteX4244" fmla="*/ 8966877 w 9759834"/>
                <a:gd name="connsiteY4244" fmla="*/ 596900 h 1762127"/>
                <a:gd name="connsiteX4245" fmla="*/ 8884327 w 9759834"/>
                <a:gd name="connsiteY4245" fmla="*/ 596900 h 1762127"/>
                <a:gd name="connsiteX4246" fmla="*/ 8921634 w 9759834"/>
                <a:gd name="connsiteY4246" fmla="*/ 631825 h 1762127"/>
                <a:gd name="connsiteX4247" fmla="*/ 8884327 w 9759834"/>
                <a:gd name="connsiteY4247" fmla="*/ 666750 h 1762127"/>
                <a:gd name="connsiteX4248" fmla="*/ 8847020 w 9759834"/>
                <a:gd name="connsiteY4248" fmla="*/ 631825 h 1762127"/>
                <a:gd name="connsiteX4249" fmla="*/ 8884327 w 9759834"/>
                <a:gd name="connsiteY4249" fmla="*/ 596900 h 1762127"/>
                <a:gd name="connsiteX4250" fmla="*/ 8801777 w 9759834"/>
                <a:gd name="connsiteY4250" fmla="*/ 596900 h 1762127"/>
                <a:gd name="connsiteX4251" fmla="*/ 8835909 w 9759834"/>
                <a:gd name="connsiteY4251" fmla="*/ 631825 h 1762127"/>
                <a:gd name="connsiteX4252" fmla="*/ 8801777 w 9759834"/>
                <a:gd name="connsiteY4252" fmla="*/ 666750 h 1762127"/>
                <a:gd name="connsiteX4253" fmla="*/ 8767645 w 9759834"/>
                <a:gd name="connsiteY4253" fmla="*/ 631825 h 1762127"/>
                <a:gd name="connsiteX4254" fmla="*/ 8801777 w 9759834"/>
                <a:gd name="connsiteY4254" fmla="*/ 596900 h 1762127"/>
                <a:gd name="connsiteX4255" fmla="*/ 8716052 w 9759834"/>
                <a:gd name="connsiteY4255" fmla="*/ 596900 h 1762127"/>
                <a:gd name="connsiteX4256" fmla="*/ 8750184 w 9759834"/>
                <a:gd name="connsiteY4256" fmla="*/ 631825 h 1762127"/>
                <a:gd name="connsiteX4257" fmla="*/ 8716052 w 9759834"/>
                <a:gd name="connsiteY4257" fmla="*/ 666750 h 1762127"/>
                <a:gd name="connsiteX4258" fmla="*/ 8681920 w 9759834"/>
                <a:gd name="connsiteY4258" fmla="*/ 631825 h 1762127"/>
                <a:gd name="connsiteX4259" fmla="*/ 8716052 w 9759834"/>
                <a:gd name="connsiteY4259" fmla="*/ 596900 h 1762127"/>
                <a:gd name="connsiteX4260" fmla="*/ 8630327 w 9759834"/>
                <a:gd name="connsiteY4260" fmla="*/ 596900 h 1762127"/>
                <a:gd name="connsiteX4261" fmla="*/ 8664459 w 9759834"/>
                <a:gd name="connsiteY4261" fmla="*/ 631825 h 1762127"/>
                <a:gd name="connsiteX4262" fmla="*/ 8630327 w 9759834"/>
                <a:gd name="connsiteY4262" fmla="*/ 666750 h 1762127"/>
                <a:gd name="connsiteX4263" fmla="*/ 8596195 w 9759834"/>
                <a:gd name="connsiteY4263" fmla="*/ 631825 h 1762127"/>
                <a:gd name="connsiteX4264" fmla="*/ 8630327 w 9759834"/>
                <a:gd name="connsiteY4264" fmla="*/ 596900 h 1762127"/>
                <a:gd name="connsiteX4265" fmla="*/ 8544602 w 9759834"/>
                <a:gd name="connsiteY4265" fmla="*/ 596900 h 1762127"/>
                <a:gd name="connsiteX4266" fmla="*/ 8578734 w 9759834"/>
                <a:gd name="connsiteY4266" fmla="*/ 631825 h 1762127"/>
                <a:gd name="connsiteX4267" fmla="*/ 8544602 w 9759834"/>
                <a:gd name="connsiteY4267" fmla="*/ 666750 h 1762127"/>
                <a:gd name="connsiteX4268" fmla="*/ 8510470 w 9759834"/>
                <a:gd name="connsiteY4268" fmla="*/ 631825 h 1762127"/>
                <a:gd name="connsiteX4269" fmla="*/ 8544602 w 9759834"/>
                <a:gd name="connsiteY4269" fmla="*/ 596900 h 1762127"/>
                <a:gd name="connsiteX4270" fmla="*/ 8465227 w 9759834"/>
                <a:gd name="connsiteY4270" fmla="*/ 596900 h 1762127"/>
                <a:gd name="connsiteX4271" fmla="*/ 8499359 w 9759834"/>
                <a:gd name="connsiteY4271" fmla="*/ 631825 h 1762127"/>
                <a:gd name="connsiteX4272" fmla="*/ 8465227 w 9759834"/>
                <a:gd name="connsiteY4272" fmla="*/ 666750 h 1762127"/>
                <a:gd name="connsiteX4273" fmla="*/ 8431095 w 9759834"/>
                <a:gd name="connsiteY4273" fmla="*/ 631825 h 1762127"/>
                <a:gd name="connsiteX4274" fmla="*/ 8465227 w 9759834"/>
                <a:gd name="connsiteY4274" fmla="*/ 596900 h 1762127"/>
                <a:gd name="connsiteX4275" fmla="*/ 8379502 w 9759834"/>
                <a:gd name="connsiteY4275" fmla="*/ 596900 h 1762127"/>
                <a:gd name="connsiteX4276" fmla="*/ 8413634 w 9759834"/>
                <a:gd name="connsiteY4276" fmla="*/ 631825 h 1762127"/>
                <a:gd name="connsiteX4277" fmla="*/ 8379502 w 9759834"/>
                <a:gd name="connsiteY4277" fmla="*/ 666750 h 1762127"/>
                <a:gd name="connsiteX4278" fmla="*/ 8345370 w 9759834"/>
                <a:gd name="connsiteY4278" fmla="*/ 631825 h 1762127"/>
                <a:gd name="connsiteX4279" fmla="*/ 8379502 w 9759834"/>
                <a:gd name="connsiteY4279" fmla="*/ 596900 h 1762127"/>
                <a:gd name="connsiteX4280" fmla="*/ 8293777 w 9759834"/>
                <a:gd name="connsiteY4280" fmla="*/ 596900 h 1762127"/>
                <a:gd name="connsiteX4281" fmla="*/ 8327909 w 9759834"/>
                <a:gd name="connsiteY4281" fmla="*/ 631825 h 1762127"/>
                <a:gd name="connsiteX4282" fmla="*/ 8293777 w 9759834"/>
                <a:gd name="connsiteY4282" fmla="*/ 666750 h 1762127"/>
                <a:gd name="connsiteX4283" fmla="*/ 8259645 w 9759834"/>
                <a:gd name="connsiteY4283" fmla="*/ 631825 h 1762127"/>
                <a:gd name="connsiteX4284" fmla="*/ 8293777 w 9759834"/>
                <a:gd name="connsiteY4284" fmla="*/ 596900 h 1762127"/>
                <a:gd name="connsiteX4285" fmla="*/ 8208052 w 9759834"/>
                <a:gd name="connsiteY4285" fmla="*/ 596900 h 1762127"/>
                <a:gd name="connsiteX4286" fmla="*/ 8242184 w 9759834"/>
                <a:gd name="connsiteY4286" fmla="*/ 631825 h 1762127"/>
                <a:gd name="connsiteX4287" fmla="*/ 8208052 w 9759834"/>
                <a:gd name="connsiteY4287" fmla="*/ 666750 h 1762127"/>
                <a:gd name="connsiteX4288" fmla="*/ 8173920 w 9759834"/>
                <a:gd name="connsiteY4288" fmla="*/ 631825 h 1762127"/>
                <a:gd name="connsiteX4289" fmla="*/ 8208052 w 9759834"/>
                <a:gd name="connsiteY4289" fmla="*/ 596900 h 1762127"/>
                <a:gd name="connsiteX4290" fmla="*/ 8125502 w 9759834"/>
                <a:gd name="connsiteY4290" fmla="*/ 596900 h 1762127"/>
                <a:gd name="connsiteX4291" fmla="*/ 8162809 w 9759834"/>
                <a:gd name="connsiteY4291" fmla="*/ 631825 h 1762127"/>
                <a:gd name="connsiteX4292" fmla="*/ 8125502 w 9759834"/>
                <a:gd name="connsiteY4292" fmla="*/ 666750 h 1762127"/>
                <a:gd name="connsiteX4293" fmla="*/ 8088195 w 9759834"/>
                <a:gd name="connsiteY4293" fmla="*/ 631825 h 1762127"/>
                <a:gd name="connsiteX4294" fmla="*/ 8125502 w 9759834"/>
                <a:gd name="connsiteY4294" fmla="*/ 596900 h 1762127"/>
                <a:gd name="connsiteX4295" fmla="*/ 8042952 w 9759834"/>
                <a:gd name="connsiteY4295" fmla="*/ 596900 h 1762127"/>
                <a:gd name="connsiteX4296" fmla="*/ 8077084 w 9759834"/>
                <a:gd name="connsiteY4296" fmla="*/ 631825 h 1762127"/>
                <a:gd name="connsiteX4297" fmla="*/ 8042952 w 9759834"/>
                <a:gd name="connsiteY4297" fmla="*/ 666750 h 1762127"/>
                <a:gd name="connsiteX4298" fmla="*/ 8008820 w 9759834"/>
                <a:gd name="connsiteY4298" fmla="*/ 631825 h 1762127"/>
                <a:gd name="connsiteX4299" fmla="*/ 8042952 w 9759834"/>
                <a:gd name="connsiteY4299" fmla="*/ 596900 h 1762127"/>
                <a:gd name="connsiteX4300" fmla="*/ 7957227 w 9759834"/>
                <a:gd name="connsiteY4300" fmla="*/ 596900 h 1762127"/>
                <a:gd name="connsiteX4301" fmla="*/ 7991359 w 9759834"/>
                <a:gd name="connsiteY4301" fmla="*/ 631825 h 1762127"/>
                <a:gd name="connsiteX4302" fmla="*/ 7957227 w 9759834"/>
                <a:gd name="connsiteY4302" fmla="*/ 666750 h 1762127"/>
                <a:gd name="connsiteX4303" fmla="*/ 7923095 w 9759834"/>
                <a:gd name="connsiteY4303" fmla="*/ 631825 h 1762127"/>
                <a:gd name="connsiteX4304" fmla="*/ 7957227 w 9759834"/>
                <a:gd name="connsiteY4304" fmla="*/ 596900 h 1762127"/>
                <a:gd name="connsiteX4305" fmla="*/ 7871502 w 9759834"/>
                <a:gd name="connsiteY4305" fmla="*/ 596900 h 1762127"/>
                <a:gd name="connsiteX4306" fmla="*/ 7905634 w 9759834"/>
                <a:gd name="connsiteY4306" fmla="*/ 631825 h 1762127"/>
                <a:gd name="connsiteX4307" fmla="*/ 7871502 w 9759834"/>
                <a:gd name="connsiteY4307" fmla="*/ 666750 h 1762127"/>
                <a:gd name="connsiteX4308" fmla="*/ 7837370 w 9759834"/>
                <a:gd name="connsiteY4308" fmla="*/ 631825 h 1762127"/>
                <a:gd name="connsiteX4309" fmla="*/ 7871502 w 9759834"/>
                <a:gd name="connsiteY4309" fmla="*/ 596900 h 1762127"/>
                <a:gd name="connsiteX4310" fmla="*/ 7785777 w 9759834"/>
                <a:gd name="connsiteY4310" fmla="*/ 596900 h 1762127"/>
                <a:gd name="connsiteX4311" fmla="*/ 7819909 w 9759834"/>
                <a:gd name="connsiteY4311" fmla="*/ 631825 h 1762127"/>
                <a:gd name="connsiteX4312" fmla="*/ 7785777 w 9759834"/>
                <a:gd name="connsiteY4312" fmla="*/ 666750 h 1762127"/>
                <a:gd name="connsiteX4313" fmla="*/ 7751645 w 9759834"/>
                <a:gd name="connsiteY4313" fmla="*/ 631825 h 1762127"/>
                <a:gd name="connsiteX4314" fmla="*/ 7785777 w 9759834"/>
                <a:gd name="connsiteY4314" fmla="*/ 596900 h 1762127"/>
                <a:gd name="connsiteX4315" fmla="*/ 7706402 w 9759834"/>
                <a:gd name="connsiteY4315" fmla="*/ 596900 h 1762127"/>
                <a:gd name="connsiteX4316" fmla="*/ 7740534 w 9759834"/>
                <a:gd name="connsiteY4316" fmla="*/ 631825 h 1762127"/>
                <a:gd name="connsiteX4317" fmla="*/ 7706402 w 9759834"/>
                <a:gd name="connsiteY4317" fmla="*/ 666750 h 1762127"/>
                <a:gd name="connsiteX4318" fmla="*/ 7672270 w 9759834"/>
                <a:gd name="connsiteY4318" fmla="*/ 631825 h 1762127"/>
                <a:gd name="connsiteX4319" fmla="*/ 7706402 w 9759834"/>
                <a:gd name="connsiteY4319" fmla="*/ 596900 h 1762127"/>
                <a:gd name="connsiteX4320" fmla="*/ 7620677 w 9759834"/>
                <a:gd name="connsiteY4320" fmla="*/ 596900 h 1762127"/>
                <a:gd name="connsiteX4321" fmla="*/ 7654809 w 9759834"/>
                <a:gd name="connsiteY4321" fmla="*/ 631825 h 1762127"/>
                <a:gd name="connsiteX4322" fmla="*/ 7620677 w 9759834"/>
                <a:gd name="connsiteY4322" fmla="*/ 666750 h 1762127"/>
                <a:gd name="connsiteX4323" fmla="*/ 7586545 w 9759834"/>
                <a:gd name="connsiteY4323" fmla="*/ 631825 h 1762127"/>
                <a:gd name="connsiteX4324" fmla="*/ 7620677 w 9759834"/>
                <a:gd name="connsiteY4324" fmla="*/ 596900 h 1762127"/>
                <a:gd name="connsiteX4325" fmla="*/ 7534952 w 9759834"/>
                <a:gd name="connsiteY4325" fmla="*/ 596900 h 1762127"/>
                <a:gd name="connsiteX4326" fmla="*/ 7569084 w 9759834"/>
                <a:gd name="connsiteY4326" fmla="*/ 631825 h 1762127"/>
                <a:gd name="connsiteX4327" fmla="*/ 7534952 w 9759834"/>
                <a:gd name="connsiteY4327" fmla="*/ 666750 h 1762127"/>
                <a:gd name="connsiteX4328" fmla="*/ 7500820 w 9759834"/>
                <a:gd name="connsiteY4328" fmla="*/ 631825 h 1762127"/>
                <a:gd name="connsiteX4329" fmla="*/ 7534952 w 9759834"/>
                <a:gd name="connsiteY4329" fmla="*/ 596900 h 1762127"/>
                <a:gd name="connsiteX4330" fmla="*/ 7449227 w 9759834"/>
                <a:gd name="connsiteY4330" fmla="*/ 596900 h 1762127"/>
                <a:gd name="connsiteX4331" fmla="*/ 7483359 w 9759834"/>
                <a:gd name="connsiteY4331" fmla="*/ 631825 h 1762127"/>
                <a:gd name="connsiteX4332" fmla="*/ 7449227 w 9759834"/>
                <a:gd name="connsiteY4332" fmla="*/ 666750 h 1762127"/>
                <a:gd name="connsiteX4333" fmla="*/ 7415095 w 9759834"/>
                <a:gd name="connsiteY4333" fmla="*/ 631825 h 1762127"/>
                <a:gd name="connsiteX4334" fmla="*/ 7449227 w 9759834"/>
                <a:gd name="connsiteY4334" fmla="*/ 596900 h 1762127"/>
                <a:gd name="connsiteX4335" fmla="*/ 7366677 w 9759834"/>
                <a:gd name="connsiteY4335" fmla="*/ 596900 h 1762127"/>
                <a:gd name="connsiteX4336" fmla="*/ 7403984 w 9759834"/>
                <a:gd name="connsiteY4336" fmla="*/ 631825 h 1762127"/>
                <a:gd name="connsiteX4337" fmla="*/ 7366677 w 9759834"/>
                <a:gd name="connsiteY4337" fmla="*/ 666750 h 1762127"/>
                <a:gd name="connsiteX4338" fmla="*/ 7329370 w 9759834"/>
                <a:gd name="connsiteY4338" fmla="*/ 631825 h 1762127"/>
                <a:gd name="connsiteX4339" fmla="*/ 7366677 w 9759834"/>
                <a:gd name="connsiteY4339" fmla="*/ 596900 h 1762127"/>
                <a:gd name="connsiteX4340" fmla="*/ 7284127 w 9759834"/>
                <a:gd name="connsiteY4340" fmla="*/ 596900 h 1762127"/>
                <a:gd name="connsiteX4341" fmla="*/ 7318259 w 9759834"/>
                <a:gd name="connsiteY4341" fmla="*/ 631825 h 1762127"/>
                <a:gd name="connsiteX4342" fmla="*/ 7284127 w 9759834"/>
                <a:gd name="connsiteY4342" fmla="*/ 666750 h 1762127"/>
                <a:gd name="connsiteX4343" fmla="*/ 7249995 w 9759834"/>
                <a:gd name="connsiteY4343" fmla="*/ 631825 h 1762127"/>
                <a:gd name="connsiteX4344" fmla="*/ 7284127 w 9759834"/>
                <a:gd name="connsiteY4344" fmla="*/ 596900 h 1762127"/>
                <a:gd name="connsiteX4345" fmla="*/ 7198402 w 9759834"/>
                <a:gd name="connsiteY4345" fmla="*/ 596900 h 1762127"/>
                <a:gd name="connsiteX4346" fmla="*/ 7232534 w 9759834"/>
                <a:gd name="connsiteY4346" fmla="*/ 631825 h 1762127"/>
                <a:gd name="connsiteX4347" fmla="*/ 7198402 w 9759834"/>
                <a:gd name="connsiteY4347" fmla="*/ 666750 h 1762127"/>
                <a:gd name="connsiteX4348" fmla="*/ 7164270 w 9759834"/>
                <a:gd name="connsiteY4348" fmla="*/ 631825 h 1762127"/>
                <a:gd name="connsiteX4349" fmla="*/ 7198402 w 9759834"/>
                <a:gd name="connsiteY4349" fmla="*/ 596900 h 1762127"/>
                <a:gd name="connsiteX4350" fmla="*/ 7112677 w 9759834"/>
                <a:gd name="connsiteY4350" fmla="*/ 596900 h 1762127"/>
                <a:gd name="connsiteX4351" fmla="*/ 7146809 w 9759834"/>
                <a:gd name="connsiteY4351" fmla="*/ 631825 h 1762127"/>
                <a:gd name="connsiteX4352" fmla="*/ 7112677 w 9759834"/>
                <a:gd name="connsiteY4352" fmla="*/ 666750 h 1762127"/>
                <a:gd name="connsiteX4353" fmla="*/ 7078545 w 9759834"/>
                <a:gd name="connsiteY4353" fmla="*/ 631825 h 1762127"/>
                <a:gd name="connsiteX4354" fmla="*/ 7112677 w 9759834"/>
                <a:gd name="connsiteY4354" fmla="*/ 596900 h 1762127"/>
                <a:gd name="connsiteX4355" fmla="*/ 6947577 w 9759834"/>
                <a:gd name="connsiteY4355" fmla="*/ 596900 h 1762127"/>
                <a:gd name="connsiteX4356" fmla="*/ 6981709 w 9759834"/>
                <a:gd name="connsiteY4356" fmla="*/ 631825 h 1762127"/>
                <a:gd name="connsiteX4357" fmla="*/ 6947577 w 9759834"/>
                <a:gd name="connsiteY4357" fmla="*/ 666750 h 1762127"/>
                <a:gd name="connsiteX4358" fmla="*/ 6913445 w 9759834"/>
                <a:gd name="connsiteY4358" fmla="*/ 631825 h 1762127"/>
                <a:gd name="connsiteX4359" fmla="*/ 6947577 w 9759834"/>
                <a:gd name="connsiteY4359" fmla="*/ 596900 h 1762127"/>
                <a:gd name="connsiteX4360" fmla="*/ 6861852 w 9759834"/>
                <a:gd name="connsiteY4360" fmla="*/ 596900 h 1762127"/>
                <a:gd name="connsiteX4361" fmla="*/ 6895984 w 9759834"/>
                <a:gd name="connsiteY4361" fmla="*/ 631825 h 1762127"/>
                <a:gd name="connsiteX4362" fmla="*/ 6861852 w 9759834"/>
                <a:gd name="connsiteY4362" fmla="*/ 666750 h 1762127"/>
                <a:gd name="connsiteX4363" fmla="*/ 6827720 w 9759834"/>
                <a:gd name="connsiteY4363" fmla="*/ 631825 h 1762127"/>
                <a:gd name="connsiteX4364" fmla="*/ 6861852 w 9759834"/>
                <a:gd name="connsiteY4364" fmla="*/ 596900 h 1762127"/>
                <a:gd name="connsiteX4365" fmla="*/ 6691195 w 9759834"/>
                <a:gd name="connsiteY4365" fmla="*/ 596900 h 1762127"/>
                <a:gd name="connsiteX4366" fmla="*/ 6726120 w 9759834"/>
                <a:gd name="connsiteY4366" fmla="*/ 631825 h 1762127"/>
                <a:gd name="connsiteX4367" fmla="*/ 6691195 w 9759834"/>
                <a:gd name="connsiteY4367" fmla="*/ 666750 h 1762127"/>
                <a:gd name="connsiteX4368" fmla="*/ 6656270 w 9759834"/>
                <a:gd name="connsiteY4368" fmla="*/ 631825 h 1762127"/>
                <a:gd name="connsiteX4369" fmla="*/ 6691195 w 9759834"/>
                <a:gd name="connsiteY4369" fmla="*/ 596900 h 1762127"/>
                <a:gd name="connsiteX4370" fmla="*/ 6607852 w 9759834"/>
                <a:gd name="connsiteY4370" fmla="*/ 596900 h 1762127"/>
                <a:gd name="connsiteX4371" fmla="*/ 6645159 w 9759834"/>
                <a:gd name="connsiteY4371" fmla="*/ 631825 h 1762127"/>
                <a:gd name="connsiteX4372" fmla="*/ 6607852 w 9759834"/>
                <a:gd name="connsiteY4372" fmla="*/ 666750 h 1762127"/>
                <a:gd name="connsiteX4373" fmla="*/ 6570545 w 9759834"/>
                <a:gd name="connsiteY4373" fmla="*/ 631825 h 1762127"/>
                <a:gd name="connsiteX4374" fmla="*/ 6607852 w 9759834"/>
                <a:gd name="connsiteY4374" fmla="*/ 596900 h 1762127"/>
                <a:gd name="connsiteX4375" fmla="*/ 6268920 w 9759834"/>
                <a:gd name="connsiteY4375" fmla="*/ 596900 h 1762127"/>
                <a:gd name="connsiteX4376" fmla="*/ 6303845 w 9759834"/>
                <a:gd name="connsiteY4376" fmla="*/ 631825 h 1762127"/>
                <a:gd name="connsiteX4377" fmla="*/ 6268920 w 9759834"/>
                <a:gd name="connsiteY4377" fmla="*/ 666750 h 1762127"/>
                <a:gd name="connsiteX4378" fmla="*/ 6233995 w 9759834"/>
                <a:gd name="connsiteY4378" fmla="*/ 631825 h 1762127"/>
                <a:gd name="connsiteX4379" fmla="*/ 6268920 w 9759834"/>
                <a:gd name="connsiteY4379" fmla="*/ 596900 h 1762127"/>
                <a:gd name="connsiteX4380" fmla="*/ 4332171 w 9759834"/>
                <a:gd name="connsiteY4380" fmla="*/ 596900 h 1762127"/>
                <a:gd name="connsiteX4381" fmla="*/ 4368684 w 9759834"/>
                <a:gd name="connsiteY4381" fmla="*/ 631825 h 1762127"/>
                <a:gd name="connsiteX4382" fmla="*/ 4332171 w 9759834"/>
                <a:gd name="connsiteY4382" fmla="*/ 666750 h 1762127"/>
                <a:gd name="connsiteX4383" fmla="*/ 4295658 w 9759834"/>
                <a:gd name="connsiteY4383" fmla="*/ 631825 h 1762127"/>
                <a:gd name="connsiteX4384" fmla="*/ 4332171 w 9759834"/>
                <a:gd name="connsiteY4384" fmla="*/ 596900 h 1762127"/>
                <a:gd name="connsiteX4385" fmla="*/ 4248827 w 9759834"/>
                <a:gd name="connsiteY4385" fmla="*/ 596900 h 1762127"/>
                <a:gd name="connsiteX4386" fmla="*/ 4282959 w 9759834"/>
                <a:gd name="connsiteY4386" fmla="*/ 631825 h 1762127"/>
                <a:gd name="connsiteX4387" fmla="*/ 4248827 w 9759834"/>
                <a:gd name="connsiteY4387" fmla="*/ 666750 h 1762127"/>
                <a:gd name="connsiteX4388" fmla="*/ 4214695 w 9759834"/>
                <a:gd name="connsiteY4388" fmla="*/ 631825 h 1762127"/>
                <a:gd name="connsiteX4389" fmla="*/ 4248827 w 9759834"/>
                <a:gd name="connsiteY4389" fmla="*/ 596900 h 1762127"/>
                <a:gd name="connsiteX4390" fmla="*/ 4163895 w 9759834"/>
                <a:gd name="connsiteY4390" fmla="*/ 596900 h 1762127"/>
                <a:gd name="connsiteX4391" fmla="*/ 4198820 w 9759834"/>
                <a:gd name="connsiteY4391" fmla="*/ 631825 h 1762127"/>
                <a:gd name="connsiteX4392" fmla="*/ 4163895 w 9759834"/>
                <a:gd name="connsiteY4392" fmla="*/ 666750 h 1762127"/>
                <a:gd name="connsiteX4393" fmla="*/ 4128970 w 9759834"/>
                <a:gd name="connsiteY4393" fmla="*/ 631825 h 1762127"/>
                <a:gd name="connsiteX4394" fmla="*/ 4163895 w 9759834"/>
                <a:gd name="connsiteY4394" fmla="*/ 596900 h 1762127"/>
                <a:gd name="connsiteX4395" fmla="*/ 4078170 w 9759834"/>
                <a:gd name="connsiteY4395" fmla="*/ 596900 h 1762127"/>
                <a:gd name="connsiteX4396" fmla="*/ 4113095 w 9759834"/>
                <a:gd name="connsiteY4396" fmla="*/ 631825 h 1762127"/>
                <a:gd name="connsiteX4397" fmla="*/ 4078170 w 9759834"/>
                <a:gd name="connsiteY4397" fmla="*/ 666750 h 1762127"/>
                <a:gd name="connsiteX4398" fmla="*/ 4043245 w 9759834"/>
                <a:gd name="connsiteY4398" fmla="*/ 631825 h 1762127"/>
                <a:gd name="connsiteX4399" fmla="*/ 4078170 w 9759834"/>
                <a:gd name="connsiteY4399" fmla="*/ 596900 h 1762127"/>
                <a:gd name="connsiteX4400" fmla="*/ 3993240 w 9759834"/>
                <a:gd name="connsiteY4400" fmla="*/ 596900 h 1762127"/>
                <a:gd name="connsiteX4401" fmla="*/ 4027372 w 9759834"/>
                <a:gd name="connsiteY4401" fmla="*/ 631825 h 1762127"/>
                <a:gd name="connsiteX4402" fmla="*/ 3993240 w 9759834"/>
                <a:gd name="connsiteY4402" fmla="*/ 666750 h 1762127"/>
                <a:gd name="connsiteX4403" fmla="*/ 3959108 w 9759834"/>
                <a:gd name="connsiteY4403" fmla="*/ 631825 h 1762127"/>
                <a:gd name="connsiteX4404" fmla="*/ 3993240 w 9759834"/>
                <a:gd name="connsiteY4404" fmla="*/ 596900 h 1762127"/>
                <a:gd name="connsiteX4405" fmla="*/ 3912277 w 9759834"/>
                <a:gd name="connsiteY4405" fmla="*/ 596900 h 1762127"/>
                <a:gd name="connsiteX4406" fmla="*/ 3946409 w 9759834"/>
                <a:gd name="connsiteY4406" fmla="*/ 631825 h 1762127"/>
                <a:gd name="connsiteX4407" fmla="*/ 3912277 w 9759834"/>
                <a:gd name="connsiteY4407" fmla="*/ 666750 h 1762127"/>
                <a:gd name="connsiteX4408" fmla="*/ 3878145 w 9759834"/>
                <a:gd name="connsiteY4408" fmla="*/ 631825 h 1762127"/>
                <a:gd name="connsiteX4409" fmla="*/ 3912277 w 9759834"/>
                <a:gd name="connsiteY4409" fmla="*/ 596900 h 1762127"/>
                <a:gd name="connsiteX4410" fmla="*/ 3826552 w 9759834"/>
                <a:gd name="connsiteY4410" fmla="*/ 596900 h 1762127"/>
                <a:gd name="connsiteX4411" fmla="*/ 3860684 w 9759834"/>
                <a:gd name="connsiteY4411" fmla="*/ 631825 h 1762127"/>
                <a:gd name="connsiteX4412" fmla="*/ 3826552 w 9759834"/>
                <a:gd name="connsiteY4412" fmla="*/ 666750 h 1762127"/>
                <a:gd name="connsiteX4413" fmla="*/ 3792420 w 9759834"/>
                <a:gd name="connsiteY4413" fmla="*/ 631825 h 1762127"/>
                <a:gd name="connsiteX4414" fmla="*/ 3826552 w 9759834"/>
                <a:gd name="connsiteY4414" fmla="*/ 596900 h 1762127"/>
                <a:gd name="connsiteX4415" fmla="*/ 3741620 w 9759834"/>
                <a:gd name="connsiteY4415" fmla="*/ 596900 h 1762127"/>
                <a:gd name="connsiteX4416" fmla="*/ 3776545 w 9759834"/>
                <a:gd name="connsiteY4416" fmla="*/ 631825 h 1762127"/>
                <a:gd name="connsiteX4417" fmla="*/ 3741620 w 9759834"/>
                <a:gd name="connsiteY4417" fmla="*/ 666750 h 1762127"/>
                <a:gd name="connsiteX4418" fmla="*/ 3706695 w 9759834"/>
                <a:gd name="connsiteY4418" fmla="*/ 631825 h 1762127"/>
                <a:gd name="connsiteX4419" fmla="*/ 3741620 w 9759834"/>
                <a:gd name="connsiteY4419" fmla="*/ 596900 h 1762127"/>
                <a:gd name="connsiteX4420" fmla="*/ 3234415 w 9759834"/>
                <a:gd name="connsiteY4420" fmla="*/ 596900 h 1762127"/>
                <a:gd name="connsiteX4421" fmla="*/ 3268547 w 9759834"/>
                <a:gd name="connsiteY4421" fmla="*/ 631825 h 1762127"/>
                <a:gd name="connsiteX4422" fmla="*/ 3234415 w 9759834"/>
                <a:gd name="connsiteY4422" fmla="*/ 666750 h 1762127"/>
                <a:gd name="connsiteX4423" fmla="*/ 3200283 w 9759834"/>
                <a:gd name="connsiteY4423" fmla="*/ 631825 h 1762127"/>
                <a:gd name="connsiteX4424" fmla="*/ 3234415 w 9759834"/>
                <a:gd name="connsiteY4424" fmla="*/ 596900 h 1762127"/>
                <a:gd name="connsiteX4425" fmla="*/ 3153452 w 9759834"/>
                <a:gd name="connsiteY4425" fmla="*/ 596900 h 1762127"/>
                <a:gd name="connsiteX4426" fmla="*/ 3187584 w 9759834"/>
                <a:gd name="connsiteY4426" fmla="*/ 631825 h 1762127"/>
                <a:gd name="connsiteX4427" fmla="*/ 3153452 w 9759834"/>
                <a:gd name="connsiteY4427" fmla="*/ 666750 h 1762127"/>
                <a:gd name="connsiteX4428" fmla="*/ 3119320 w 9759834"/>
                <a:gd name="connsiteY4428" fmla="*/ 631825 h 1762127"/>
                <a:gd name="connsiteX4429" fmla="*/ 3153452 w 9759834"/>
                <a:gd name="connsiteY4429" fmla="*/ 596900 h 1762127"/>
                <a:gd name="connsiteX4430" fmla="*/ 2983590 w 9759834"/>
                <a:gd name="connsiteY4430" fmla="*/ 596900 h 1762127"/>
                <a:gd name="connsiteX4431" fmla="*/ 3017722 w 9759834"/>
                <a:gd name="connsiteY4431" fmla="*/ 631825 h 1762127"/>
                <a:gd name="connsiteX4432" fmla="*/ 2983590 w 9759834"/>
                <a:gd name="connsiteY4432" fmla="*/ 666750 h 1762127"/>
                <a:gd name="connsiteX4433" fmla="*/ 2949458 w 9759834"/>
                <a:gd name="connsiteY4433" fmla="*/ 631825 h 1762127"/>
                <a:gd name="connsiteX4434" fmla="*/ 2983590 w 9759834"/>
                <a:gd name="connsiteY4434" fmla="*/ 596900 h 1762127"/>
                <a:gd name="connsiteX4435" fmla="*/ 2561353 w 9759834"/>
                <a:gd name="connsiteY4435" fmla="*/ 596900 h 1762127"/>
                <a:gd name="connsiteX4436" fmla="*/ 2595485 w 9759834"/>
                <a:gd name="connsiteY4436" fmla="*/ 631825 h 1762127"/>
                <a:gd name="connsiteX4437" fmla="*/ 2561353 w 9759834"/>
                <a:gd name="connsiteY4437" fmla="*/ 666750 h 1762127"/>
                <a:gd name="connsiteX4438" fmla="*/ 2527221 w 9759834"/>
                <a:gd name="connsiteY4438" fmla="*/ 631825 h 1762127"/>
                <a:gd name="connsiteX4439" fmla="*/ 2561353 w 9759834"/>
                <a:gd name="connsiteY4439" fmla="*/ 596900 h 1762127"/>
                <a:gd name="connsiteX4440" fmla="*/ 2309732 w 9759834"/>
                <a:gd name="connsiteY4440" fmla="*/ 596900 h 1762127"/>
                <a:gd name="connsiteX4441" fmla="*/ 2344659 w 9759834"/>
                <a:gd name="connsiteY4441" fmla="*/ 631825 h 1762127"/>
                <a:gd name="connsiteX4442" fmla="*/ 2309732 w 9759834"/>
                <a:gd name="connsiteY4442" fmla="*/ 666750 h 1762127"/>
                <a:gd name="connsiteX4443" fmla="*/ 2274806 w 9759834"/>
                <a:gd name="connsiteY4443" fmla="*/ 631825 h 1762127"/>
                <a:gd name="connsiteX4444" fmla="*/ 2309732 w 9759834"/>
                <a:gd name="connsiteY4444" fmla="*/ 596900 h 1762127"/>
                <a:gd name="connsiteX4445" fmla="*/ 2224804 w 9759834"/>
                <a:gd name="connsiteY4445" fmla="*/ 596900 h 1762127"/>
                <a:gd name="connsiteX4446" fmla="*/ 2258936 w 9759834"/>
                <a:gd name="connsiteY4446" fmla="*/ 631825 h 1762127"/>
                <a:gd name="connsiteX4447" fmla="*/ 2224804 w 9759834"/>
                <a:gd name="connsiteY4447" fmla="*/ 666750 h 1762127"/>
                <a:gd name="connsiteX4448" fmla="*/ 2190671 w 9759834"/>
                <a:gd name="connsiteY4448" fmla="*/ 631825 h 1762127"/>
                <a:gd name="connsiteX4449" fmla="*/ 2224804 w 9759834"/>
                <a:gd name="connsiteY4449" fmla="*/ 596900 h 1762127"/>
                <a:gd name="connsiteX4450" fmla="*/ 2055738 w 9759834"/>
                <a:gd name="connsiteY4450" fmla="*/ 596900 h 1762127"/>
                <a:gd name="connsiteX4451" fmla="*/ 2092252 w 9759834"/>
                <a:gd name="connsiteY4451" fmla="*/ 631825 h 1762127"/>
                <a:gd name="connsiteX4452" fmla="*/ 2055738 w 9759834"/>
                <a:gd name="connsiteY4452" fmla="*/ 666750 h 1762127"/>
                <a:gd name="connsiteX4453" fmla="*/ 2019226 w 9759834"/>
                <a:gd name="connsiteY4453" fmla="*/ 631825 h 1762127"/>
                <a:gd name="connsiteX4454" fmla="*/ 2055738 w 9759834"/>
                <a:gd name="connsiteY4454" fmla="*/ 596900 h 1762127"/>
                <a:gd name="connsiteX4455" fmla="*/ 1973301 w 9759834"/>
                <a:gd name="connsiteY4455" fmla="*/ 596900 h 1762127"/>
                <a:gd name="connsiteX4456" fmla="*/ 2008227 w 9759834"/>
                <a:gd name="connsiteY4456" fmla="*/ 631825 h 1762127"/>
                <a:gd name="connsiteX4457" fmla="*/ 1973301 w 9759834"/>
                <a:gd name="connsiteY4457" fmla="*/ 666750 h 1762127"/>
                <a:gd name="connsiteX4458" fmla="*/ 1938380 w 9759834"/>
                <a:gd name="connsiteY4458" fmla="*/ 631825 h 1762127"/>
                <a:gd name="connsiteX4459" fmla="*/ 1973301 w 9759834"/>
                <a:gd name="connsiteY4459" fmla="*/ 596900 h 1762127"/>
                <a:gd name="connsiteX4460" fmla="*/ 1888373 w 9759834"/>
                <a:gd name="connsiteY4460" fmla="*/ 596900 h 1762127"/>
                <a:gd name="connsiteX4461" fmla="*/ 1922503 w 9759834"/>
                <a:gd name="connsiteY4461" fmla="*/ 631825 h 1762127"/>
                <a:gd name="connsiteX4462" fmla="*/ 1888373 w 9759834"/>
                <a:gd name="connsiteY4462" fmla="*/ 666750 h 1762127"/>
                <a:gd name="connsiteX4463" fmla="*/ 1854243 w 9759834"/>
                <a:gd name="connsiteY4463" fmla="*/ 631825 h 1762127"/>
                <a:gd name="connsiteX4464" fmla="*/ 1888373 w 9759834"/>
                <a:gd name="connsiteY4464" fmla="*/ 596900 h 1762127"/>
                <a:gd name="connsiteX4465" fmla="*/ 1719175 w 9759834"/>
                <a:gd name="connsiteY4465" fmla="*/ 596900 h 1762127"/>
                <a:gd name="connsiteX4466" fmla="*/ 1755688 w 9759834"/>
                <a:gd name="connsiteY4466" fmla="*/ 631825 h 1762127"/>
                <a:gd name="connsiteX4467" fmla="*/ 1719175 w 9759834"/>
                <a:gd name="connsiteY4467" fmla="*/ 666750 h 1762127"/>
                <a:gd name="connsiteX4468" fmla="*/ 1682663 w 9759834"/>
                <a:gd name="connsiteY4468" fmla="*/ 631825 h 1762127"/>
                <a:gd name="connsiteX4469" fmla="*/ 1719175 w 9759834"/>
                <a:gd name="connsiteY4469" fmla="*/ 596900 h 1762127"/>
                <a:gd name="connsiteX4470" fmla="*/ 1636625 w 9759834"/>
                <a:gd name="connsiteY4470" fmla="*/ 596900 h 1762127"/>
                <a:gd name="connsiteX4471" fmla="*/ 1671551 w 9759834"/>
                <a:gd name="connsiteY4471" fmla="*/ 631825 h 1762127"/>
                <a:gd name="connsiteX4472" fmla="*/ 1636625 w 9759834"/>
                <a:gd name="connsiteY4472" fmla="*/ 666750 h 1762127"/>
                <a:gd name="connsiteX4473" fmla="*/ 1601700 w 9759834"/>
                <a:gd name="connsiteY4473" fmla="*/ 631825 h 1762127"/>
                <a:gd name="connsiteX4474" fmla="*/ 1636625 w 9759834"/>
                <a:gd name="connsiteY4474" fmla="*/ 596900 h 1762127"/>
                <a:gd name="connsiteX4475" fmla="*/ 1551694 w 9759834"/>
                <a:gd name="connsiteY4475" fmla="*/ 596900 h 1762127"/>
                <a:gd name="connsiteX4476" fmla="*/ 1585827 w 9759834"/>
                <a:gd name="connsiteY4476" fmla="*/ 631825 h 1762127"/>
                <a:gd name="connsiteX4477" fmla="*/ 1551694 w 9759834"/>
                <a:gd name="connsiteY4477" fmla="*/ 666750 h 1762127"/>
                <a:gd name="connsiteX4478" fmla="*/ 1517562 w 9759834"/>
                <a:gd name="connsiteY4478" fmla="*/ 631825 h 1762127"/>
                <a:gd name="connsiteX4479" fmla="*/ 1551694 w 9759834"/>
                <a:gd name="connsiteY4479" fmla="*/ 596900 h 1762127"/>
                <a:gd name="connsiteX4480" fmla="*/ 1465966 w 9759834"/>
                <a:gd name="connsiteY4480" fmla="*/ 596900 h 1762127"/>
                <a:gd name="connsiteX4481" fmla="*/ 1500098 w 9759834"/>
                <a:gd name="connsiteY4481" fmla="*/ 631825 h 1762127"/>
                <a:gd name="connsiteX4482" fmla="*/ 1465966 w 9759834"/>
                <a:gd name="connsiteY4482" fmla="*/ 666750 h 1762127"/>
                <a:gd name="connsiteX4483" fmla="*/ 1431834 w 9759834"/>
                <a:gd name="connsiteY4483" fmla="*/ 631825 h 1762127"/>
                <a:gd name="connsiteX4484" fmla="*/ 1465966 w 9759834"/>
                <a:gd name="connsiteY4484" fmla="*/ 596900 h 1762127"/>
                <a:gd name="connsiteX4485" fmla="*/ 1380239 w 9759834"/>
                <a:gd name="connsiteY4485" fmla="*/ 596900 h 1762127"/>
                <a:gd name="connsiteX4486" fmla="*/ 1414372 w 9759834"/>
                <a:gd name="connsiteY4486" fmla="*/ 631825 h 1762127"/>
                <a:gd name="connsiteX4487" fmla="*/ 1380239 w 9759834"/>
                <a:gd name="connsiteY4487" fmla="*/ 666750 h 1762127"/>
                <a:gd name="connsiteX4488" fmla="*/ 1346108 w 9759834"/>
                <a:gd name="connsiteY4488" fmla="*/ 631825 h 1762127"/>
                <a:gd name="connsiteX4489" fmla="*/ 1380239 w 9759834"/>
                <a:gd name="connsiteY4489" fmla="*/ 596900 h 1762127"/>
                <a:gd name="connsiteX4490" fmla="*/ 1300069 w 9759834"/>
                <a:gd name="connsiteY4490" fmla="*/ 596900 h 1762127"/>
                <a:gd name="connsiteX4491" fmla="*/ 1334994 w 9759834"/>
                <a:gd name="connsiteY4491" fmla="*/ 631825 h 1762127"/>
                <a:gd name="connsiteX4492" fmla="*/ 1300069 w 9759834"/>
                <a:gd name="connsiteY4492" fmla="*/ 666750 h 1762127"/>
                <a:gd name="connsiteX4493" fmla="*/ 1265143 w 9759834"/>
                <a:gd name="connsiteY4493" fmla="*/ 631825 h 1762127"/>
                <a:gd name="connsiteX4494" fmla="*/ 1300069 w 9759834"/>
                <a:gd name="connsiteY4494" fmla="*/ 596900 h 1762127"/>
                <a:gd name="connsiteX4495" fmla="*/ 1214323 w 9759834"/>
                <a:gd name="connsiteY4495" fmla="*/ 596900 h 1762127"/>
                <a:gd name="connsiteX4496" fmla="*/ 1249248 w 9759834"/>
                <a:gd name="connsiteY4496" fmla="*/ 631825 h 1762127"/>
                <a:gd name="connsiteX4497" fmla="*/ 1214323 w 9759834"/>
                <a:gd name="connsiteY4497" fmla="*/ 666750 h 1762127"/>
                <a:gd name="connsiteX4498" fmla="*/ 1179398 w 9759834"/>
                <a:gd name="connsiteY4498" fmla="*/ 631825 h 1762127"/>
                <a:gd name="connsiteX4499" fmla="*/ 1214323 w 9759834"/>
                <a:gd name="connsiteY4499" fmla="*/ 596900 h 1762127"/>
                <a:gd name="connsiteX4500" fmla="*/ 1129392 w 9759834"/>
                <a:gd name="connsiteY4500" fmla="*/ 596900 h 1762127"/>
                <a:gd name="connsiteX4501" fmla="*/ 1163524 w 9759834"/>
                <a:gd name="connsiteY4501" fmla="*/ 631825 h 1762127"/>
                <a:gd name="connsiteX4502" fmla="*/ 1129392 w 9759834"/>
                <a:gd name="connsiteY4502" fmla="*/ 666750 h 1762127"/>
                <a:gd name="connsiteX4503" fmla="*/ 1095260 w 9759834"/>
                <a:gd name="connsiteY4503" fmla="*/ 631825 h 1762127"/>
                <a:gd name="connsiteX4504" fmla="*/ 1129392 w 9759834"/>
                <a:gd name="connsiteY4504" fmla="*/ 596900 h 1762127"/>
                <a:gd name="connsiteX4505" fmla="*/ 1043667 w 9759834"/>
                <a:gd name="connsiteY4505" fmla="*/ 596900 h 1762127"/>
                <a:gd name="connsiteX4506" fmla="*/ 1077799 w 9759834"/>
                <a:gd name="connsiteY4506" fmla="*/ 631825 h 1762127"/>
                <a:gd name="connsiteX4507" fmla="*/ 1043667 w 9759834"/>
                <a:gd name="connsiteY4507" fmla="*/ 666750 h 1762127"/>
                <a:gd name="connsiteX4508" fmla="*/ 1009535 w 9759834"/>
                <a:gd name="connsiteY4508" fmla="*/ 631825 h 1762127"/>
                <a:gd name="connsiteX4509" fmla="*/ 1043667 w 9759834"/>
                <a:gd name="connsiteY4509" fmla="*/ 596900 h 1762127"/>
                <a:gd name="connsiteX4510" fmla="*/ 960324 w 9759834"/>
                <a:gd name="connsiteY4510" fmla="*/ 596900 h 1762127"/>
                <a:gd name="connsiteX4511" fmla="*/ 996836 w 9759834"/>
                <a:gd name="connsiteY4511" fmla="*/ 631825 h 1762127"/>
                <a:gd name="connsiteX4512" fmla="*/ 960324 w 9759834"/>
                <a:gd name="connsiteY4512" fmla="*/ 666750 h 1762127"/>
                <a:gd name="connsiteX4513" fmla="*/ 923810 w 9759834"/>
                <a:gd name="connsiteY4513" fmla="*/ 631825 h 1762127"/>
                <a:gd name="connsiteX4514" fmla="*/ 960324 w 9759834"/>
                <a:gd name="connsiteY4514" fmla="*/ 596900 h 1762127"/>
                <a:gd name="connsiteX4515" fmla="*/ 877939 w 9759834"/>
                <a:gd name="connsiteY4515" fmla="*/ 596900 h 1762127"/>
                <a:gd name="connsiteX4516" fmla="*/ 912864 w 9759834"/>
                <a:gd name="connsiteY4516" fmla="*/ 631825 h 1762127"/>
                <a:gd name="connsiteX4517" fmla="*/ 877939 w 9759834"/>
                <a:gd name="connsiteY4517" fmla="*/ 666750 h 1762127"/>
                <a:gd name="connsiteX4518" fmla="*/ 843014 w 9759834"/>
                <a:gd name="connsiteY4518" fmla="*/ 631825 h 1762127"/>
                <a:gd name="connsiteX4519" fmla="*/ 877939 w 9759834"/>
                <a:gd name="connsiteY4519" fmla="*/ 596900 h 1762127"/>
                <a:gd name="connsiteX4520" fmla="*/ 793002 w 9759834"/>
                <a:gd name="connsiteY4520" fmla="*/ 596900 h 1762127"/>
                <a:gd name="connsiteX4521" fmla="*/ 827137 w 9759834"/>
                <a:gd name="connsiteY4521" fmla="*/ 631825 h 1762127"/>
                <a:gd name="connsiteX4522" fmla="*/ 793002 w 9759834"/>
                <a:gd name="connsiteY4522" fmla="*/ 666750 h 1762127"/>
                <a:gd name="connsiteX4523" fmla="*/ 758871 w 9759834"/>
                <a:gd name="connsiteY4523" fmla="*/ 631825 h 1762127"/>
                <a:gd name="connsiteX4524" fmla="*/ 793002 w 9759834"/>
                <a:gd name="connsiteY4524" fmla="*/ 596900 h 1762127"/>
                <a:gd name="connsiteX4525" fmla="*/ 707275 w 9759834"/>
                <a:gd name="connsiteY4525" fmla="*/ 596900 h 1762127"/>
                <a:gd name="connsiteX4526" fmla="*/ 741409 w 9759834"/>
                <a:gd name="connsiteY4526" fmla="*/ 631825 h 1762127"/>
                <a:gd name="connsiteX4527" fmla="*/ 707275 w 9759834"/>
                <a:gd name="connsiteY4527" fmla="*/ 666750 h 1762127"/>
                <a:gd name="connsiteX4528" fmla="*/ 673133 w 9759834"/>
                <a:gd name="connsiteY4528" fmla="*/ 631825 h 1762127"/>
                <a:gd name="connsiteX4529" fmla="*/ 707275 w 9759834"/>
                <a:gd name="connsiteY4529" fmla="*/ 596900 h 1762127"/>
                <a:gd name="connsiteX4530" fmla="*/ 8716052 w 9759834"/>
                <a:gd name="connsiteY4530" fmla="*/ 511175 h 1762127"/>
                <a:gd name="connsiteX4531" fmla="*/ 8750184 w 9759834"/>
                <a:gd name="connsiteY4531" fmla="*/ 545307 h 1762127"/>
                <a:gd name="connsiteX4532" fmla="*/ 8716052 w 9759834"/>
                <a:gd name="connsiteY4532" fmla="*/ 579439 h 1762127"/>
                <a:gd name="connsiteX4533" fmla="*/ 8681920 w 9759834"/>
                <a:gd name="connsiteY4533" fmla="*/ 545307 h 1762127"/>
                <a:gd name="connsiteX4534" fmla="*/ 8716052 w 9759834"/>
                <a:gd name="connsiteY4534" fmla="*/ 511175 h 1762127"/>
                <a:gd name="connsiteX4535" fmla="*/ 8630327 w 9759834"/>
                <a:gd name="connsiteY4535" fmla="*/ 511175 h 1762127"/>
                <a:gd name="connsiteX4536" fmla="*/ 8664459 w 9759834"/>
                <a:gd name="connsiteY4536" fmla="*/ 545307 h 1762127"/>
                <a:gd name="connsiteX4537" fmla="*/ 8630327 w 9759834"/>
                <a:gd name="connsiteY4537" fmla="*/ 579439 h 1762127"/>
                <a:gd name="connsiteX4538" fmla="*/ 8596195 w 9759834"/>
                <a:gd name="connsiteY4538" fmla="*/ 545307 h 1762127"/>
                <a:gd name="connsiteX4539" fmla="*/ 8630327 w 9759834"/>
                <a:gd name="connsiteY4539" fmla="*/ 511175 h 1762127"/>
                <a:gd name="connsiteX4540" fmla="*/ 8544602 w 9759834"/>
                <a:gd name="connsiteY4540" fmla="*/ 511175 h 1762127"/>
                <a:gd name="connsiteX4541" fmla="*/ 8578734 w 9759834"/>
                <a:gd name="connsiteY4541" fmla="*/ 545307 h 1762127"/>
                <a:gd name="connsiteX4542" fmla="*/ 8544602 w 9759834"/>
                <a:gd name="connsiteY4542" fmla="*/ 579439 h 1762127"/>
                <a:gd name="connsiteX4543" fmla="*/ 8510470 w 9759834"/>
                <a:gd name="connsiteY4543" fmla="*/ 545307 h 1762127"/>
                <a:gd name="connsiteX4544" fmla="*/ 8544602 w 9759834"/>
                <a:gd name="connsiteY4544" fmla="*/ 511175 h 1762127"/>
                <a:gd name="connsiteX4545" fmla="*/ 8465227 w 9759834"/>
                <a:gd name="connsiteY4545" fmla="*/ 511175 h 1762127"/>
                <a:gd name="connsiteX4546" fmla="*/ 8499359 w 9759834"/>
                <a:gd name="connsiteY4546" fmla="*/ 545307 h 1762127"/>
                <a:gd name="connsiteX4547" fmla="*/ 8465227 w 9759834"/>
                <a:gd name="connsiteY4547" fmla="*/ 579439 h 1762127"/>
                <a:gd name="connsiteX4548" fmla="*/ 8431095 w 9759834"/>
                <a:gd name="connsiteY4548" fmla="*/ 545307 h 1762127"/>
                <a:gd name="connsiteX4549" fmla="*/ 8465227 w 9759834"/>
                <a:gd name="connsiteY4549" fmla="*/ 511175 h 1762127"/>
                <a:gd name="connsiteX4550" fmla="*/ 8379502 w 9759834"/>
                <a:gd name="connsiteY4550" fmla="*/ 511175 h 1762127"/>
                <a:gd name="connsiteX4551" fmla="*/ 8413634 w 9759834"/>
                <a:gd name="connsiteY4551" fmla="*/ 545307 h 1762127"/>
                <a:gd name="connsiteX4552" fmla="*/ 8379502 w 9759834"/>
                <a:gd name="connsiteY4552" fmla="*/ 579439 h 1762127"/>
                <a:gd name="connsiteX4553" fmla="*/ 8345370 w 9759834"/>
                <a:gd name="connsiteY4553" fmla="*/ 545307 h 1762127"/>
                <a:gd name="connsiteX4554" fmla="*/ 8379502 w 9759834"/>
                <a:gd name="connsiteY4554" fmla="*/ 511175 h 1762127"/>
                <a:gd name="connsiteX4555" fmla="*/ 8293777 w 9759834"/>
                <a:gd name="connsiteY4555" fmla="*/ 511175 h 1762127"/>
                <a:gd name="connsiteX4556" fmla="*/ 8327909 w 9759834"/>
                <a:gd name="connsiteY4556" fmla="*/ 545307 h 1762127"/>
                <a:gd name="connsiteX4557" fmla="*/ 8293777 w 9759834"/>
                <a:gd name="connsiteY4557" fmla="*/ 579439 h 1762127"/>
                <a:gd name="connsiteX4558" fmla="*/ 8259645 w 9759834"/>
                <a:gd name="connsiteY4558" fmla="*/ 545307 h 1762127"/>
                <a:gd name="connsiteX4559" fmla="*/ 8293777 w 9759834"/>
                <a:gd name="connsiteY4559" fmla="*/ 511175 h 1762127"/>
                <a:gd name="connsiteX4560" fmla="*/ 8208052 w 9759834"/>
                <a:gd name="connsiteY4560" fmla="*/ 511175 h 1762127"/>
                <a:gd name="connsiteX4561" fmla="*/ 8242184 w 9759834"/>
                <a:gd name="connsiteY4561" fmla="*/ 545307 h 1762127"/>
                <a:gd name="connsiteX4562" fmla="*/ 8208052 w 9759834"/>
                <a:gd name="connsiteY4562" fmla="*/ 579439 h 1762127"/>
                <a:gd name="connsiteX4563" fmla="*/ 8173920 w 9759834"/>
                <a:gd name="connsiteY4563" fmla="*/ 545307 h 1762127"/>
                <a:gd name="connsiteX4564" fmla="*/ 8208052 w 9759834"/>
                <a:gd name="connsiteY4564" fmla="*/ 511175 h 1762127"/>
                <a:gd name="connsiteX4565" fmla="*/ 8125502 w 9759834"/>
                <a:gd name="connsiteY4565" fmla="*/ 511175 h 1762127"/>
                <a:gd name="connsiteX4566" fmla="*/ 8162809 w 9759834"/>
                <a:gd name="connsiteY4566" fmla="*/ 545307 h 1762127"/>
                <a:gd name="connsiteX4567" fmla="*/ 8125502 w 9759834"/>
                <a:gd name="connsiteY4567" fmla="*/ 579439 h 1762127"/>
                <a:gd name="connsiteX4568" fmla="*/ 8088195 w 9759834"/>
                <a:gd name="connsiteY4568" fmla="*/ 545307 h 1762127"/>
                <a:gd name="connsiteX4569" fmla="*/ 8125502 w 9759834"/>
                <a:gd name="connsiteY4569" fmla="*/ 511175 h 1762127"/>
                <a:gd name="connsiteX4570" fmla="*/ 8042952 w 9759834"/>
                <a:gd name="connsiteY4570" fmla="*/ 511175 h 1762127"/>
                <a:gd name="connsiteX4571" fmla="*/ 8077084 w 9759834"/>
                <a:gd name="connsiteY4571" fmla="*/ 545307 h 1762127"/>
                <a:gd name="connsiteX4572" fmla="*/ 8042952 w 9759834"/>
                <a:gd name="connsiteY4572" fmla="*/ 579439 h 1762127"/>
                <a:gd name="connsiteX4573" fmla="*/ 8008820 w 9759834"/>
                <a:gd name="connsiteY4573" fmla="*/ 545307 h 1762127"/>
                <a:gd name="connsiteX4574" fmla="*/ 8042952 w 9759834"/>
                <a:gd name="connsiteY4574" fmla="*/ 511175 h 1762127"/>
                <a:gd name="connsiteX4575" fmla="*/ 7957227 w 9759834"/>
                <a:gd name="connsiteY4575" fmla="*/ 511175 h 1762127"/>
                <a:gd name="connsiteX4576" fmla="*/ 7991359 w 9759834"/>
                <a:gd name="connsiteY4576" fmla="*/ 545307 h 1762127"/>
                <a:gd name="connsiteX4577" fmla="*/ 7957227 w 9759834"/>
                <a:gd name="connsiteY4577" fmla="*/ 579439 h 1762127"/>
                <a:gd name="connsiteX4578" fmla="*/ 7923095 w 9759834"/>
                <a:gd name="connsiteY4578" fmla="*/ 545307 h 1762127"/>
                <a:gd name="connsiteX4579" fmla="*/ 7957227 w 9759834"/>
                <a:gd name="connsiteY4579" fmla="*/ 511175 h 1762127"/>
                <a:gd name="connsiteX4580" fmla="*/ 7871502 w 9759834"/>
                <a:gd name="connsiteY4580" fmla="*/ 511175 h 1762127"/>
                <a:gd name="connsiteX4581" fmla="*/ 7905634 w 9759834"/>
                <a:gd name="connsiteY4581" fmla="*/ 545307 h 1762127"/>
                <a:gd name="connsiteX4582" fmla="*/ 7871502 w 9759834"/>
                <a:gd name="connsiteY4582" fmla="*/ 579439 h 1762127"/>
                <a:gd name="connsiteX4583" fmla="*/ 7837370 w 9759834"/>
                <a:gd name="connsiteY4583" fmla="*/ 545307 h 1762127"/>
                <a:gd name="connsiteX4584" fmla="*/ 7871502 w 9759834"/>
                <a:gd name="connsiteY4584" fmla="*/ 511175 h 1762127"/>
                <a:gd name="connsiteX4585" fmla="*/ 7785777 w 9759834"/>
                <a:gd name="connsiteY4585" fmla="*/ 511175 h 1762127"/>
                <a:gd name="connsiteX4586" fmla="*/ 7819909 w 9759834"/>
                <a:gd name="connsiteY4586" fmla="*/ 545307 h 1762127"/>
                <a:gd name="connsiteX4587" fmla="*/ 7785777 w 9759834"/>
                <a:gd name="connsiteY4587" fmla="*/ 579439 h 1762127"/>
                <a:gd name="connsiteX4588" fmla="*/ 7751645 w 9759834"/>
                <a:gd name="connsiteY4588" fmla="*/ 545307 h 1762127"/>
                <a:gd name="connsiteX4589" fmla="*/ 7785777 w 9759834"/>
                <a:gd name="connsiteY4589" fmla="*/ 511175 h 1762127"/>
                <a:gd name="connsiteX4590" fmla="*/ 7706402 w 9759834"/>
                <a:gd name="connsiteY4590" fmla="*/ 511175 h 1762127"/>
                <a:gd name="connsiteX4591" fmla="*/ 7740534 w 9759834"/>
                <a:gd name="connsiteY4591" fmla="*/ 545307 h 1762127"/>
                <a:gd name="connsiteX4592" fmla="*/ 7706402 w 9759834"/>
                <a:gd name="connsiteY4592" fmla="*/ 579439 h 1762127"/>
                <a:gd name="connsiteX4593" fmla="*/ 7672270 w 9759834"/>
                <a:gd name="connsiteY4593" fmla="*/ 545307 h 1762127"/>
                <a:gd name="connsiteX4594" fmla="*/ 7706402 w 9759834"/>
                <a:gd name="connsiteY4594" fmla="*/ 511175 h 1762127"/>
                <a:gd name="connsiteX4595" fmla="*/ 7620677 w 9759834"/>
                <a:gd name="connsiteY4595" fmla="*/ 511175 h 1762127"/>
                <a:gd name="connsiteX4596" fmla="*/ 7654809 w 9759834"/>
                <a:gd name="connsiteY4596" fmla="*/ 545307 h 1762127"/>
                <a:gd name="connsiteX4597" fmla="*/ 7620677 w 9759834"/>
                <a:gd name="connsiteY4597" fmla="*/ 579439 h 1762127"/>
                <a:gd name="connsiteX4598" fmla="*/ 7586545 w 9759834"/>
                <a:gd name="connsiteY4598" fmla="*/ 545307 h 1762127"/>
                <a:gd name="connsiteX4599" fmla="*/ 7620677 w 9759834"/>
                <a:gd name="connsiteY4599" fmla="*/ 511175 h 1762127"/>
                <a:gd name="connsiteX4600" fmla="*/ 7534952 w 9759834"/>
                <a:gd name="connsiteY4600" fmla="*/ 511175 h 1762127"/>
                <a:gd name="connsiteX4601" fmla="*/ 7569084 w 9759834"/>
                <a:gd name="connsiteY4601" fmla="*/ 545307 h 1762127"/>
                <a:gd name="connsiteX4602" fmla="*/ 7534952 w 9759834"/>
                <a:gd name="connsiteY4602" fmla="*/ 579439 h 1762127"/>
                <a:gd name="connsiteX4603" fmla="*/ 7500820 w 9759834"/>
                <a:gd name="connsiteY4603" fmla="*/ 545307 h 1762127"/>
                <a:gd name="connsiteX4604" fmla="*/ 7534952 w 9759834"/>
                <a:gd name="connsiteY4604" fmla="*/ 511175 h 1762127"/>
                <a:gd name="connsiteX4605" fmla="*/ 7449227 w 9759834"/>
                <a:gd name="connsiteY4605" fmla="*/ 511175 h 1762127"/>
                <a:gd name="connsiteX4606" fmla="*/ 7483359 w 9759834"/>
                <a:gd name="connsiteY4606" fmla="*/ 545307 h 1762127"/>
                <a:gd name="connsiteX4607" fmla="*/ 7449227 w 9759834"/>
                <a:gd name="connsiteY4607" fmla="*/ 579439 h 1762127"/>
                <a:gd name="connsiteX4608" fmla="*/ 7415095 w 9759834"/>
                <a:gd name="connsiteY4608" fmla="*/ 545307 h 1762127"/>
                <a:gd name="connsiteX4609" fmla="*/ 7449227 w 9759834"/>
                <a:gd name="connsiteY4609" fmla="*/ 511175 h 1762127"/>
                <a:gd name="connsiteX4610" fmla="*/ 7366677 w 9759834"/>
                <a:gd name="connsiteY4610" fmla="*/ 511175 h 1762127"/>
                <a:gd name="connsiteX4611" fmla="*/ 7403984 w 9759834"/>
                <a:gd name="connsiteY4611" fmla="*/ 545307 h 1762127"/>
                <a:gd name="connsiteX4612" fmla="*/ 7366677 w 9759834"/>
                <a:gd name="connsiteY4612" fmla="*/ 579439 h 1762127"/>
                <a:gd name="connsiteX4613" fmla="*/ 7329370 w 9759834"/>
                <a:gd name="connsiteY4613" fmla="*/ 545307 h 1762127"/>
                <a:gd name="connsiteX4614" fmla="*/ 7366677 w 9759834"/>
                <a:gd name="connsiteY4614" fmla="*/ 511175 h 1762127"/>
                <a:gd name="connsiteX4615" fmla="*/ 7284127 w 9759834"/>
                <a:gd name="connsiteY4615" fmla="*/ 511175 h 1762127"/>
                <a:gd name="connsiteX4616" fmla="*/ 7318259 w 9759834"/>
                <a:gd name="connsiteY4616" fmla="*/ 545307 h 1762127"/>
                <a:gd name="connsiteX4617" fmla="*/ 7284127 w 9759834"/>
                <a:gd name="connsiteY4617" fmla="*/ 579439 h 1762127"/>
                <a:gd name="connsiteX4618" fmla="*/ 7249995 w 9759834"/>
                <a:gd name="connsiteY4618" fmla="*/ 545307 h 1762127"/>
                <a:gd name="connsiteX4619" fmla="*/ 7284127 w 9759834"/>
                <a:gd name="connsiteY4619" fmla="*/ 511175 h 1762127"/>
                <a:gd name="connsiteX4620" fmla="*/ 7198402 w 9759834"/>
                <a:gd name="connsiteY4620" fmla="*/ 511175 h 1762127"/>
                <a:gd name="connsiteX4621" fmla="*/ 7232534 w 9759834"/>
                <a:gd name="connsiteY4621" fmla="*/ 545307 h 1762127"/>
                <a:gd name="connsiteX4622" fmla="*/ 7198402 w 9759834"/>
                <a:gd name="connsiteY4622" fmla="*/ 579439 h 1762127"/>
                <a:gd name="connsiteX4623" fmla="*/ 7164270 w 9759834"/>
                <a:gd name="connsiteY4623" fmla="*/ 545307 h 1762127"/>
                <a:gd name="connsiteX4624" fmla="*/ 7198402 w 9759834"/>
                <a:gd name="connsiteY4624" fmla="*/ 511175 h 1762127"/>
                <a:gd name="connsiteX4625" fmla="*/ 7112677 w 9759834"/>
                <a:gd name="connsiteY4625" fmla="*/ 511175 h 1762127"/>
                <a:gd name="connsiteX4626" fmla="*/ 7146809 w 9759834"/>
                <a:gd name="connsiteY4626" fmla="*/ 545307 h 1762127"/>
                <a:gd name="connsiteX4627" fmla="*/ 7112677 w 9759834"/>
                <a:gd name="connsiteY4627" fmla="*/ 579439 h 1762127"/>
                <a:gd name="connsiteX4628" fmla="*/ 7078545 w 9759834"/>
                <a:gd name="connsiteY4628" fmla="*/ 545307 h 1762127"/>
                <a:gd name="connsiteX4629" fmla="*/ 7112677 w 9759834"/>
                <a:gd name="connsiteY4629" fmla="*/ 511175 h 1762127"/>
                <a:gd name="connsiteX4630" fmla="*/ 7027745 w 9759834"/>
                <a:gd name="connsiteY4630" fmla="*/ 511175 h 1762127"/>
                <a:gd name="connsiteX4631" fmla="*/ 7062670 w 9759834"/>
                <a:gd name="connsiteY4631" fmla="*/ 545307 h 1762127"/>
                <a:gd name="connsiteX4632" fmla="*/ 7027745 w 9759834"/>
                <a:gd name="connsiteY4632" fmla="*/ 579439 h 1762127"/>
                <a:gd name="connsiteX4633" fmla="*/ 6992820 w 9759834"/>
                <a:gd name="connsiteY4633" fmla="*/ 545307 h 1762127"/>
                <a:gd name="connsiteX4634" fmla="*/ 7027745 w 9759834"/>
                <a:gd name="connsiteY4634" fmla="*/ 511175 h 1762127"/>
                <a:gd name="connsiteX4635" fmla="*/ 6861852 w 9759834"/>
                <a:gd name="connsiteY4635" fmla="*/ 511175 h 1762127"/>
                <a:gd name="connsiteX4636" fmla="*/ 6895984 w 9759834"/>
                <a:gd name="connsiteY4636" fmla="*/ 545307 h 1762127"/>
                <a:gd name="connsiteX4637" fmla="*/ 6861852 w 9759834"/>
                <a:gd name="connsiteY4637" fmla="*/ 579439 h 1762127"/>
                <a:gd name="connsiteX4638" fmla="*/ 6827720 w 9759834"/>
                <a:gd name="connsiteY4638" fmla="*/ 545307 h 1762127"/>
                <a:gd name="connsiteX4639" fmla="*/ 6861852 w 9759834"/>
                <a:gd name="connsiteY4639" fmla="*/ 511175 h 1762127"/>
                <a:gd name="connsiteX4640" fmla="*/ 6776127 w 9759834"/>
                <a:gd name="connsiteY4640" fmla="*/ 511175 h 1762127"/>
                <a:gd name="connsiteX4641" fmla="*/ 6810259 w 9759834"/>
                <a:gd name="connsiteY4641" fmla="*/ 545307 h 1762127"/>
                <a:gd name="connsiteX4642" fmla="*/ 6776127 w 9759834"/>
                <a:gd name="connsiteY4642" fmla="*/ 579439 h 1762127"/>
                <a:gd name="connsiteX4643" fmla="*/ 6741995 w 9759834"/>
                <a:gd name="connsiteY4643" fmla="*/ 545307 h 1762127"/>
                <a:gd name="connsiteX4644" fmla="*/ 6776127 w 9759834"/>
                <a:gd name="connsiteY4644" fmla="*/ 511175 h 1762127"/>
                <a:gd name="connsiteX4645" fmla="*/ 6691195 w 9759834"/>
                <a:gd name="connsiteY4645" fmla="*/ 511175 h 1762127"/>
                <a:gd name="connsiteX4646" fmla="*/ 6726120 w 9759834"/>
                <a:gd name="connsiteY4646" fmla="*/ 545307 h 1762127"/>
                <a:gd name="connsiteX4647" fmla="*/ 6691195 w 9759834"/>
                <a:gd name="connsiteY4647" fmla="*/ 579439 h 1762127"/>
                <a:gd name="connsiteX4648" fmla="*/ 6656270 w 9759834"/>
                <a:gd name="connsiteY4648" fmla="*/ 545307 h 1762127"/>
                <a:gd name="connsiteX4649" fmla="*/ 6691195 w 9759834"/>
                <a:gd name="connsiteY4649" fmla="*/ 511175 h 1762127"/>
                <a:gd name="connsiteX4650" fmla="*/ 6268920 w 9759834"/>
                <a:gd name="connsiteY4650" fmla="*/ 511175 h 1762127"/>
                <a:gd name="connsiteX4651" fmla="*/ 6303845 w 9759834"/>
                <a:gd name="connsiteY4651" fmla="*/ 545307 h 1762127"/>
                <a:gd name="connsiteX4652" fmla="*/ 6268920 w 9759834"/>
                <a:gd name="connsiteY4652" fmla="*/ 579439 h 1762127"/>
                <a:gd name="connsiteX4653" fmla="*/ 6233995 w 9759834"/>
                <a:gd name="connsiteY4653" fmla="*/ 545307 h 1762127"/>
                <a:gd name="connsiteX4654" fmla="*/ 6268920 w 9759834"/>
                <a:gd name="connsiteY4654" fmla="*/ 511175 h 1762127"/>
                <a:gd name="connsiteX4655" fmla="*/ 4332171 w 9759834"/>
                <a:gd name="connsiteY4655" fmla="*/ 511175 h 1762127"/>
                <a:gd name="connsiteX4656" fmla="*/ 4368684 w 9759834"/>
                <a:gd name="connsiteY4656" fmla="*/ 545307 h 1762127"/>
                <a:gd name="connsiteX4657" fmla="*/ 4332171 w 9759834"/>
                <a:gd name="connsiteY4657" fmla="*/ 579439 h 1762127"/>
                <a:gd name="connsiteX4658" fmla="*/ 4295658 w 9759834"/>
                <a:gd name="connsiteY4658" fmla="*/ 545307 h 1762127"/>
                <a:gd name="connsiteX4659" fmla="*/ 4332171 w 9759834"/>
                <a:gd name="connsiteY4659" fmla="*/ 511175 h 1762127"/>
                <a:gd name="connsiteX4660" fmla="*/ 4248827 w 9759834"/>
                <a:gd name="connsiteY4660" fmla="*/ 511175 h 1762127"/>
                <a:gd name="connsiteX4661" fmla="*/ 4282959 w 9759834"/>
                <a:gd name="connsiteY4661" fmla="*/ 545307 h 1762127"/>
                <a:gd name="connsiteX4662" fmla="*/ 4248827 w 9759834"/>
                <a:gd name="connsiteY4662" fmla="*/ 579439 h 1762127"/>
                <a:gd name="connsiteX4663" fmla="*/ 4214695 w 9759834"/>
                <a:gd name="connsiteY4663" fmla="*/ 545307 h 1762127"/>
                <a:gd name="connsiteX4664" fmla="*/ 4248827 w 9759834"/>
                <a:gd name="connsiteY4664" fmla="*/ 511175 h 1762127"/>
                <a:gd name="connsiteX4665" fmla="*/ 4163895 w 9759834"/>
                <a:gd name="connsiteY4665" fmla="*/ 511175 h 1762127"/>
                <a:gd name="connsiteX4666" fmla="*/ 4198820 w 9759834"/>
                <a:gd name="connsiteY4666" fmla="*/ 545307 h 1762127"/>
                <a:gd name="connsiteX4667" fmla="*/ 4163895 w 9759834"/>
                <a:gd name="connsiteY4667" fmla="*/ 579439 h 1762127"/>
                <a:gd name="connsiteX4668" fmla="*/ 4128970 w 9759834"/>
                <a:gd name="connsiteY4668" fmla="*/ 545307 h 1762127"/>
                <a:gd name="connsiteX4669" fmla="*/ 4163895 w 9759834"/>
                <a:gd name="connsiteY4669" fmla="*/ 511175 h 1762127"/>
                <a:gd name="connsiteX4670" fmla="*/ 4078170 w 9759834"/>
                <a:gd name="connsiteY4670" fmla="*/ 511175 h 1762127"/>
                <a:gd name="connsiteX4671" fmla="*/ 4113095 w 9759834"/>
                <a:gd name="connsiteY4671" fmla="*/ 545307 h 1762127"/>
                <a:gd name="connsiteX4672" fmla="*/ 4078170 w 9759834"/>
                <a:gd name="connsiteY4672" fmla="*/ 579439 h 1762127"/>
                <a:gd name="connsiteX4673" fmla="*/ 4043245 w 9759834"/>
                <a:gd name="connsiteY4673" fmla="*/ 545307 h 1762127"/>
                <a:gd name="connsiteX4674" fmla="*/ 4078170 w 9759834"/>
                <a:gd name="connsiteY4674" fmla="*/ 511175 h 1762127"/>
                <a:gd name="connsiteX4675" fmla="*/ 3993240 w 9759834"/>
                <a:gd name="connsiteY4675" fmla="*/ 511175 h 1762127"/>
                <a:gd name="connsiteX4676" fmla="*/ 4027372 w 9759834"/>
                <a:gd name="connsiteY4676" fmla="*/ 545307 h 1762127"/>
                <a:gd name="connsiteX4677" fmla="*/ 3993240 w 9759834"/>
                <a:gd name="connsiteY4677" fmla="*/ 579439 h 1762127"/>
                <a:gd name="connsiteX4678" fmla="*/ 3959108 w 9759834"/>
                <a:gd name="connsiteY4678" fmla="*/ 545307 h 1762127"/>
                <a:gd name="connsiteX4679" fmla="*/ 3993240 w 9759834"/>
                <a:gd name="connsiteY4679" fmla="*/ 511175 h 1762127"/>
                <a:gd name="connsiteX4680" fmla="*/ 3912277 w 9759834"/>
                <a:gd name="connsiteY4680" fmla="*/ 511175 h 1762127"/>
                <a:gd name="connsiteX4681" fmla="*/ 3946409 w 9759834"/>
                <a:gd name="connsiteY4681" fmla="*/ 545307 h 1762127"/>
                <a:gd name="connsiteX4682" fmla="*/ 3912277 w 9759834"/>
                <a:gd name="connsiteY4682" fmla="*/ 579439 h 1762127"/>
                <a:gd name="connsiteX4683" fmla="*/ 3878145 w 9759834"/>
                <a:gd name="connsiteY4683" fmla="*/ 545307 h 1762127"/>
                <a:gd name="connsiteX4684" fmla="*/ 3912277 w 9759834"/>
                <a:gd name="connsiteY4684" fmla="*/ 511175 h 1762127"/>
                <a:gd name="connsiteX4685" fmla="*/ 3826552 w 9759834"/>
                <a:gd name="connsiteY4685" fmla="*/ 511175 h 1762127"/>
                <a:gd name="connsiteX4686" fmla="*/ 3860684 w 9759834"/>
                <a:gd name="connsiteY4686" fmla="*/ 545307 h 1762127"/>
                <a:gd name="connsiteX4687" fmla="*/ 3826552 w 9759834"/>
                <a:gd name="connsiteY4687" fmla="*/ 579439 h 1762127"/>
                <a:gd name="connsiteX4688" fmla="*/ 3792420 w 9759834"/>
                <a:gd name="connsiteY4688" fmla="*/ 545307 h 1762127"/>
                <a:gd name="connsiteX4689" fmla="*/ 3826552 w 9759834"/>
                <a:gd name="connsiteY4689" fmla="*/ 511175 h 1762127"/>
                <a:gd name="connsiteX4690" fmla="*/ 3741620 w 9759834"/>
                <a:gd name="connsiteY4690" fmla="*/ 511175 h 1762127"/>
                <a:gd name="connsiteX4691" fmla="*/ 3776545 w 9759834"/>
                <a:gd name="connsiteY4691" fmla="*/ 545307 h 1762127"/>
                <a:gd name="connsiteX4692" fmla="*/ 3741620 w 9759834"/>
                <a:gd name="connsiteY4692" fmla="*/ 579439 h 1762127"/>
                <a:gd name="connsiteX4693" fmla="*/ 3706695 w 9759834"/>
                <a:gd name="connsiteY4693" fmla="*/ 545307 h 1762127"/>
                <a:gd name="connsiteX4694" fmla="*/ 3741620 w 9759834"/>
                <a:gd name="connsiteY4694" fmla="*/ 511175 h 1762127"/>
                <a:gd name="connsiteX4695" fmla="*/ 3153452 w 9759834"/>
                <a:gd name="connsiteY4695" fmla="*/ 511175 h 1762127"/>
                <a:gd name="connsiteX4696" fmla="*/ 3187584 w 9759834"/>
                <a:gd name="connsiteY4696" fmla="*/ 545307 h 1762127"/>
                <a:gd name="connsiteX4697" fmla="*/ 3153452 w 9759834"/>
                <a:gd name="connsiteY4697" fmla="*/ 579439 h 1762127"/>
                <a:gd name="connsiteX4698" fmla="*/ 3119320 w 9759834"/>
                <a:gd name="connsiteY4698" fmla="*/ 545307 h 1762127"/>
                <a:gd name="connsiteX4699" fmla="*/ 3153452 w 9759834"/>
                <a:gd name="connsiteY4699" fmla="*/ 511175 h 1762127"/>
                <a:gd name="connsiteX4700" fmla="*/ 3068520 w 9759834"/>
                <a:gd name="connsiteY4700" fmla="*/ 511175 h 1762127"/>
                <a:gd name="connsiteX4701" fmla="*/ 3103445 w 9759834"/>
                <a:gd name="connsiteY4701" fmla="*/ 545307 h 1762127"/>
                <a:gd name="connsiteX4702" fmla="*/ 3068520 w 9759834"/>
                <a:gd name="connsiteY4702" fmla="*/ 579439 h 1762127"/>
                <a:gd name="connsiteX4703" fmla="*/ 3033595 w 9759834"/>
                <a:gd name="connsiteY4703" fmla="*/ 545307 h 1762127"/>
                <a:gd name="connsiteX4704" fmla="*/ 3068520 w 9759834"/>
                <a:gd name="connsiteY4704" fmla="*/ 511175 h 1762127"/>
                <a:gd name="connsiteX4705" fmla="*/ 2983590 w 9759834"/>
                <a:gd name="connsiteY4705" fmla="*/ 511175 h 1762127"/>
                <a:gd name="connsiteX4706" fmla="*/ 3017722 w 9759834"/>
                <a:gd name="connsiteY4706" fmla="*/ 545307 h 1762127"/>
                <a:gd name="connsiteX4707" fmla="*/ 2983590 w 9759834"/>
                <a:gd name="connsiteY4707" fmla="*/ 579439 h 1762127"/>
                <a:gd name="connsiteX4708" fmla="*/ 2949458 w 9759834"/>
                <a:gd name="connsiteY4708" fmla="*/ 545307 h 1762127"/>
                <a:gd name="connsiteX4709" fmla="*/ 2983590 w 9759834"/>
                <a:gd name="connsiteY4709" fmla="*/ 511175 h 1762127"/>
                <a:gd name="connsiteX4710" fmla="*/ 2897865 w 9759834"/>
                <a:gd name="connsiteY4710" fmla="*/ 511175 h 1762127"/>
                <a:gd name="connsiteX4711" fmla="*/ 2931997 w 9759834"/>
                <a:gd name="connsiteY4711" fmla="*/ 545307 h 1762127"/>
                <a:gd name="connsiteX4712" fmla="*/ 2897865 w 9759834"/>
                <a:gd name="connsiteY4712" fmla="*/ 579439 h 1762127"/>
                <a:gd name="connsiteX4713" fmla="*/ 2863733 w 9759834"/>
                <a:gd name="connsiteY4713" fmla="*/ 545307 h 1762127"/>
                <a:gd name="connsiteX4714" fmla="*/ 2897865 w 9759834"/>
                <a:gd name="connsiteY4714" fmla="*/ 511175 h 1762127"/>
                <a:gd name="connsiteX4715" fmla="*/ 2732005 w 9759834"/>
                <a:gd name="connsiteY4715" fmla="*/ 511175 h 1762127"/>
                <a:gd name="connsiteX4716" fmla="*/ 2766929 w 9759834"/>
                <a:gd name="connsiteY4716" fmla="*/ 545307 h 1762127"/>
                <a:gd name="connsiteX4717" fmla="*/ 2732005 w 9759834"/>
                <a:gd name="connsiteY4717" fmla="*/ 579439 h 1762127"/>
                <a:gd name="connsiteX4718" fmla="*/ 2697079 w 9759834"/>
                <a:gd name="connsiteY4718" fmla="*/ 545307 h 1762127"/>
                <a:gd name="connsiteX4719" fmla="*/ 2732005 w 9759834"/>
                <a:gd name="connsiteY4719" fmla="*/ 511175 h 1762127"/>
                <a:gd name="connsiteX4720" fmla="*/ 2475754 w 9759834"/>
                <a:gd name="connsiteY4720" fmla="*/ 511175 h 1762127"/>
                <a:gd name="connsiteX4721" fmla="*/ 2509883 w 9759834"/>
                <a:gd name="connsiteY4721" fmla="*/ 545307 h 1762127"/>
                <a:gd name="connsiteX4722" fmla="*/ 2475754 w 9759834"/>
                <a:gd name="connsiteY4722" fmla="*/ 579439 h 1762127"/>
                <a:gd name="connsiteX4723" fmla="*/ 2441619 w 9759834"/>
                <a:gd name="connsiteY4723" fmla="*/ 545307 h 1762127"/>
                <a:gd name="connsiteX4724" fmla="*/ 2475754 w 9759834"/>
                <a:gd name="connsiteY4724" fmla="*/ 511175 h 1762127"/>
                <a:gd name="connsiteX4725" fmla="*/ 2309856 w 9759834"/>
                <a:gd name="connsiteY4725" fmla="*/ 511175 h 1762127"/>
                <a:gd name="connsiteX4726" fmla="*/ 2344781 w 9759834"/>
                <a:gd name="connsiteY4726" fmla="*/ 545307 h 1762127"/>
                <a:gd name="connsiteX4727" fmla="*/ 2309856 w 9759834"/>
                <a:gd name="connsiteY4727" fmla="*/ 579439 h 1762127"/>
                <a:gd name="connsiteX4728" fmla="*/ 2274920 w 9759834"/>
                <a:gd name="connsiteY4728" fmla="*/ 545307 h 1762127"/>
                <a:gd name="connsiteX4729" fmla="*/ 2309856 w 9759834"/>
                <a:gd name="connsiteY4729" fmla="*/ 511175 h 1762127"/>
                <a:gd name="connsiteX4730" fmla="*/ 2224919 w 9759834"/>
                <a:gd name="connsiteY4730" fmla="*/ 511175 h 1762127"/>
                <a:gd name="connsiteX4731" fmla="*/ 2259040 w 9759834"/>
                <a:gd name="connsiteY4731" fmla="*/ 545307 h 1762127"/>
                <a:gd name="connsiteX4732" fmla="*/ 2224919 w 9759834"/>
                <a:gd name="connsiteY4732" fmla="*/ 579439 h 1762127"/>
                <a:gd name="connsiteX4733" fmla="*/ 2190786 w 9759834"/>
                <a:gd name="connsiteY4733" fmla="*/ 545307 h 1762127"/>
                <a:gd name="connsiteX4734" fmla="*/ 2224919 w 9759834"/>
                <a:gd name="connsiteY4734" fmla="*/ 511175 h 1762127"/>
                <a:gd name="connsiteX4735" fmla="*/ 2055855 w 9759834"/>
                <a:gd name="connsiteY4735" fmla="*/ 511175 h 1762127"/>
                <a:gd name="connsiteX4736" fmla="*/ 2092362 w 9759834"/>
                <a:gd name="connsiteY4736" fmla="*/ 545307 h 1762127"/>
                <a:gd name="connsiteX4737" fmla="*/ 2055855 w 9759834"/>
                <a:gd name="connsiteY4737" fmla="*/ 579439 h 1762127"/>
                <a:gd name="connsiteX4738" fmla="*/ 2019341 w 9759834"/>
                <a:gd name="connsiteY4738" fmla="*/ 545307 h 1762127"/>
                <a:gd name="connsiteX4739" fmla="*/ 2055855 w 9759834"/>
                <a:gd name="connsiteY4739" fmla="*/ 511175 h 1762127"/>
                <a:gd name="connsiteX4740" fmla="*/ 1973301 w 9759834"/>
                <a:gd name="connsiteY4740" fmla="*/ 511175 h 1762127"/>
                <a:gd name="connsiteX4741" fmla="*/ 2008227 w 9759834"/>
                <a:gd name="connsiteY4741" fmla="*/ 545307 h 1762127"/>
                <a:gd name="connsiteX4742" fmla="*/ 1973301 w 9759834"/>
                <a:gd name="connsiteY4742" fmla="*/ 579439 h 1762127"/>
                <a:gd name="connsiteX4743" fmla="*/ 1938380 w 9759834"/>
                <a:gd name="connsiteY4743" fmla="*/ 545307 h 1762127"/>
                <a:gd name="connsiteX4744" fmla="*/ 1973301 w 9759834"/>
                <a:gd name="connsiteY4744" fmla="*/ 511175 h 1762127"/>
                <a:gd name="connsiteX4745" fmla="*/ 1888373 w 9759834"/>
                <a:gd name="connsiteY4745" fmla="*/ 511175 h 1762127"/>
                <a:gd name="connsiteX4746" fmla="*/ 1922503 w 9759834"/>
                <a:gd name="connsiteY4746" fmla="*/ 545307 h 1762127"/>
                <a:gd name="connsiteX4747" fmla="*/ 1888373 w 9759834"/>
                <a:gd name="connsiteY4747" fmla="*/ 579439 h 1762127"/>
                <a:gd name="connsiteX4748" fmla="*/ 1854243 w 9759834"/>
                <a:gd name="connsiteY4748" fmla="*/ 545307 h 1762127"/>
                <a:gd name="connsiteX4749" fmla="*/ 1888373 w 9759834"/>
                <a:gd name="connsiteY4749" fmla="*/ 511175 h 1762127"/>
                <a:gd name="connsiteX4750" fmla="*/ 1802656 w 9759834"/>
                <a:gd name="connsiteY4750" fmla="*/ 511175 h 1762127"/>
                <a:gd name="connsiteX4751" fmla="*/ 1836784 w 9759834"/>
                <a:gd name="connsiteY4751" fmla="*/ 545307 h 1762127"/>
                <a:gd name="connsiteX4752" fmla="*/ 1802656 w 9759834"/>
                <a:gd name="connsiteY4752" fmla="*/ 579439 h 1762127"/>
                <a:gd name="connsiteX4753" fmla="*/ 1768524 w 9759834"/>
                <a:gd name="connsiteY4753" fmla="*/ 545307 h 1762127"/>
                <a:gd name="connsiteX4754" fmla="*/ 1802656 w 9759834"/>
                <a:gd name="connsiteY4754" fmla="*/ 511175 h 1762127"/>
                <a:gd name="connsiteX4755" fmla="*/ 1719314 w 9759834"/>
                <a:gd name="connsiteY4755" fmla="*/ 511175 h 1762127"/>
                <a:gd name="connsiteX4756" fmla="*/ 1755825 w 9759834"/>
                <a:gd name="connsiteY4756" fmla="*/ 545307 h 1762127"/>
                <a:gd name="connsiteX4757" fmla="*/ 1719314 w 9759834"/>
                <a:gd name="connsiteY4757" fmla="*/ 579439 h 1762127"/>
                <a:gd name="connsiteX4758" fmla="*/ 1682803 w 9759834"/>
                <a:gd name="connsiteY4758" fmla="*/ 545307 h 1762127"/>
                <a:gd name="connsiteX4759" fmla="*/ 1719314 w 9759834"/>
                <a:gd name="connsiteY4759" fmla="*/ 511175 h 1762127"/>
                <a:gd name="connsiteX4760" fmla="*/ 1636768 w 9759834"/>
                <a:gd name="connsiteY4760" fmla="*/ 511175 h 1762127"/>
                <a:gd name="connsiteX4761" fmla="*/ 1671691 w 9759834"/>
                <a:gd name="connsiteY4761" fmla="*/ 545307 h 1762127"/>
                <a:gd name="connsiteX4762" fmla="*/ 1636768 w 9759834"/>
                <a:gd name="connsiteY4762" fmla="*/ 579439 h 1762127"/>
                <a:gd name="connsiteX4763" fmla="*/ 1601843 w 9759834"/>
                <a:gd name="connsiteY4763" fmla="*/ 545307 h 1762127"/>
                <a:gd name="connsiteX4764" fmla="*/ 1636768 w 9759834"/>
                <a:gd name="connsiteY4764" fmla="*/ 511175 h 1762127"/>
                <a:gd name="connsiteX4765" fmla="*/ 1551838 w 9759834"/>
                <a:gd name="connsiteY4765" fmla="*/ 511175 h 1762127"/>
                <a:gd name="connsiteX4766" fmla="*/ 1585970 w 9759834"/>
                <a:gd name="connsiteY4766" fmla="*/ 545307 h 1762127"/>
                <a:gd name="connsiteX4767" fmla="*/ 1551838 w 9759834"/>
                <a:gd name="connsiteY4767" fmla="*/ 579439 h 1762127"/>
                <a:gd name="connsiteX4768" fmla="*/ 1517707 w 9759834"/>
                <a:gd name="connsiteY4768" fmla="*/ 545307 h 1762127"/>
                <a:gd name="connsiteX4769" fmla="*/ 1551838 w 9759834"/>
                <a:gd name="connsiteY4769" fmla="*/ 511175 h 1762127"/>
                <a:gd name="connsiteX4770" fmla="*/ 1466114 w 9759834"/>
                <a:gd name="connsiteY4770" fmla="*/ 511175 h 1762127"/>
                <a:gd name="connsiteX4771" fmla="*/ 1500247 w 9759834"/>
                <a:gd name="connsiteY4771" fmla="*/ 545307 h 1762127"/>
                <a:gd name="connsiteX4772" fmla="*/ 1466114 w 9759834"/>
                <a:gd name="connsiteY4772" fmla="*/ 579439 h 1762127"/>
                <a:gd name="connsiteX4773" fmla="*/ 1431983 w 9759834"/>
                <a:gd name="connsiteY4773" fmla="*/ 545307 h 1762127"/>
                <a:gd name="connsiteX4774" fmla="*/ 1466114 w 9759834"/>
                <a:gd name="connsiteY4774" fmla="*/ 511175 h 1762127"/>
                <a:gd name="connsiteX4775" fmla="*/ 1380392 w 9759834"/>
                <a:gd name="connsiteY4775" fmla="*/ 511175 h 1762127"/>
                <a:gd name="connsiteX4776" fmla="*/ 1414522 w 9759834"/>
                <a:gd name="connsiteY4776" fmla="*/ 545307 h 1762127"/>
                <a:gd name="connsiteX4777" fmla="*/ 1380392 w 9759834"/>
                <a:gd name="connsiteY4777" fmla="*/ 579439 h 1762127"/>
                <a:gd name="connsiteX4778" fmla="*/ 1346258 w 9759834"/>
                <a:gd name="connsiteY4778" fmla="*/ 545307 h 1762127"/>
                <a:gd name="connsiteX4779" fmla="*/ 1380392 w 9759834"/>
                <a:gd name="connsiteY4779" fmla="*/ 511175 h 1762127"/>
                <a:gd name="connsiteX4780" fmla="*/ 1300222 w 9759834"/>
                <a:gd name="connsiteY4780" fmla="*/ 511175 h 1762127"/>
                <a:gd name="connsiteX4781" fmla="*/ 1335148 w 9759834"/>
                <a:gd name="connsiteY4781" fmla="*/ 545307 h 1762127"/>
                <a:gd name="connsiteX4782" fmla="*/ 1300222 w 9759834"/>
                <a:gd name="connsiteY4782" fmla="*/ 579439 h 1762127"/>
                <a:gd name="connsiteX4783" fmla="*/ 1265297 w 9759834"/>
                <a:gd name="connsiteY4783" fmla="*/ 545307 h 1762127"/>
                <a:gd name="connsiteX4784" fmla="*/ 1300222 w 9759834"/>
                <a:gd name="connsiteY4784" fmla="*/ 511175 h 1762127"/>
                <a:gd name="connsiteX4785" fmla="*/ 1214500 w 9759834"/>
                <a:gd name="connsiteY4785" fmla="*/ 511175 h 1762127"/>
                <a:gd name="connsiteX4786" fmla="*/ 1249422 w 9759834"/>
                <a:gd name="connsiteY4786" fmla="*/ 545307 h 1762127"/>
                <a:gd name="connsiteX4787" fmla="*/ 1214500 w 9759834"/>
                <a:gd name="connsiteY4787" fmla="*/ 579439 h 1762127"/>
                <a:gd name="connsiteX4788" fmla="*/ 1179573 w 9759834"/>
                <a:gd name="connsiteY4788" fmla="*/ 545307 h 1762127"/>
                <a:gd name="connsiteX4789" fmla="*/ 1214500 w 9759834"/>
                <a:gd name="connsiteY4789" fmla="*/ 511175 h 1762127"/>
                <a:gd name="connsiteX4790" fmla="*/ 1129569 w 9759834"/>
                <a:gd name="connsiteY4790" fmla="*/ 511175 h 1762127"/>
                <a:gd name="connsiteX4791" fmla="*/ 1163703 w 9759834"/>
                <a:gd name="connsiteY4791" fmla="*/ 545307 h 1762127"/>
                <a:gd name="connsiteX4792" fmla="*/ 1129569 w 9759834"/>
                <a:gd name="connsiteY4792" fmla="*/ 579439 h 1762127"/>
                <a:gd name="connsiteX4793" fmla="*/ 1095440 w 9759834"/>
                <a:gd name="connsiteY4793" fmla="*/ 545307 h 1762127"/>
                <a:gd name="connsiteX4794" fmla="*/ 1129569 w 9759834"/>
                <a:gd name="connsiteY4794" fmla="*/ 511175 h 1762127"/>
                <a:gd name="connsiteX4795" fmla="*/ 1043844 w 9759834"/>
                <a:gd name="connsiteY4795" fmla="*/ 511175 h 1762127"/>
                <a:gd name="connsiteX4796" fmla="*/ 1077977 w 9759834"/>
                <a:gd name="connsiteY4796" fmla="*/ 545307 h 1762127"/>
                <a:gd name="connsiteX4797" fmla="*/ 1043844 w 9759834"/>
                <a:gd name="connsiteY4797" fmla="*/ 579439 h 1762127"/>
                <a:gd name="connsiteX4798" fmla="*/ 1009710 w 9759834"/>
                <a:gd name="connsiteY4798" fmla="*/ 545307 h 1762127"/>
                <a:gd name="connsiteX4799" fmla="*/ 1043844 w 9759834"/>
                <a:gd name="connsiteY4799" fmla="*/ 511175 h 1762127"/>
                <a:gd name="connsiteX4800" fmla="*/ 960324 w 9759834"/>
                <a:gd name="connsiteY4800" fmla="*/ 511175 h 1762127"/>
                <a:gd name="connsiteX4801" fmla="*/ 996837 w 9759834"/>
                <a:gd name="connsiteY4801" fmla="*/ 545307 h 1762127"/>
                <a:gd name="connsiteX4802" fmla="*/ 960324 w 9759834"/>
                <a:gd name="connsiteY4802" fmla="*/ 579439 h 1762127"/>
                <a:gd name="connsiteX4803" fmla="*/ 923810 w 9759834"/>
                <a:gd name="connsiteY4803" fmla="*/ 545307 h 1762127"/>
                <a:gd name="connsiteX4804" fmla="*/ 960324 w 9759834"/>
                <a:gd name="connsiteY4804" fmla="*/ 511175 h 1762127"/>
                <a:gd name="connsiteX4805" fmla="*/ 877939 w 9759834"/>
                <a:gd name="connsiteY4805" fmla="*/ 511175 h 1762127"/>
                <a:gd name="connsiteX4806" fmla="*/ 912864 w 9759834"/>
                <a:gd name="connsiteY4806" fmla="*/ 545307 h 1762127"/>
                <a:gd name="connsiteX4807" fmla="*/ 877939 w 9759834"/>
                <a:gd name="connsiteY4807" fmla="*/ 579439 h 1762127"/>
                <a:gd name="connsiteX4808" fmla="*/ 843014 w 9759834"/>
                <a:gd name="connsiteY4808" fmla="*/ 545307 h 1762127"/>
                <a:gd name="connsiteX4809" fmla="*/ 877939 w 9759834"/>
                <a:gd name="connsiteY4809" fmla="*/ 511175 h 1762127"/>
                <a:gd name="connsiteX4810" fmla="*/ 8293777 w 9759834"/>
                <a:gd name="connsiteY4810" fmla="*/ 425450 h 1762127"/>
                <a:gd name="connsiteX4811" fmla="*/ 8327909 w 9759834"/>
                <a:gd name="connsiteY4811" fmla="*/ 459582 h 1762127"/>
                <a:gd name="connsiteX4812" fmla="*/ 8293777 w 9759834"/>
                <a:gd name="connsiteY4812" fmla="*/ 493714 h 1762127"/>
                <a:gd name="connsiteX4813" fmla="*/ 8259645 w 9759834"/>
                <a:gd name="connsiteY4813" fmla="*/ 459582 h 1762127"/>
                <a:gd name="connsiteX4814" fmla="*/ 8293777 w 9759834"/>
                <a:gd name="connsiteY4814" fmla="*/ 425450 h 1762127"/>
                <a:gd name="connsiteX4815" fmla="*/ 8208052 w 9759834"/>
                <a:gd name="connsiteY4815" fmla="*/ 425450 h 1762127"/>
                <a:gd name="connsiteX4816" fmla="*/ 8242184 w 9759834"/>
                <a:gd name="connsiteY4816" fmla="*/ 459582 h 1762127"/>
                <a:gd name="connsiteX4817" fmla="*/ 8208052 w 9759834"/>
                <a:gd name="connsiteY4817" fmla="*/ 493714 h 1762127"/>
                <a:gd name="connsiteX4818" fmla="*/ 8173920 w 9759834"/>
                <a:gd name="connsiteY4818" fmla="*/ 459582 h 1762127"/>
                <a:gd name="connsiteX4819" fmla="*/ 8208052 w 9759834"/>
                <a:gd name="connsiteY4819" fmla="*/ 425450 h 1762127"/>
                <a:gd name="connsiteX4820" fmla="*/ 8125502 w 9759834"/>
                <a:gd name="connsiteY4820" fmla="*/ 425450 h 1762127"/>
                <a:gd name="connsiteX4821" fmla="*/ 8162809 w 9759834"/>
                <a:gd name="connsiteY4821" fmla="*/ 459582 h 1762127"/>
                <a:gd name="connsiteX4822" fmla="*/ 8125502 w 9759834"/>
                <a:gd name="connsiteY4822" fmla="*/ 493714 h 1762127"/>
                <a:gd name="connsiteX4823" fmla="*/ 8088195 w 9759834"/>
                <a:gd name="connsiteY4823" fmla="*/ 459582 h 1762127"/>
                <a:gd name="connsiteX4824" fmla="*/ 8125502 w 9759834"/>
                <a:gd name="connsiteY4824" fmla="*/ 425450 h 1762127"/>
                <a:gd name="connsiteX4825" fmla="*/ 8042952 w 9759834"/>
                <a:gd name="connsiteY4825" fmla="*/ 425450 h 1762127"/>
                <a:gd name="connsiteX4826" fmla="*/ 8077084 w 9759834"/>
                <a:gd name="connsiteY4826" fmla="*/ 459582 h 1762127"/>
                <a:gd name="connsiteX4827" fmla="*/ 8042952 w 9759834"/>
                <a:gd name="connsiteY4827" fmla="*/ 493714 h 1762127"/>
                <a:gd name="connsiteX4828" fmla="*/ 8008820 w 9759834"/>
                <a:gd name="connsiteY4828" fmla="*/ 459582 h 1762127"/>
                <a:gd name="connsiteX4829" fmla="*/ 8042952 w 9759834"/>
                <a:gd name="connsiteY4829" fmla="*/ 425450 h 1762127"/>
                <a:gd name="connsiteX4830" fmla="*/ 7957227 w 9759834"/>
                <a:gd name="connsiteY4830" fmla="*/ 425450 h 1762127"/>
                <a:gd name="connsiteX4831" fmla="*/ 7991359 w 9759834"/>
                <a:gd name="connsiteY4831" fmla="*/ 459582 h 1762127"/>
                <a:gd name="connsiteX4832" fmla="*/ 7957227 w 9759834"/>
                <a:gd name="connsiteY4832" fmla="*/ 493714 h 1762127"/>
                <a:gd name="connsiteX4833" fmla="*/ 7923095 w 9759834"/>
                <a:gd name="connsiteY4833" fmla="*/ 459582 h 1762127"/>
                <a:gd name="connsiteX4834" fmla="*/ 7957227 w 9759834"/>
                <a:gd name="connsiteY4834" fmla="*/ 425450 h 1762127"/>
                <a:gd name="connsiteX4835" fmla="*/ 7871502 w 9759834"/>
                <a:gd name="connsiteY4835" fmla="*/ 425450 h 1762127"/>
                <a:gd name="connsiteX4836" fmla="*/ 7905634 w 9759834"/>
                <a:gd name="connsiteY4836" fmla="*/ 459582 h 1762127"/>
                <a:gd name="connsiteX4837" fmla="*/ 7871502 w 9759834"/>
                <a:gd name="connsiteY4837" fmla="*/ 493714 h 1762127"/>
                <a:gd name="connsiteX4838" fmla="*/ 7837370 w 9759834"/>
                <a:gd name="connsiteY4838" fmla="*/ 459582 h 1762127"/>
                <a:gd name="connsiteX4839" fmla="*/ 7871502 w 9759834"/>
                <a:gd name="connsiteY4839" fmla="*/ 425450 h 1762127"/>
                <a:gd name="connsiteX4840" fmla="*/ 7785777 w 9759834"/>
                <a:gd name="connsiteY4840" fmla="*/ 425450 h 1762127"/>
                <a:gd name="connsiteX4841" fmla="*/ 7819909 w 9759834"/>
                <a:gd name="connsiteY4841" fmla="*/ 459582 h 1762127"/>
                <a:gd name="connsiteX4842" fmla="*/ 7785777 w 9759834"/>
                <a:gd name="connsiteY4842" fmla="*/ 493714 h 1762127"/>
                <a:gd name="connsiteX4843" fmla="*/ 7751645 w 9759834"/>
                <a:gd name="connsiteY4843" fmla="*/ 459582 h 1762127"/>
                <a:gd name="connsiteX4844" fmla="*/ 7785777 w 9759834"/>
                <a:gd name="connsiteY4844" fmla="*/ 425450 h 1762127"/>
                <a:gd name="connsiteX4845" fmla="*/ 7706402 w 9759834"/>
                <a:gd name="connsiteY4845" fmla="*/ 425450 h 1762127"/>
                <a:gd name="connsiteX4846" fmla="*/ 7740534 w 9759834"/>
                <a:gd name="connsiteY4846" fmla="*/ 459582 h 1762127"/>
                <a:gd name="connsiteX4847" fmla="*/ 7706402 w 9759834"/>
                <a:gd name="connsiteY4847" fmla="*/ 493714 h 1762127"/>
                <a:gd name="connsiteX4848" fmla="*/ 7672270 w 9759834"/>
                <a:gd name="connsiteY4848" fmla="*/ 459582 h 1762127"/>
                <a:gd name="connsiteX4849" fmla="*/ 7706402 w 9759834"/>
                <a:gd name="connsiteY4849" fmla="*/ 425450 h 1762127"/>
                <a:gd name="connsiteX4850" fmla="*/ 7620677 w 9759834"/>
                <a:gd name="connsiteY4850" fmla="*/ 425450 h 1762127"/>
                <a:gd name="connsiteX4851" fmla="*/ 7654809 w 9759834"/>
                <a:gd name="connsiteY4851" fmla="*/ 459582 h 1762127"/>
                <a:gd name="connsiteX4852" fmla="*/ 7620677 w 9759834"/>
                <a:gd name="connsiteY4852" fmla="*/ 493714 h 1762127"/>
                <a:gd name="connsiteX4853" fmla="*/ 7586545 w 9759834"/>
                <a:gd name="connsiteY4853" fmla="*/ 459582 h 1762127"/>
                <a:gd name="connsiteX4854" fmla="*/ 7620677 w 9759834"/>
                <a:gd name="connsiteY4854" fmla="*/ 425450 h 1762127"/>
                <a:gd name="connsiteX4855" fmla="*/ 7534952 w 9759834"/>
                <a:gd name="connsiteY4855" fmla="*/ 425450 h 1762127"/>
                <a:gd name="connsiteX4856" fmla="*/ 7569084 w 9759834"/>
                <a:gd name="connsiteY4856" fmla="*/ 459582 h 1762127"/>
                <a:gd name="connsiteX4857" fmla="*/ 7534952 w 9759834"/>
                <a:gd name="connsiteY4857" fmla="*/ 493714 h 1762127"/>
                <a:gd name="connsiteX4858" fmla="*/ 7500820 w 9759834"/>
                <a:gd name="connsiteY4858" fmla="*/ 459582 h 1762127"/>
                <a:gd name="connsiteX4859" fmla="*/ 7534952 w 9759834"/>
                <a:gd name="connsiteY4859" fmla="*/ 425450 h 1762127"/>
                <a:gd name="connsiteX4860" fmla="*/ 7449227 w 9759834"/>
                <a:gd name="connsiteY4860" fmla="*/ 425450 h 1762127"/>
                <a:gd name="connsiteX4861" fmla="*/ 7483359 w 9759834"/>
                <a:gd name="connsiteY4861" fmla="*/ 459582 h 1762127"/>
                <a:gd name="connsiteX4862" fmla="*/ 7449227 w 9759834"/>
                <a:gd name="connsiteY4862" fmla="*/ 493714 h 1762127"/>
                <a:gd name="connsiteX4863" fmla="*/ 7415095 w 9759834"/>
                <a:gd name="connsiteY4863" fmla="*/ 459582 h 1762127"/>
                <a:gd name="connsiteX4864" fmla="*/ 7449227 w 9759834"/>
                <a:gd name="connsiteY4864" fmla="*/ 425450 h 1762127"/>
                <a:gd name="connsiteX4865" fmla="*/ 7366677 w 9759834"/>
                <a:gd name="connsiteY4865" fmla="*/ 425450 h 1762127"/>
                <a:gd name="connsiteX4866" fmla="*/ 7403984 w 9759834"/>
                <a:gd name="connsiteY4866" fmla="*/ 459582 h 1762127"/>
                <a:gd name="connsiteX4867" fmla="*/ 7366677 w 9759834"/>
                <a:gd name="connsiteY4867" fmla="*/ 493714 h 1762127"/>
                <a:gd name="connsiteX4868" fmla="*/ 7329370 w 9759834"/>
                <a:gd name="connsiteY4868" fmla="*/ 459582 h 1762127"/>
                <a:gd name="connsiteX4869" fmla="*/ 7366677 w 9759834"/>
                <a:gd name="connsiteY4869" fmla="*/ 425450 h 1762127"/>
                <a:gd name="connsiteX4870" fmla="*/ 7284127 w 9759834"/>
                <a:gd name="connsiteY4870" fmla="*/ 425450 h 1762127"/>
                <a:gd name="connsiteX4871" fmla="*/ 7318259 w 9759834"/>
                <a:gd name="connsiteY4871" fmla="*/ 459582 h 1762127"/>
                <a:gd name="connsiteX4872" fmla="*/ 7284127 w 9759834"/>
                <a:gd name="connsiteY4872" fmla="*/ 493714 h 1762127"/>
                <a:gd name="connsiteX4873" fmla="*/ 7249995 w 9759834"/>
                <a:gd name="connsiteY4873" fmla="*/ 459582 h 1762127"/>
                <a:gd name="connsiteX4874" fmla="*/ 7284127 w 9759834"/>
                <a:gd name="connsiteY4874" fmla="*/ 425450 h 1762127"/>
                <a:gd name="connsiteX4875" fmla="*/ 7198402 w 9759834"/>
                <a:gd name="connsiteY4875" fmla="*/ 425450 h 1762127"/>
                <a:gd name="connsiteX4876" fmla="*/ 7232534 w 9759834"/>
                <a:gd name="connsiteY4876" fmla="*/ 459582 h 1762127"/>
                <a:gd name="connsiteX4877" fmla="*/ 7198402 w 9759834"/>
                <a:gd name="connsiteY4877" fmla="*/ 493714 h 1762127"/>
                <a:gd name="connsiteX4878" fmla="*/ 7164270 w 9759834"/>
                <a:gd name="connsiteY4878" fmla="*/ 459582 h 1762127"/>
                <a:gd name="connsiteX4879" fmla="*/ 7198402 w 9759834"/>
                <a:gd name="connsiteY4879" fmla="*/ 425450 h 1762127"/>
                <a:gd name="connsiteX4880" fmla="*/ 7112677 w 9759834"/>
                <a:gd name="connsiteY4880" fmla="*/ 425450 h 1762127"/>
                <a:gd name="connsiteX4881" fmla="*/ 7146809 w 9759834"/>
                <a:gd name="connsiteY4881" fmla="*/ 459582 h 1762127"/>
                <a:gd name="connsiteX4882" fmla="*/ 7112677 w 9759834"/>
                <a:gd name="connsiteY4882" fmla="*/ 493714 h 1762127"/>
                <a:gd name="connsiteX4883" fmla="*/ 7078545 w 9759834"/>
                <a:gd name="connsiteY4883" fmla="*/ 459582 h 1762127"/>
                <a:gd name="connsiteX4884" fmla="*/ 7112677 w 9759834"/>
                <a:gd name="connsiteY4884" fmla="*/ 425450 h 1762127"/>
                <a:gd name="connsiteX4885" fmla="*/ 7027745 w 9759834"/>
                <a:gd name="connsiteY4885" fmla="*/ 425450 h 1762127"/>
                <a:gd name="connsiteX4886" fmla="*/ 7062670 w 9759834"/>
                <a:gd name="connsiteY4886" fmla="*/ 459582 h 1762127"/>
                <a:gd name="connsiteX4887" fmla="*/ 7027745 w 9759834"/>
                <a:gd name="connsiteY4887" fmla="*/ 493714 h 1762127"/>
                <a:gd name="connsiteX4888" fmla="*/ 6992820 w 9759834"/>
                <a:gd name="connsiteY4888" fmla="*/ 459582 h 1762127"/>
                <a:gd name="connsiteX4889" fmla="*/ 7027745 w 9759834"/>
                <a:gd name="connsiteY4889" fmla="*/ 425450 h 1762127"/>
                <a:gd name="connsiteX4890" fmla="*/ 6947577 w 9759834"/>
                <a:gd name="connsiteY4890" fmla="*/ 425450 h 1762127"/>
                <a:gd name="connsiteX4891" fmla="*/ 6981709 w 9759834"/>
                <a:gd name="connsiteY4891" fmla="*/ 459582 h 1762127"/>
                <a:gd name="connsiteX4892" fmla="*/ 6947577 w 9759834"/>
                <a:gd name="connsiteY4892" fmla="*/ 493714 h 1762127"/>
                <a:gd name="connsiteX4893" fmla="*/ 6913445 w 9759834"/>
                <a:gd name="connsiteY4893" fmla="*/ 459582 h 1762127"/>
                <a:gd name="connsiteX4894" fmla="*/ 6947577 w 9759834"/>
                <a:gd name="connsiteY4894" fmla="*/ 425450 h 1762127"/>
                <a:gd name="connsiteX4895" fmla="*/ 6607852 w 9759834"/>
                <a:gd name="connsiteY4895" fmla="*/ 425450 h 1762127"/>
                <a:gd name="connsiteX4896" fmla="*/ 6645159 w 9759834"/>
                <a:gd name="connsiteY4896" fmla="*/ 459582 h 1762127"/>
                <a:gd name="connsiteX4897" fmla="*/ 6607852 w 9759834"/>
                <a:gd name="connsiteY4897" fmla="*/ 493714 h 1762127"/>
                <a:gd name="connsiteX4898" fmla="*/ 6570545 w 9759834"/>
                <a:gd name="connsiteY4898" fmla="*/ 459582 h 1762127"/>
                <a:gd name="connsiteX4899" fmla="*/ 6607852 w 9759834"/>
                <a:gd name="connsiteY4899" fmla="*/ 425450 h 1762127"/>
                <a:gd name="connsiteX4900" fmla="*/ 6268920 w 9759834"/>
                <a:gd name="connsiteY4900" fmla="*/ 425450 h 1762127"/>
                <a:gd name="connsiteX4901" fmla="*/ 6303845 w 9759834"/>
                <a:gd name="connsiteY4901" fmla="*/ 459582 h 1762127"/>
                <a:gd name="connsiteX4902" fmla="*/ 6268920 w 9759834"/>
                <a:gd name="connsiteY4902" fmla="*/ 493714 h 1762127"/>
                <a:gd name="connsiteX4903" fmla="*/ 6233995 w 9759834"/>
                <a:gd name="connsiteY4903" fmla="*/ 459582 h 1762127"/>
                <a:gd name="connsiteX4904" fmla="*/ 6268920 w 9759834"/>
                <a:gd name="connsiteY4904" fmla="*/ 425450 h 1762127"/>
                <a:gd name="connsiteX4905" fmla="*/ 4500445 w 9759834"/>
                <a:gd name="connsiteY4905" fmla="*/ 425450 h 1762127"/>
                <a:gd name="connsiteX4906" fmla="*/ 4535370 w 9759834"/>
                <a:gd name="connsiteY4906" fmla="*/ 459582 h 1762127"/>
                <a:gd name="connsiteX4907" fmla="*/ 4500445 w 9759834"/>
                <a:gd name="connsiteY4907" fmla="*/ 493714 h 1762127"/>
                <a:gd name="connsiteX4908" fmla="*/ 4465520 w 9759834"/>
                <a:gd name="connsiteY4908" fmla="*/ 459582 h 1762127"/>
                <a:gd name="connsiteX4909" fmla="*/ 4500445 w 9759834"/>
                <a:gd name="connsiteY4909" fmla="*/ 425450 h 1762127"/>
                <a:gd name="connsiteX4910" fmla="*/ 4415515 w 9759834"/>
                <a:gd name="connsiteY4910" fmla="*/ 425450 h 1762127"/>
                <a:gd name="connsiteX4911" fmla="*/ 4449647 w 9759834"/>
                <a:gd name="connsiteY4911" fmla="*/ 459582 h 1762127"/>
                <a:gd name="connsiteX4912" fmla="*/ 4415515 w 9759834"/>
                <a:gd name="connsiteY4912" fmla="*/ 493714 h 1762127"/>
                <a:gd name="connsiteX4913" fmla="*/ 4381383 w 9759834"/>
                <a:gd name="connsiteY4913" fmla="*/ 459582 h 1762127"/>
                <a:gd name="connsiteX4914" fmla="*/ 4415515 w 9759834"/>
                <a:gd name="connsiteY4914" fmla="*/ 425450 h 1762127"/>
                <a:gd name="connsiteX4915" fmla="*/ 4332171 w 9759834"/>
                <a:gd name="connsiteY4915" fmla="*/ 425450 h 1762127"/>
                <a:gd name="connsiteX4916" fmla="*/ 4368684 w 9759834"/>
                <a:gd name="connsiteY4916" fmla="*/ 459582 h 1762127"/>
                <a:gd name="connsiteX4917" fmla="*/ 4332171 w 9759834"/>
                <a:gd name="connsiteY4917" fmla="*/ 493714 h 1762127"/>
                <a:gd name="connsiteX4918" fmla="*/ 4295658 w 9759834"/>
                <a:gd name="connsiteY4918" fmla="*/ 459582 h 1762127"/>
                <a:gd name="connsiteX4919" fmla="*/ 4332171 w 9759834"/>
                <a:gd name="connsiteY4919" fmla="*/ 425450 h 1762127"/>
                <a:gd name="connsiteX4920" fmla="*/ 4248827 w 9759834"/>
                <a:gd name="connsiteY4920" fmla="*/ 425450 h 1762127"/>
                <a:gd name="connsiteX4921" fmla="*/ 4282959 w 9759834"/>
                <a:gd name="connsiteY4921" fmla="*/ 459582 h 1762127"/>
                <a:gd name="connsiteX4922" fmla="*/ 4248827 w 9759834"/>
                <a:gd name="connsiteY4922" fmla="*/ 493714 h 1762127"/>
                <a:gd name="connsiteX4923" fmla="*/ 4214695 w 9759834"/>
                <a:gd name="connsiteY4923" fmla="*/ 459582 h 1762127"/>
                <a:gd name="connsiteX4924" fmla="*/ 4248827 w 9759834"/>
                <a:gd name="connsiteY4924" fmla="*/ 425450 h 1762127"/>
                <a:gd name="connsiteX4925" fmla="*/ 4163895 w 9759834"/>
                <a:gd name="connsiteY4925" fmla="*/ 425450 h 1762127"/>
                <a:gd name="connsiteX4926" fmla="*/ 4198820 w 9759834"/>
                <a:gd name="connsiteY4926" fmla="*/ 459582 h 1762127"/>
                <a:gd name="connsiteX4927" fmla="*/ 4163895 w 9759834"/>
                <a:gd name="connsiteY4927" fmla="*/ 493714 h 1762127"/>
                <a:gd name="connsiteX4928" fmla="*/ 4128970 w 9759834"/>
                <a:gd name="connsiteY4928" fmla="*/ 459582 h 1762127"/>
                <a:gd name="connsiteX4929" fmla="*/ 4163895 w 9759834"/>
                <a:gd name="connsiteY4929" fmla="*/ 425450 h 1762127"/>
                <a:gd name="connsiteX4930" fmla="*/ 4078170 w 9759834"/>
                <a:gd name="connsiteY4930" fmla="*/ 425450 h 1762127"/>
                <a:gd name="connsiteX4931" fmla="*/ 4113095 w 9759834"/>
                <a:gd name="connsiteY4931" fmla="*/ 459582 h 1762127"/>
                <a:gd name="connsiteX4932" fmla="*/ 4078170 w 9759834"/>
                <a:gd name="connsiteY4932" fmla="*/ 493714 h 1762127"/>
                <a:gd name="connsiteX4933" fmla="*/ 4043245 w 9759834"/>
                <a:gd name="connsiteY4933" fmla="*/ 459582 h 1762127"/>
                <a:gd name="connsiteX4934" fmla="*/ 4078170 w 9759834"/>
                <a:gd name="connsiteY4934" fmla="*/ 425450 h 1762127"/>
                <a:gd name="connsiteX4935" fmla="*/ 3993240 w 9759834"/>
                <a:gd name="connsiteY4935" fmla="*/ 425450 h 1762127"/>
                <a:gd name="connsiteX4936" fmla="*/ 4027372 w 9759834"/>
                <a:gd name="connsiteY4936" fmla="*/ 459582 h 1762127"/>
                <a:gd name="connsiteX4937" fmla="*/ 3993240 w 9759834"/>
                <a:gd name="connsiteY4937" fmla="*/ 493714 h 1762127"/>
                <a:gd name="connsiteX4938" fmla="*/ 3959108 w 9759834"/>
                <a:gd name="connsiteY4938" fmla="*/ 459582 h 1762127"/>
                <a:gd name="connsiteX4939" fmla="*/ 3993240 w 9759834"/>
                <a:gd name="connsiteY4939" fmla="*/ 425450 h 1762127"/>
                <a:gd name="connsiteX4940" fmla="*/ 3912277 w 9759834"/>
                <a:gd name="connsiteY4940" fmla="*/ 425450 h 1762127"/>
                <a:gd name="connsiteX4941" fmla="*/ 3946409 w 9759834"/>
                <a:gd name="connsiteY4941" fmla="*/ 459582 h 1762127"/>
                <a:gd name="connsiteX4942" fmla="*/ 3912277 w 9759834"/>
                <a:gd name="connsiteY4942" fmla="*/ 493714 h 1762127"/>
                <a:gd name="connsiteX4943" fmla="*/ 3878145 w 9759834"/>
                <a:gd name="connsiteY4943" fmla="*/ 459582 h 1762127"/>
                <a:gd name="connsiteX4944" fmla="*/ 3912277 w 9759834"/>
                <a:gd name="connsiteY4944" fmla="*/ 425450 h 1762127"/>
                <a:gd name="connsiteX4945" fmla="*/ 3826552 w 9759834"/>
                <a:gd name="connsiteY4945" fmla="*/ 425450 h 1762127"/>
                <a:gd name="connsiteX4946" fmla="*/ 3860684 w 9759834"/>
                <a:gd name="connsiteY4946" fmla="*/ 459582 h 1762127"/>
                <a:gd name="connsiteX4947" fmla="*/ 3826552 w 9759834"/>
                <a:gd name="connsiteY4947" fmla="*/ 493714 h 1762127"/>
                <a:gd name="connsiteX4948" fmla="*/ 3792420 w 9759834"/>
                <a:gd name="connsiteY4948" fmla="*/ 459582 h 1762127"/>
                <a:gd name="connsiteX4949" fmla="*/ 3826552 w 9759834"/>
                <a:gd name="connsiteY4949" fmla="*/ 425450 h 1762127"/>
                <a:gd name="connsiteX4950" fmla="*/ 3741620 w 9759834"/>
                <a:gd name="connsiteY4950" fmla="*/ 425450 h 1762127"/>
                <a:gd name="connsiteX4951" fmla="*/ 3776545 w 9759834"/>
                <a:gd name="connsiteY4951" fmla="*/ 459582 h 1762127"/>
                <a:gd name="connsiteX4952" fmla="*/ 3741620 w 9759834"/>
                <a:gd name="connsiteY4952" fmla="*/ 493714 h 1762127"/>
                <a:gd name="connsiteX4953" fmla="*/ 3706695 w 9759834"/>
                <a:gd name="connsiteY4953" fmla="*/ 459582 h 1762127"/>
                <a:gd name="connsiteX4954" fmla="*/ 3741620 w 9759834"/>
                <a:gd name="connsiteY4954" fmla="*/ 425450 h 1762127"/>
                <a:gd name="connsiteX4955" fmla="*/ 3153452 w 9759834"/>
                <a:gd name="connsiteY4955" fmla="*/ 425450 h 1762127"/>
                <a:gd name="connsiteX4956" fmla="*/ 3187584 w 9759834"/>
                <a:gd name="connsiteY4956" fmla="*/ 459582 h 1762127"/>
                <a:gd name="connsiteX4957" fmla="*/ 3153452 w 9759834"/>
                <a:gd name="connsiteY4957" fmla="*/ 493714 h 1762127"/>
                <a:gd name="connsiteX4958" fmla="*/ 3119320 w 9759834"/>
                <a:gd name="connsiteY4958" fmla="*/ 459582 h 1762127"/>
                <a:gd name="connsiteX4959" fmla="*/ 3153452 w 9759834"/>
                <a:gd name="connsiteY4959" fmla="*/ 425450 h 1762127"/>
                <a:gd name="connsiteX4960" fmla="*/ 3068520 w 9759834"/>
                <a:gd name="connsiteY4960" fmla="*/ 425450 h 1762127"/>
                <a:gd name="connsiteX4961" fmla="*/ 3103445 w 9759834"/>
                <a:gd name="connsiteY4961" fmla="*/ 459582 h 1762127"/>
                <a:gd name="connsiteX4962" fmla="*/ 3068520 w 9759834"/>
                <a:gd name="connsiteY4962" fmla="*/ 493714 h 1762127"/>
                <a:gd name="connsiteX4963" fmla="*/ 3033595 w 9759834"/>
                <a:gd name="connsiteY4963" fmla="*/ 459582 h 1762127"/>
                <a:gd name="connsiteX4964" fmla="*/ 3068520 w 9759834"/>
                <a:gd name="connsiteY4964" fmla="*/ 425450 h 1762127"/>
                <a:gd name="connsiteX4965" fmla="*/ 2897865 w 9759834"/>
                <a:gd name="connsiteY4965" fmla="*/ 425450 h 1762127"/>
                <a:gd name="connsiteX4966" fmla="*/ 2931997 w 9759834"/>
                <a:gd name="connsiteY4966" fmla="*/ 459582 h 1762127"/>
                <a:gd name="connsiteX4967" fmla="*/ 2897865 w 9759834"/>
                <a:gd name="connsiteY4967" fmla="*/ 493714 h 1762127"/>
                <a:gd name="connsiteX4968" fmla="*/ 2863733 w 9759834"/>
                <a:gd name="connsiteY4968" fmla="*/ 459582 h 1762127"/>
                <a:gd name="connsiteX4969" fmla="*/ 2897865 w 9759834"/>
                <a:gd name="connsiteY4969" fmla="*/ 425450 h 1762127"/>
                <a:gd name="connsiteX4970" fmla="*/ 2731999 w 9759834"/>
                <a:gd name="connsiteY4970" fmla="*/ 425450 h 1762127"/>
                <a:gd name="connsiteX4971" fmla="*/ 2766924 w 9759834"/>
                <a:gd name="connsiteY4971" fmla="*/ 459582 h 1762127"/>
                <a:gd name="connsiteX4972" fmla="*/ 2731999 w 9759834"/>
                <a:gd name="connsiteY4972" fmla="*/ 493714 h 1762127"/>
                <a:gd name="connsiteX4973" fmla="*/ 2697074 w 9759834"/>
                <a:gd name="connsiteY4973" fmla="*/ 459582 h 1762127"/>
                <a:gd name="connsiteX4974" fmla="*/ 2731999 w 9759834"/>
                <a:gd name="connsiteY4974" fmla="*/ 425450 h 1762127"/>
                <a:gd name="connsiteX4975" fmla="*/ 2394790 w 9759834"/>
                <a:gd name="connsiteY4975" fmla="*/ 425450 h 1762127"/>
                <a:gd name="connsiteX4976" fmla="*/ 2428919 w 9759834"/>
                <a:gd name="connsiteY4976" fmla="*/ 459582 h 1762127"/>
                <a:gd name="connsiteX4977" fmla="*/ 2394790 w 9759834"/>
                <a:gd name="connsiteY4977" fmla="*/ 493714 h 1762127"/>
                <a:gd name="connsiteX4978" fmla="*/ 2360656 w 9759834"/>
                <a:gd name="connsiteY4978" fmla="*/ 459582 h 1762127"/>
                <a:gd name="connsiteX4979" fmla="*/ 2394790 w 9759834"/>
                <a:gd name="connsiteY4979" fmla="*/ 425450 h 1762127"/>
                <a:gd name="connsiteX4980" fmla="*/ 2309856 w 9759834"/>
                <a:gd name="connsiteY4980" fmla="*/ 425450 h 1762127"/>
                <a:gd name="connsiteX4981" fmla="*/ 2344781 w 9759834"/>
                <a:gd name="connsiteY4981" fmla="*/ 459582 h 1762127"/>
                <a:gd name="connsiteX4982" fmla="*/ 2309856 w 9759834"/>
                <a:gd name="connsiteY4982" fmla="*/ 493714 h 1762127"/>
                <a:gd name="connsiteX4983" fmla="*/ 2274920 w 9759834"/>
                <a:gd name="connsiteY4983" fmla="*/ 459582 h 1762127"/>
                <a:gd name="connsiteX4984" fmla="*/ 2309856 w 9759834"/>
                <a:gd name="connsiteY4984" fmla="*/ 425450 h 1762127"/>
                <a:gd name="connsiteX4985" fmla="*/ 2224919 w 9759834"/>
                <a:gd name="connsiteY4985" fmla="*/ 425450 h 1762127"/>
                <a:gd name="connsiteX4986" fmla="*/ 2259040 w 9759834"/>
                <a:gd name="connsiteY4986" fmla="*/ 459582 h 1762127"/>
                <a:gd name="connsiteX4987" fmla="*/ 2224919 w 9759834"/>
                <a:gd name="connsiteY4987" fmla="*/ 493714 h 1762127"/>
                <a:gd name="connsiteX4988" fmla="*/ 2190786 w 9759834"/>
                <a:gd name="connsiteY4988" fmla="*/ 459582 h 1762127"/>
                <a:gd name="connsiteX4989" fmla="*/ 2224919 w 9759834"/>
                <a:gd name="connsiteY4989" fmla="*/ 425450 h 1762127"/>
                <a:gd name="connsiteX4990" fmla="*/ 2139203 w 9759834"/>
                <a:gd name="connsiteY4990" fmla="*/ 425450 h 1762127"/>
                <a:gd name="connsiteX4991" fmla="*/ 2173331 w 9759834"/>
                <a:gd name="connsiteY4991" fmla="*/ 459582 h 1762127"/>
                <a:gd name="connsiteX4992" fmla="*/ 2139203 w 9759834"/>
                <a:gd name="connsiteY4992" fmla="*/ 493714 h 1762127"/>
                <a:gd name="connsiteX4993" fmla="*/ 2105064 w 9759834"/>
                <a:gd name="connsiteY4993" fmla="*/ 459582 h 1762127"/>
                <a:gd name="connsiteX4994" fmla="*/ 2139203 w 9759834"/>
                <a:gd name="connsiteY4994" fmla="*/ 425450 h 1762127"/>
                <a:gd name="connsiteX4995" fmla="*/ 1973173 w 9759834"/>
                <a:gd name="connsiteY4995" fmla="*/ 425450 h 1762127"/>
                <a:gd name="connsiteX4996" fmla="*/ 2008098 w 9759834"/>
                <a:gd name="connsiteY4996" fmla="*/ 459582 h 1762127"/>
                <a:gd name="connsiteX4997" fmla="*/ 1973173 w 9759834"/>
                <a:gd name="connsiteY4997" fmla="*/ 493714 h 1762127"/>
                <a:gd name="connsiteX4998" fmla="*/ 1938249 w 9759834"/>
                <a:gd name="connsiteY4998" fmla="*/ 459582 h 1762127"/>
                <a:gd name="connsiteX4999" fmla="*/ 1973173 w 9759834"/>
                <a:gd name="connsiteY4999" fmla="*/ 425450 h 1762127"/>
                <a:gd name="connsiteX5000" fmla="*/ 1888373 w 9759834"/>
                <a:gd name="connsiteY5000" fmla="*/ 425450 h 1762127"/>
                <a:gd name="connsiteX5001" fmla="*/ 1922503 w 9759834"/>
                <a:gd name="connsiteY5001" fmla="*/ 459582 h 1762127"/>
                <a:gd name="connsiteX5002" fmla="*/ 1888373 w 9759834"/>
                <a:gd name="connsiteY5002" fmla="*/ 493714 h 1762127"/>
                <a:gd name="connsiteX5003" fmla="*/ 1854243 w 9759834"/>
                <a:gd name="connsiteY5003" fmla="*/ 459582 h 1762127"/>
                <a:gd name="connsiteX5004" fmla="*/ 1888373 w 9759834"/>
                <a:gd name="connsiteY5004" fmla="*/ 425450 h 1762127"/>
                <a:gd name="connsiteX5005" fmla="*/ 1802656 w 9759834"/>
                <a:gd name="connsiteY5005" fmla="*/ 425450 h 1762127"/>
                <a:gd name="connsiteX5006" fmla="*/ 1836784 w 9759834"/>
                <a:gd name="connsiteY5006" fmla="*/ 459582 h 1762127"/>
                <a:gd name="connsiteX5007" fmla="*/ 1802656 w 9759834"/>
                <a:gd name="connsiteY5007" fmla="*/ 493714 h 1762127"/>
                <a:gd name="connsiteX5008" fmla="*/ 1768524 w 9759834"/>
                <a:gd name="connsiteY5008" fmla="*/ 459582 h 1762127"/>
                <a:gd name="connsiteX5009" fmla="*/ 1802656 w 9759834"/>
                <a:gd name="connsiteY5009" fmla="*/ 425450 h 1762127"/>
                <a:gd name="connsiteX5010" fmla="*/ 1719314 w 9759834"/>
                <a:gd name="connsiteY5010" fmla="*/ 425450 h 1762127"/>
                <a:gd name="connsiteX5011" fmla="*/ 1755825 w 9759834"/>
                <a:gd name="connsiteY5011" fmla="*/ 459582 h 1762127"/>
                <a:gd name="connsiteX5012" fmla="*/ 1719314 w 9759834"/>
                <a:gd name="connsiteY5012" fmla="*/ 493714 h 1762127"/>
                <a:gd name="connsiteX5013" fmla="*/ 1682803 w 9759834"/>
                <a:gd name="connsiteY5013" fmla="*/ 459582 h 1762127"/>
                <a:gd name="connsiteX5014" fmla="*/ 1719314 w 9759834"/>
                <a:gd name="connsiteY5014" fmla="*/ 425450 h 1762127"/>
                <a:gd name="connsiteX5015" fmla="*/ 1636626 w 9759834"/>
                <a:gd name="connsiteY5015" fmla="*/ 425450 h 1762127"/>
                <a:gd name="connsiteX5016" fmla="*/ 1671551 w 9759834"/>
                <a:gd name="connsiteY5016" fmla="*/ 459582 h 1762127"/>
                <a:gd name="connsiteX5017" fmla="*/ 1636626 w 9759834"/>
                <a:gd name="connsiteY5017" fmla="*/ 493714 h 1762127"/>
                <a:gd name="connsiteX5018" fmla="*/ 1601701 w 9759834"/>
                <a:gd name="connsiteY5018" fmla="*/ 459582 h 1762127"/>
                <a:gd name="connsiteX5019" fmla="*/ 1636626 w 9759834"/>
                <a:gd name="connsiteY5019" fmla="*/ 425450 h 1762127"/>
                <a:gd name="connsiteX5020" fmla="*/ 1551838 w 9759834"/>
                <a:gd name="connsiteY5020" fmla="*/ 425450 h 1762127"/>
                <a:gd name="connsiteX5021" fmla="*/ 1585970 w 9759834"/>
                <a:gd name="connsiteY5021" fmla="*/ 459582 h 1762127"/>
                <a:gd name="connsiteX5022" fmla="*/ 1551838 w 9759834"/>
                <a:gd name="connsiteY5022" fmla="*/ 493714 h 1762127"/>
                <a:gd name="connsiteX5023" fmla="*/ 1517707 w 9759834"/>
                <a:gd name="connsiteY5023" fmla="*/ 459582 h 1762127"/>
                <a:gd name="connsiteX5024" fmla="*/ 1551838 w 9759834"/>
                <a:gd name="connsiteY5024" fmla="*/ 425450 h 1762127"/>
                <a:gd name="connsiteX5025" fmla="*/ 1466114 w 9759834"/>
                <a:gd name="connsiteY5025" fmla="*/ 425450 h 1762127"/>
                <a:gd name="connsiteX5026" fmla="*/ 1500247 w 9759834"/>
                <a:gd name="connsiteY5026" fmla="*/ 459582 h 1762127"/>
                <a:gd name="connsiteX5027" fmla="*/ 1466114 w 9759834"/>
                <a:gd name="connsiteY5027" fmla="*/ 493714 h 1762127"/>
                <a:gd name="connsiteX5028" fmla="*/ 1431983 w 9759834"/>
                <a:gd name="connsiteY5028" fmla="*/ 459582 h 1762127"/>
                <a:gd name="connsiteX5029" fmla="*/ 1466114 w 9759834"/>
                <a:gd name="connsiteY5029" fmla="*/ 425450 h 1762127"/>
                <a:gd name="connsiteX5030" fmla="*/ 1380392 w 9759834"/>
                <a:gd name="connsiteY5030" fmla="*/ 425450 h 1762127"/>
                <a:gd name="connsiteX5031" fmla="*/ 1414522 w 9759834"/>
                <a:gd name="connsiteY5031" fmla="*/ 459582 h 1762127"/>
                <a:gd name="connsiteX5032" fmla="*/ 1380392 w 9759834"/>
                <a:gd name="connsiteY5032" fmla="*/ 493714 h 1762127"/>
                <a:gd name="connsiteX5033" fmla="*/ 1346258 w 9759834"/>
                <a:gd name="connsiteY5033" fmla="*/ 459582 h 1762127"/>
                <a:gd name="connsiteX5034" fmla="*/ 1380392 w 9759834"/>
                <a:gd name="connsiteY5034" fmla="*/ 425450 h 1762127"/>
                <a:gd name="connsiteX5035" fmla="*/ 1300222 w 9759834"/>
                <a:gd name="connsiteY5035" fmla="*/ 425450 h 1762127"/>
                <a:gd name="connsiteX5036" fmla="*/ 1335148 w 9759834"/>
                <a:gd name="connsiteY5036" fmla="*/ 459582 h 1762127"/>
                <a:gd name="connsiteX5037" fmla="*/ 1300222 w 9759834"/>
                <a:gd name="connsiteY5037" fmla="*/ 493714 h 1762127"/>
                <a:gd name="connsiteX5038" fmla="*/ 1265297 w 9759834"/>
                <a:gd name="connsiteY5038" fmla="*/ 459582 h 1762127"/>
                <a:gd name="connsiteX5039" fmla="*/ 1300222 w 9759834"/>
                <a:gd name="connsiteY5039" fmla="*/ 425450 h 1762127"/>
                <a:gd name="connsiteX5040" fmla="*/ 1214500 w 9759834"/>
                <a:gd name="connsiteY5040" fmla="*/ 425450 h 1762127"/>
                <a:gd name="connsiteX5041" fmla="*/ 1249422 w 9759834"/>
                <a:gd name="connsiteY5041" fmla="*/ 459582 h 1762127"/>
                <a:gd name="connsiteX5042" fmla="*/ 1214500 w 9759834"/>
                <a:gd name="connsiteY5042" fmla="*/ 493714 h 1762127"/>
                <a:gd name="connsiteX5043" fmla="*/ 1179573 w 9759834"/>
                <a:gd name="connsiteY5043" fmla="*/ 459582 h 1762127"/>
                <a:gd name="connsiteX5044" fmla="*/ 1214500 w 9759834"/>
                <a:gd name="connsiteY5044" fmla="*/ 425450 h 1762127"/>
                <a:gd name="connsiteX5045" fmla="*/ 8042952 w 9759834"/>
                <a:gd name="connsiteY5045" fmla="*/ 339725 h 1762127"/>
                <a:gd name="connsiteX5046" fmla="*/ 8077084 w 9759834"/>
                <a:gd name="connsiteY5046" fmla="*/ 373857 h 1762127"/>
                <a:gd name="connsiteX5047" fmla="*/ 8042952 w 9759834"/>
                <a:gd name="connsiteY5047" fmla="*/ 407989 h 1762127"/>
                <a:gd name="connsiteX5048" fmla="*/ 8008820 w 9759834"/>
                <a:gd name="connsiteY5048" fmla="*/ 373857 h 1762127"/>
                <a:gd name="connsiteX5049" fmla="*/ 8042952 w 9759834"/>
                <a:gd name="connsiteY5049" fmla="*/ 339725 h 1762127"/>
                <a:gd name="connsiteX5050" fmla="*/ 7957227 w 9759834"/>
                <a:gd name="connsiteY5050" fmla="*/ 339725 h 1762127"/>
                <a:gd name="connsiteX5051" fmla="*/ 7991359 w 9759834"/>
                <a:gd name="connsiteY5051" fmla="*/ 373857 h 1762127"/>
                <a:gd name="connsiteX5052" fmla="*/ 7957227 w 9759834"/>
                <a:gd name="connsiteY5052" fmla="*/ 407989 h 1762127"/>
                <a:gd name="connsiteX5053" fmla="*/ 7923095 w 9759834"/>
                <a:gd name="connsiteY5053" fmla="*/ 373857 h 1762127"/>
                <a:gd name="connsiteX5054" fmla="*/ 7957227 w 9759834"/>
                <a:gd name="connsiteY5054" fmla="*/ 339725 h 1762127"/>
                <a:gd name="connsiteX5055" fmla="*/ 7871502 w 9759834"/>
                <a:gd name="connsiteY5055" fmla="*/ 339725 h 1762127"/>
                <a:gd name="connsiteX5056" fmla="*/ 7905634 w 9759834"/>
                <a:gd name="connsiteY5056" fmla="*/ 373857 h 1762127"/>
                <a:gd name="connsiteX5057" fmla="*/ 7871502 w 9759834"/>
                <a:gd name="connsiteY5057" fmla="*/ 407989 h 1762127"/>
                <a:gd name="connsiteX5058" fmla="*/ 7837370 w 9759834"/>
                <a:gd name="connsiteY5058" fmla="*/ 373857 h 1762127"/>
                <a:gd name="connsiteX5059" fmla="*/ 7871502 w 9759834"/>
                <a:gd name="connsiteY5059" fmla="*/ 339725 h 1762127"/>
                <a:gd name="connsiteX5060" fmla="*/ 7785777 w 9759834"/>
                <a:gd name="connsiteY5060" fmla="*/ 339725 h 1762127"/>
                <a:gd name="connsiteX5061" fmla="*/ 7819909 w 9759834"/>
                <a:gd name="connsiteY5061" fmla="*/ 373857 h 1762127"/>
                <a:gd name="connsiteX5062" fmla="*/ 7785777 w 9759834"/>
                <a:gd name="connsiteY5062" fmla="*/ 407989 h 1762127"/>
                <a:gd name="connsiteX5063" fmla="*/ 7751645 w 9759834"/>
                <a:gd name="connsiteY5063" fmla="*/ 373857 h 1762127"/>
                <a:gd name="connsiteX5064" fmla="*/ 7785777 w 9759834"/>
                <a:gd name="connsiteY5064" fmla="*/ 339725 h 1762127"/>
                <a:gd name="connsiteX5065" fmla="*/ 7706402 w 9759834"/>
                <a:gd name="connsiteY5065" fmla="*/ 339725 h 1762127"/>
                <a:gd name="connsiteX5066" fmla="*/ 7740534 w 9759834"/>
                <a:gd name="connsiteY5066" fmla="*/ 373857 h 1762127"/>
                <a:gd name="connsiteX5067" fmla="*/ 7706402 w 9759834"/>
                <a:gd name="connsiteY5067" fmla="*/ 407989 h 1762127"/>
                <a:gd name="connsiteX5068" fmla="*/ 7672270 w 9759834"/>
                <a:gd name="connsiteY5068" fmla="*/ 373857 h 1762127"/>
                <a:gd name="connsiteX5069" fmla="*/ 7706402 w 9759834"/>
                <a:gd name="connsiteY5069" fmla="*/ 339725 h 1762127"/>
                <a:gd name="connsiteX5070" fmla="*/ 7620677 w 9759834"/>
                <a:gd name="connsiteY5070" fmla="*/ 339725 h 1762127"/>
                <a:gd name="connsiteX5071" fmla="*/ 7654809 w 9759834"/>
                <a:gd name="connsiteY5071" fmla="*/ 373857 h 1762127"/>
                <a:gd name="connsiteX5072" fmla="*/ 7620677 w 9759834"/>
                <a:gd name="connsiteY5072" fmla="*/ 407989 h 1762127"/>
                <a:gd name="connsiteX5073" fmla="*/ 7586545 w 9759834"/>
                <a:gd name="connsiteY5073" fmla="*/ 373857 h 1762127"/>
                <a:gd name="connsiteX5074" fmla="*/ 7620677 w 9759834"/>
                <a:gd name="connsiteY5074" fmla="*/ 339725 h 1762127"/>
                <a:gd name="connsiteX5075" fmla="*/ 7534952 w 9759834"/>
                <a:gd name="connsiteY5075" fmla="*/ 339725 h 1762127"/>
                <a:gd name="connsiteX5076" fmla="*/ 7569084 w 9759834"/>
                <a:gd name="connsiteY5076" fmla="*/ 373857 h 1762127"/>
                <a:gd name="connsiteX5077" fmla="*/ 7534952 w 9759834"/>
                <a:gd name="connsiteY5077" fmla="*/ 407989 h 1762127"/>
                <a:gd name="connsiteX5078" fmla="*/ 7500820 w 9759834"/>
                <a:gd name="connsiteY5078" fmla="*/ 373857 h 1762127"/>
                <a:gd name="connsiteX5079" fmla="*/ 7534952 w 9759834"/>
                <a:gd name="connsiteY5079" fmla="*/ 339725 h 1762127"/>
                <a:gd name="connsiteX5080" fmla="*/ 7449227 w 9759834"/>
                <a:gd name="connsiteY5080" fmla="*/ 339725 h 1762127"/>
                <a:gd name="connsiteX5081" fmla="*/ 7483359 w 9759834"/>
                <a:gd name="connsiteY5081" fmla="*/ 373857 h 1762127"/>
                <a:gd name="connsiteX5082" fmla="*/ 7449227 w 9759834"/>
                <a:gd name="connsiteY5082" fmla="*/ 407989 h 1762127"/>
                <a:gd name="connsiteX5083" fmla="*/ 7415095 w 9759834"/>
                <a:gd name="connsiteY5083" fmla="*/ 373857 h 1762127"/>
                <a:gd name="connsiteX5084" fmla="*/ 7449227 w 9759834"/>
                <a:gd name="connsiteY5084" fmla="*/ 339725 h 1762127"/>
                <a:gd name="connsiteX5085" fmla="*/ 7366677 w 9759834"/>
                <a:gd name="connsiteY5085" fmla="*/ 339725 h 1762127"/>
                <a:gd name="connsiteX5086" fmla="*/ 7403984 w 9759834"/>
                <a:gd name="connsiteY5086" fmla="*/ 373857 h 1762127"/>
                <a:gd name="connsiteX5087" fmla="*/ 7366677 w 9759834"/>
                <a:gd name="connsiteY5087" fmla="*/ 407989 h 1762127"/>
                <a:gd name="connsiteX5088" fmla="*/ 7329370 w 9759834"/>
                <a:gd name="connsiteY5088" fmla="*/ 373857 h 1762127"/>
                <a:gd name="connsiteX5089" fmla="*/ 7366677 w 9759834"/>
                <a:gd name="connsiteY5089" fmla="*/ 339725 h 1762127"/>
                <a:gd name="connsiteX5090" fmla="*/ 7284127 w 9759834"/>
                <a:gd name="connsiteY5090" fmla="*/ 339725 h 1762127"/>
                <a:gd name="connsiteX5091" fmla="*/ 7318259 w 9759834"/>
                <a:gd name="connsiteY5091" fmla="*/ 373857 h 1762127"/>
                <a:gd name="connsiteX5092" fmla="*/ 7284127 w 9759834"/>
                <a:gd name="connsiteY5092" fmla="*/ 407989 h 1762127"/>
                <a:gd name="connsiteX5093" fmla="*/ 7249995 w 9759834"/>
                <a:gd name="connsiteY5093" fmla="*/ 373857 h 1762127"/>
                <a:gd name="connsiteX5094" fmla="*/ 7284127 w 9759834"/>
                <a:gd name="connsiteY5094" fmla="*/ 339725 h 1762127"/>
                <a:gd name="connsiteX5095" fmla="*/ 7198402 w 9759834"/>
                <a:gd name="connsiteY5095" fmla="*/ 339725 h 1762127"/>
                <a:gd name="connsiteX5096" fmla="*/ 7232534 w 9759834"/>
                <a:gd name="connsiteY5096" fmla="*/ 373857 h 1762127"/>
                <a:gd name="connsiteX5097" fmla="*/ 7198402 w 9759834"/>
                <a:gd name="connsiteY5097" fmla="*/ 407989 h 1762127"/>
                <a:gd name="connsiteX5098" fmla="*/ 7164270 w 9759834"/>
                <a:gd name="connsiteY5098" fmla="*/ 373857 h 1762127"/>
                <a:gd name="connsiteX5099" fmla="*/ 7198402 w 9759834"/>
                <a:gd name="connsiteY5099" fmla="*/ 339725 h 1762127"/>
                <a:gd name="connsiteX5100" fmla="*/ 7112677 w 9759834"/>
                <a:gd name="connsiteY5100" fmla="*/ 339725 h 1762127"/>
                <a:gd name="connsiteX5101" fmla="*/ 7146809 w 9759834"/>
                <a:gd name="connsiteY5101" fmla="*/ 373857 h 1762127"/>
                <a:gd name="connsiteX5102" fmla="*/ 7112677 w 9759834"/>
                <a:gd name="connsiteY5102" fmla="*/ 407989 h 1762127"/>
                <a:gd name="connsiteX5103" fmla="*/ 7078545 w 9759834"/>
                <a:gd name="connsiteY5103" fmla="*/ 373857 h 1762127"/>
                <a:gd name="connsiteX5104" fmla="*/ 7112677 w 9759834"/>
                <a:gd name="connsiteY5104" fmla="*/ 339725 h 1762127"/>
                <a:gd name="connsiteX5105" fmla="*/ 7027745 w 9759834"/>
                <a:gd name="connsiteY5105" fmla="*/ 339725 h 1762127"/>
                <a:gd name="connsiteX5106" fmla="*/ 7062670 w 9759834"/>
                <a:gd name="connsiteY5106" fmla="*/ 373857 h 1762127"/>
                <a:gd name="connsiteX5107" fmla="*/ 7027745 w 9759834"/>
                <a:gd name="connsiteY5107" fmla="*/ 407989 h 1762127"/>
                <a:gd name="connsiteX5108" fmla="*/ 6992820 w 9759834"/>
                <a:gd name="connsiteY5108" fmla="*/ 373857 h 1762127"/>
                <a:gd name="connsiteX5109" fmla="*/ 7027745 w 9759834"/>
                <a:gd name="connsiteY5109" fmla="*/ 339725 h 1762127"/>
                <a:gd name="connsiteX5110" fmla="*/ 6861852 w 9759834"/>
                <a:gd name="connsiteY5110" fmla="*/ 339725 h 1762127"/>
                <a:gd name="connsiteX5111" fmla="*/ 6895984 w 9759834"/>
                <a:gd name="connsiteY5111" fmla="*/ 373857 h 1762127"/>
                <a:gd name="connsiteX5112" fmla="*/ 6861852 w 9759834"/>
                <a:gd name="connsiteY5112" fmla="*/ 407989 h 1762127"/>
                <a:gd name="connsiteX5113" fmla="*/ 6827720 w 9759834"/>
                <a:gd name="connsiteY5113" fmla="*/ 373857 h 1762127"/>
                <a:gd name="connsiteX5114" fmla="*/ 6861852 w 9759834"/>
                <a:gd name="connsiteY5114" fmla="*/ 339725 h 1762127"/>
                <a:gd name="connsiteX5115" fmla="*/ 6268920 w 9759834"/>
                <a:gd name="connsiteY5115" fmla="*/ 339725 h 1762127"/>
                <a:gd name="connsiteX5116" fmla="*/ 6303845 w 9759834"/>
                <a:gd name="connsiteY5116" fmla="*/ 373857 h 1762127"/>
                <a:gd name="connsiteX5117" fmla="*/ 6268920 w 9759834"/>
                <a:gd name="connsiteY5117" fmla="*/ 407989 h 1762127"/>
                <a:gd name="connsiteX5118" fmla="*/ 6233995 w 9759834"/>
                <a:gd name="connsiteY5118" fmla="*/ 373857 h 1762127"/>
                <a:gd name="connsiteX5119" fmla="*/ 6268920 w 9759834"/>
                <a:gd name="connsiteY5119" fmla="*/ 339725 h 1762127"/>
                <a:gd name="connsiteX5120" fmla="*/ 4415515 w 9759834"/>
                <a:gd name="connsiteY5120" fmla="*/ 339725 h 1762127"/>
                <a:gd name="connsiteX5121" fmla="*/ 4449647 w 9759834"/>
                <a:gd name="connsiteY5121" fmla="*/ 373857 h 1762127"/>
                <a:gd name="connsiteX5122" fmla="*/ 4415515 w 9759834"/>
                <a:gd name="connsiteY5122" fmla="*/ 407989 h 1762127"/>
                <a:gd name="connsiteX5123" fmla="*/ 4381383 w 9759834"/>
                <a:gd name="connsiteY5123" fmla="*/ 373857 h 1762127"/>
                <a:gd name="connsiteX5124" fmla="*/ 4415515 w 9759834"/>
                <a:gd name="connsiteY5124" fmla="*/ 339725 h 1762127"/>
                <a:gd name="connsiteX5125" fmla="*/ 4332171 w 9759834"/>
                <a:gd name="connsiteY5125" fmla="*/ 339725 h 1762127"/>
                <a:gd name="connsiteX5126" fmla="*/ 4368684 w 9759834"/>
                <a:gd name="connsiteY5126" fmla="*/ 373857 h 1762127"/>
                <a:gd name="connsiteX5127" fmla="*/ 4332171 w 9759834"/>
                <a:gd name="connsiteY5127" fmla="*/ 407989 h 1762127"/>
                <a:gd name="connsiteX5128" fmla="*/ 4295658 w 9759834"/>
                <a:gd name="connsiteY5128" fmla="*/ 373857 h 1762127"/>
                <a:gd name="connsiteX5129" fmla="*/ 4332171 w 9759834"/>
                <a:gd name="connsiteY5129" fmla="*/ 339725 h 1762127"/>
                <a:gd name="connsiteX5130" fmla="*/ 4248827 w 9759834"/>
                <a:gd name="connsiteY5130" fmla="*/ 339725 h 1762127"/>
                <a:gd name="connsiteX5131" fmla="*/ 4282959 w 9759834"/>
                <a:gd name="connsiteY5131" fmla="*/ 373857 h 1762127"/>
                <a:gd name="connsiteX5132" fmla="*/ 4248827 w 9759834"/>
                <a:gd name="connsiteY5132" fmla="*/ 407989 h 1762127"/>
                <a:gd name="connsiteX5133" fmla="*/ 4214695 w 9759834"/>
                <a:gd name="connsiteY5133" fmla="*/ 373857 h 1762127"/>
                <a:gd name="connsiteX5134" fmla="*/ 4248827 w 9759834"/>
                <a:gd name="connsiteY5134" fmla="*/ 339725 h 1762127"/>
                <a:gd name="connsiteX5135" fmla="*/ 4163895 w 9759834"/>
                <a:gd name="connsiteY5135" fmla="*/ 339725 h 1762127"/>
                <a:gd name="connsiteX5136" fmla="*/ 4198820 w 9759834"/>
                <a:gd name="connsiteY5136" fmla="*/ 373857 h 1762127"/>
                <a:gd name="connsiteX5137" fmla="*/ 4163895 w 9759834"/>
                <a:gd name="connsiteY5137" fmla="*/ 407989 h 1762127"/>
                <a:gd name="connsiteX5138" fmla="*/ 4128970 w 9759834"/>
                <a:gd name="connsiteY5138" fmla="*/ 373857 h 1762127"/>
                <a:gd name="connsiteX5139" fmla="*/ 4163895 w 9759834"/>
                <a:gd name="connsiteY5139" fmla="*/ 339725 h 1762127"/>
                <a:gd name="connsiteX5140" fmla="*/ 4078170 w 9759834"/>
                <a:gd name="connsiteY5140" fmla="*/ 339725 h 1762127"/>
                <a:gd name="connsiteX5141" fmla="*/ 4113095 w 9759834"/>
                <a:gd name="connsiteY5141" fmla="*/ 373857 h 1762127"/>
                <a:gd name="connsiteX5142" fmla="*/ 4078170 w 9759834"/>
                <a:gd name="connsiteY5142" fmla="*/ 407989 h 1762127"/>
                <a:gd name="connsiteX5143" fmla="*/ 4043245 w 9759834"/>
                <a:gd name="connsiteY5143" fmla="*/ 373857 h 1762127"/>
                <a:gd name="connsiteX5144" fmla="*/ 4078170 w 9759834"/>
                <a:gd name="connsiteY5144" fmla="*/ 339725 h 1762127"/>
                <a:gd name="connsiteX5145" fmla="*/ 3993240 w 9759834"/>
                <a:gd name="connsiteY5145" fmla="*/ 339725 h 1762127"/>
                <a:gd name="connsiteX5146" fmla="*/ 4027372 w 9759834"/>
                <a:gd name="connsiteY5146" fmla="*/ 373857 h 1762127"/>
                <a:gd name="connsiteX5147" fmla="*/ 3993240 w 9759834"/>
                <a:gd name="connsiteY5147" fmla="*/ 407989 h 1762127"/>
                <a:gd name="connsiteX5148" fmla="*/ 3959108 w 9759834"/>
                <a:gd name="connsiteY5148" fmla="*/ 373857 h 1762127"/>
                <a:gd name="connsiteX5149" fmla="*/ 3993240 w 9759834"/>
                <a:gd name="connsiteY5149" fmla="*/ 339725 h 1762127"/>
                <a:gd name="connsiteX5150" fmla="*/ 3912277 w 9759834"/>
                <a:gd name="connsiteY5150" fmla="*/ 339725 h 1762127"/>
                <a:gd name="connsiteX5151" fmla="*/ 3946409 w 9759834"/>
                <a:gd name="connsiteY5151" fmla="*/ 373857 h 1762127"/>
                <a:gd name="connsiteX5152" fmla="*/ 3912277 w 9759834"/>
                <a:gd name="connsiteY5152" fmla="*/ 407989 h 1762127"/>
                <a:gd name="connsiteX5153" fmla="*/ 3878145 w 9759834"/>
                <a:gd name="connsiteY5153" fmla="*/ 373857 h 1762127"/>
                <a:gd name="connsiteX5154" fmla="*/ 3912277 w 9759834"/>
                <a:gd name="connsiteY5154" fmla="*/ 339725 h 1762127"/>
                <a:gd name="connsiteX5155" fmla="*/ 3826552 w 9759834"/>
                <a:gd name="connsiteY5155" fmla="*/ 339725 h 1762127"/>
                <a:gd name="connsiteX5156" fmla="*/ 3860684 w 9759834"/>
                <a:gd name="connsiteY5156" fmla="*/ 373857 h 1762127"/>
                <a:gd name="connsiteX5157" fmla="*/ 3826552 w 9759834"/>
                <a:gd name="connsiteY5157" fmla="*/ 407989 h 1762127"/>
                <a:gd name="connsiteX5158" fmla="*/ 3792420 w 9759834"/>
                <a:gd name="connsiteY5158" fmla="*/ 373857 h 1762127"/>
                <a:gd name="connsiteX5159" fmla="*/ 3826552 w 9759834"/>
                <a:gd name="connsiteY5159" fmla="*/ 339725 h 1762127"/>
                <a:gd name="connsiteX5160" fmla="*/ 3741620 w 9759834"/>
                <a:gd name="connsiteY5160" fmla="*/ 339725 h 1762127"/>
                <a:gd name="connsiteX5161" fmla="*/ 3776545 w 9759834"/>
                <a:gd name="connsiteY5161" fmla="*/ 373857 h 1762127"/>
                <a:gd name="connsiteX5162" fmla="*/ 3741620 w 9759834"/>
                <a:gd name="connsiteY5162" fmla="*/ 407989 h 1762127"/>
                <a:gd name="connsiteX5163" fmla="*/ 3706695 w 9759834"/>
                <a:gd name="connsiteY5163" fmla="*/ 373857 h 1762127"/>
                <a:gd name="connsiteX5164" fmla="*/ 3741620 w 9759834"/>
                <a:gd name="connsiteY5164" fmla="*/ 339725 h 1762127"/>
                <a:gd name="connsiteX5165" fmla="*/ 2983590 w 9759834"/>
                <a:gd name="connsiteY5165" fmla="*/ 339725 h 1762127"/>
                <a:gd name="connsiteX5166" fmla="*/ 3017722 w 9759834"/>
                <a:gd name="connsiteY5166" fmla="*/ 373857 h 1762127"/>
                <a:gd name="connsiteX5167" fmla="*/ 2983590 w 9759834"/>
                <a:gd name="connsiteY5167" fmla="*/ 407989 h 1762127"/>
                <a:gd name="connsiteX5168" fmla="*/ 2949458 w 9759834"/>
                <a:gd name="connsiteY5168" fmla="*/ 373857 h 1762127"/>
                <a:gd name="connsiteX5169" fmla="*/ 2983590 w 9759834"/>
                <a:gd name="connsiteY5169" fmla="*/ 339725 h 1762127"/>
                <a:gd name="connsiteX5170" fmla="*/ 2814521 w 9759834"/>
                <a:gd name="connsiteY5170" fmla="*/ 339725 h 1762127"/>
                <a:gd name="connsiteX5171" fmla="*/ 2851034 w 9759834"/>
                <a:gd name="connsiteY5171" fmla="*/ 373857 h 1762127"/>
                <a:gd name="connsiteX5172" fmla="*/ 2814521 w 9759834"/>
                <a:gd name="connsiteY5172" fmla="*/ 407989 h 1762127"/>
                <a:gd name="connsiteX5173" fmla="*/ 2778008 w 9759834"/>
                <a:gd name="connsiteY5173" fmla="*/ 373857 h 1762127"/>
                <a:gd name="connsiteX5174" fmla="*/ 2814521 w 9759834"/>
                <a:gd name="connsiteY5174" fmla="*/ 339725 h 1762127"/>
                <a:gd name="connsiteX5175" fmla="*/ 2646274 w 9759834"/>
                <a:gd name="connsiteY5175" fmla="*/ 339725 h 1762127"/>
                <a:gd name="connsiteX5176" fmla="*/ 2681199 w 9759834"/>
                <a:gd name="connsiteY5176" fmla="*/ 373857 h 1762127"/>
                <a:gd name="connsiteX5177" fmla="*/ 2646274 w 9759834"/>
                <a:gd name="connsiteY5177" fmla="*/ 407989 h 1762127"/>
                <a:gd name="connsiteX5178" fmla="*/ 2611349 w 9759834"/>
                <a:gd name="connsiteY5178" fmla="*/ 373857 h 1762127"/>
                <a:gd name="connsiteX5179" fmla="*/ 2646274 w 9759834"/>
                <a:gd name="connsiteY5179" fmla="*/ 339725 h 1762127"/>
                <a:gd name="connsiteX5180" fmla="*/ 2475754 w 9759834"/>
                <a:gd name="connsiteY5180" fmla="*/ 339725 h 1762127"/>
                <a:gd name="connsiteX5181" fmla="*/ 2509883 w 9759834"/>
                <a:gd name="connsiteY5181" fmla="*/ 373857 h 1762127"/>
                <a:gd name="connsiteX5182" fmla="*/ 2475754 w 9759834"/>
                <a:gd name="connsiteY5182" fmla="*/ 407989 h 1762127"/>
                <a:gd name="connsiteX5183" fmla="*/ 2441619 w 9759834"/>
                <a:gd name="connsiteY5183" fmla="*/ 373857 h 1762127"/>
                <a:gd name="connsiteX5184" fmla="*/ 2475754 w 9759834"/>
                <a:gd name="connsiteY5184" fmla="*/ 339725 h 1762127"/>
                <a:gd name="connsiteX5185" fmla="*/ 2394668 w 9759834"/>
                <a:gd name="connsiteY5185" fmla="*/ 339725 h 1762127"/>
                <a:gd name="connsiteX5186" fmla="*/ 2428802 w 9759834"/>
                <a:gd name="connsiteY5186" fmla="*/ 373857 h 1762127"/>
                <a:gd name="connsiteX5187" fmla="*/ 2394668 w 9759834"/>
                <a:gd name="connsiteY5187" fmla="*/ 407989 h 1762127"/>
                <a:gd name="connsiteX5188" fmla="*/ 2360538 w 9759834"/>
                <a:gd name="connsiteY5188" fmla="*/ 373857 h 1762127"/>
                <a:gd name="connsiteX5189" fmla="*/ 2394668 w 9759834"/>
                <a:gd name="connsiteY5189" fmla="*/ 339725 h 1762127"/>
                <a:gd name="connsiteX5190" fmla="*/ 2309738 w 9759834"/>
                <a:gd name="connsiteY5190" fmla="*/ 339725 h 1762127"/>
                <a:gd name="connsiteX5191" fmla="*/ 2344663 w 9759834"/>
                <a:gd name="connsiteY5191" fmla="*/ 373857 h 1762127"/>
                <a:gd name="connsiteX5192" fmla="*/ 2309738 w 9759834"/>
                <a:gd name="connsiteY5192" fmla="*/ 407989 h 1762127"/>
                <a:gd name="connsiteX5193" fmla="*/ 2274811 w 9759834"/>
                <a:gd name="connsiteY5193" fmla="*/ 373857 h 1762127"/>
                <a:gd name="connsiteX5194" fmla="*/ 2309738 w 9759834"/>
                <a:gd name="connsiteY5194" fmla="*/ 339725 h 1762127"/>
                <a:gd name="connsiteX5195" fmla="*/ 2224806 w 9759834"/>
                <a:gd name="connsiteY5195" fmla="*/ 339725 h 1762127"/>
                <a:gd name="connsiteX5196" fmla="*/ 2258939 w 9759834"/>
                <a:gd name="connsiteY5196" fmla="*/ 373857 h 1762127"/>
                <a:gd name="connsiteX5197" fmla="*/ 2224806 w 9759834"/>
                <a:gd name="connsiteY5197" fmla="*/ 407989 h 1762127"/>
                <a:gd name="connsiteX5198" fmla="*/ 2190673 w 9759834"/>
                <a:gd name="connsiteY5198" fmla="*/ 373857 h 1762127"/>
                <a:gd name="connsiteX5199" fmla="*/ 2224806 w 9759834"/>
                <a:gd name="connsiteY5199" fmla="*/ 339725 h 1762127"/>
                <a:gd name="connsiteX5200" fmla="*/ 1888373 w 9759834"/>
                <a:gd name="connsiteY5200" fmla="*/ 339725 h 1762127"/>
                <a:gd name="connsiteX5201" fmla="*/ 1922503 w 9759834"/>
                <a:gd name="connsiteY5201" fmla="*/ 373857 h 1762127"/>
                <a:gd name="connsiteX5202" fmla="*/ 1888373 w 9759834"/>
                <a:gd name="connsiteY5202" fmla="*/ 407989 h 1762127"/>
                <a:gd name="connsiteX5203" fmla="*/ 1854243 w 9759834"/>
                <a:gd name="connsiteY5203" fmla="*/ 373857 h 1762127"/>
                <a:gd name="connsiteX5204" fmla="*/ 1888373 w 9759834"/>
                <a:gd name="connsiteY5204" fmla="*/ 339725 h 1762127"/>
                <a:gd name="connsiteX5205" fmla="*/ 1802656 w 9759834"/>
                <a:gd name="connsiteY5205" fmla="*/ 339725 h 1762127"/>
                <a:gd name="connsiteX5206" fmla="*/ 1836784 w 9759834"/>
                <a:gd name="connsiteY5206" fmla="*/ 373857 h 1762127"/>
                <a:gd name="connsiteX5207" fmla="*/ 1802656 w 9759834"/>
                <a:gd name="connsiteY5207" fmla="*/ 407989 h 1762127"/>
                <a:gd name="connsiteX5208" fmla="*/ 1768524 w 9759834"/>
                <a:gd name="connsiteY5208" fmla="*/ 373857 h 1762127"/>
                <a:gd name="connsiteX5209" fmla="*/ 1802656 w 9759834"/>
                <a:gd name="connsiteY5209" fmla="*/ 339725 h 1762127"/>
                <a:gd name="connsiteX5210" fmla="*/ 1551838 w 9759834"/>
                <a:gd name="connsiteY5210" fmla="*/ 339725 h 1762127"/>
                <a:gd name="connsiteX5211" fmla="*/ 1585970 w 9759834"/>
                <a:gd name="connsiteY5211" fmla="*/ 373857 h 1762127"/>
                <a:gd name="connsiteX5212" fmla="*/ 1551838 w 9759834"/>
                <a:gd name="connsiteY5212" fmla="*/ 407989 h 1762127"/>
                <a:gd name="connsiteX5213" fmla="*/ 1517707 w 9759834"/>
                <a:gd name="connsiteY5213" fmla="*/ 373857 h 1762127"/>
                <a:gd name="connsiteX5214" fmla="*/ 1551838 w 9759834"/>
                <a:gd name="connsiteY5214" fmla="*/ 339725 h 1762127"/>
                <a:gd name="connsiteX5215" fmla="*/ 1466114 w 9759834"/>
                <a:gd name="connsiteY5215" fmla="*/ 339725 h 1762127"/>
                <a:gd name="connsiteX5216" fmla="*/ 1500247 w 9759834"/>
                <a:gd name="connsiteY5216" fmla="*/ 373857 h 1762127"/>
                <a:gd name="connsiteX5217" fmla="*/ 1466114 w 9759834"/>
                <a:gd name="connsiteY5217" fmla="*/ 407989 h 1762127"/>
                <a:gd name="connsiteX5218" fmla="*/ 1431983 w 9759834"/>
                <a:gd name="connsiteY5218" fmla="*/ 373857 h 1762127"/>
                <a:gd name="connsiteX5219" fmla="*/ 1466114 w 9759834"/>
                <a:gd name="connsiteY5219" fmla="*/ 339725 h 1762127"/>
                <a:gd name="connsiteX5220" fmla="*/ 7620677 w 9759834"/>
                <a:gd name="connsiteY5220" fmla="*/ 258763 h 1762127"/>
                <a:gd name="connsiteX5221" fmla="*/ 7654809 w 9759834"/>
                <a:gd name="connsiteY5221" fmla="*/ 292895 h 1762127"/>
                <a:gd name="connsiteX5222" fmla="*/ 7620677 w 9759834"/>
                <a:gd name="connsiteY5222" fmla="*/ 327027 h 1762127"/>
                <a:gd name="connsiteX5223" fmla="*/ 7586545 w 9759834"/>
                <a:gd name="connsiteY5223" fmla="*/ 292895 h 1762127"/>
                <a:gd name="connsiteX5224" fmla="*/ 7620677 w 9759834"/>
                <a:gd name="connsiteY5224" fmla="*/ 258763 h 1762127"/>
                <a:gd name="connsiteX5225" fmla="*/ 7534952 w 9759834"/>
                <a:gd name="connsiteY5225" fmla="*/ 258763 h 1762127"/>
                <a:gd name="connsiteX5226" fmla="*/ 7569084 w 9759834"/>
                <a:gd name="connsiteY5226" fmla="*/ 292895 h 1762127"/>
                <a:gd name="connsiteX5227" fmla="*/ 7534952 w 9759834"/>
                <a:gd name="connsiteY5227" fmla="*/ 327027 h 1762127"/>
                <a:gd name="connsiteX5228" fmla="*/ 7500820 w 9759834"/>
                <a:gd name="connsiteY5228" fmla="*/ 292895 h 1762127"/>
                <a:gd name="connsiteX5229" fmla="*/ 7534952 w 9759834"/>
                <a:gd name="connsiteY5229" fmla="*/ 258763 h 1762127"/>
                <a:gd name="connsiteX5230" fmla="*/ 7366677 w 9759834"/>
                <a:gd name="connsiteY5230" fmla="*/ 258763 h 1762127"/>
                <a:gd name="connsiteX5231" fmla="*/ 7403984 w 9759834"/>
                <a:gd name="connsiteY5231" fmla="*/ 292895 h 1762127"/>
                <a:gd name="connsiteX5232" fmla="*/ 7366677 w 9759834"/>
                <a:gd name="connsiteY5232" fmla="*/ 327027 h 1762127"/>
                <a:gd name="connsiteX5233" fmla="*/ 7329370 w 9759834"/>
                <a:gd name="connsiteY5233" fmla="*/ 292895 h 1762127"/>
                <a:gd name="connsiteX5234" fmla="*/ 7366677 w 9759834"/>
                <a:gd name="connsiteY5234" fmla="*/ 258763 h 1762127"/>
                <a:gd name="connsiteX5235" fmla="*/ 7284127 w 9759834"/>
                <a:gd name="connsiteY5235" fmla="*/ 258763 h 1762127"/>
                <a:gd name="connsiteX5236" fmla="*/ 7318259 w 9759834"/>
                <a:gd name="connsiteY5236" fmla="*/ 292895 h 1762127"/>
                <a:gd name="connsiteX5237" fmla="*/ 7284127 w 9759834"/>
                <a:gd name="connsiteY5237" fmla="*/ 327027 h 1762127"/>
                <a:gd name="connsiteX5238" fmla="*/ 7249995 w 9759834"/>
                <a:gd name="connsiteY5238" fmla="*/ 292895 h 1762127"/>
                <a:gd name="connsiteX5239" fmla="*/ 7284127 w 9759834"/>
                <a:gd name="connsiteY5239" fmla="*/ 258763 h 1762127"/>
                <a:gd name="connsiteX5240" fmla="*/ 7198402 w 9759834"/>
                <a:gd name="connsiteY5240" fmla="*/ 258763 h 1762127"/>
                <a:gd name="connsiteX5241" fmla="*/ 7232534 w 9759834"/>
                <a:gd name="connsiteY5241" fmla="*/ 292895 h 1762127"/>
                <a:gd name="connsiteX5242" fmla="*/ 7198402 w 9759834"/>
                <a:gd name="connsiteY5242" fmla="*/ 327027 h 1762127"/>
                <a:gd name="connsiteX5243" fmla="*/ 7164270 w 9759834"/>
                <a:gd name="connsiteY5243" fmla="*/ 292895 h 1762127"/>
                <a:gd name="connsiteX5244" fmla="*/ 7198402 w 9759834"/>
                <a:gd name="connsiteY5244" fmla="*/ 258763 h 1762127"/>
                <a:gd name="connsiteX5245" fmla="*/ 7112677 w 9759834"/>
                <a:gd name="connsiteY5245" fmla="*/ 258763 h 1762127"/>
                <a:gd name="connsiteX5246" fmla="*/ 7146809 w 9759834"/>
                <a:gd name="connsiteY5246" fmla="*/ 292895 h 1762127"/>
                <a:gd name="connsiteX5247" fmla="*/ 7112677 w 9759834"/>
                <a:gd name="connsiteY5247" fmla="*/ 327027 h 1762127"/>
                <a:gd name="connsiteX5248" fmla="*/ 7078545 w 9759834"/>
                <a:gd name="connsiteY5248" fmla="*/ 292895 h 1762127"/>
                <a:gd name="connsiteX5249" fmla="*/ 7112677 w 9759834"/>
                <a:gd name="connsiteY5249" fmla="*/ 258763 h 1762127"/>
                <a:gd name="connsiteX5250" fmla="*/ 7027745 w 9759834"/>
                <a:gd name="connsiteY5250" fmla="*/ 258763 h 1762127"/>
                <a:gd name="connsiteX5251" fmla="*/ 7062670 w 9759834"/>
                <a:gd name="connsiteY5251" fmla="*/ 292895 h 1762127"/>
                <a:gd name="connsiteX5252" fmla="*/ 7027745 w 9759834"/>
                <a:gd name="connsiteY5252" fmla="*/ 327027 h 1762127"/>
                <a:gd name="connsiteX5253" fmla="*/ 6992820 w 9759834"/>
                <a:gd name="connsiteY5253" fmla="*/ 292895 h 1762127"/>
                <a:gd name="connsiteX5254" fmla="*/ 7027745 w 9759834"/>
                <a:gd name="connsiteY5254" fmla="*/ 258763 h 1762127"/>
                <a:gd name="connsiteX5255" fmla="*/ 6353852 w 9759834"/>
                <a:gd name="connsiteY5255" fmla="*/ 258763 h 1762127"/>
                <a:gd name="connsiteX5256" fmla="*/ 6387984 w 9759834"/>
                <a:gd name="connsiteY5256" fmla="*/ 292895 h 1762127"/>
                <a:gd name="connsiteX5257" fmla="*/ 6353852 w 9759834"/>
                <a:gd name="connsiteY5257" fmla="*/ 327027 h 1762127"/>
                <a:gd name="connsiteX5258" fmla="*/ 6319720 w 9759834"/>
                <a:gd name="connsiteY5258" fmla="*/ 292895 h 1762127"/>
                <a:gd name="connsiteX5259" fmla="*/ 6353852 w 9759834"/>
                <a:gd name="connsiteY5259" fmla="*/ 258763 h 1762127"/>
                <a:gd name="connsiteX5260" fmla="*/ 5344202 w 9759834"/>
                <a:gd name="connsiteY5260" fmla="*/ 258763 h 1762127"/>
                <a:gd name="connsiteX5261" fmla="*/ 5378334 w 9759834"/>
                <a:gd name="connsiteY5261" fmla="*/ 292895 h 1762127"/>
                <a:gd name="connsiteX5262" fmla="*/ 5344202 w 9759834"/>
                <a:gd name="connsiteY5262" fmla="*/ 327027 h 1762127"/>
                <a:gd name="connsiteX5263" fmla="*/ 5310070 w 9759834"/>
                <a:gd name="connsiteY5263" fmla="*/ 292895 h 1762127"/>
                <a:gd name="connsiteX5264" fmla="*/ 5344202 w 9759834"/>
                <a:gd name="connsiteY5264" fmla="*/ 258763 h 1762127"/>
                <a:gd name="connsiteX5265" fmla="*/ 4500445 w 9759834"/>
                <a:gd name="connsiteY5265" fmla="*/ 258763 h 1762127"/>
                <a:gd name="connsiteX5266" fmla="*/ 4535370 w 9759834"/>
                <a:gd name="connsiteY5266" fmla="*/ 292895 h 1762127"/>
                <a:gd name="connsiteX5267" fmla="*/ 4500445 w 9759834"/>
                <a:gd name="connsiteY5267" fmla="*/ 327027 h 1762127"/>
                <a:gd name="connsiteX5268" fmla="*/ 4465520 w 9759834"/>
                <a:gd name="connsiteY5268" fmla="*/ 292895 h 1762127"/>
                <a:gd name="connsiteX5269" fmla="*/ 4500445 w 9759834"/>
                <a:gd name="connsiteY5269" fmla="*/ 258763 h 1762127"/>
                <a:gd name="connsiteX5270" fmla="*/ 4415515 w 9759834"/>
                <a:gd name="connsiteY5270" fmla="*/ 258763 h 1762127"/>
                <a:gd name="connsiteX5271" fmla="*/ 4449647 w 9759834"/>
                <a:gd name="connsiteY5271" fmla="*/ 292895 h 1762127"/>
                <a:gd name="connsiteX5272" fmla="*/ 4415515 w 9759834"/>
                <a:gd name="connsiteY5272" fmla="*/ 327027 h 1762127"/>
                <a:gd name="connsiteX5273" fmla="*/ 4381383 w 9759834"/>
                <a:gd name="connsiteY5273" fmla="*/ 292895 h 1762127"/>
                <a:gd name="connsiteX5274" fmla="*/ 4415515 w 9759834"/>
                <a:gd name="connsiteY5274" fmla="*/ 258763 h 1762127"/>
                <a:gd name="connsiteX5275" fmla="*/ 4332171 w 9759834"/>
                <a:gd name="connsiteY5275" fmla="*/ 258763 h 1762127"/>
                <a:gd name="connsiteX5276" fmla="*/ 4368684 w 9759834"/>
                <a:gd name="connsiteY5276" fmla="*/ 292895 h 1762127"/>
                <a:gd name="connsiteX5277" fmla="*/ 4332171 w 9759834"/>
                <a:gd name="connsiteY5277" fmla="*/ 327027 h 1762127"/>
                <a:gd name="connsiteX5278" fmla="*/ 4295658 w 9759834"/>
                <a:gd name="connsiteY5278" fmla="*/ 292895 h 1762127"/>
                <a:gd name="connsiteX5279" fmla="*/ 4332171 w 9759834"/>
                <a:gd name="connsiteY5279" fmla="*/ 258763 h 1762127"/>
                <a:gd name="connsiteX5280" fmla="*/ 4248827 w 9759834"/>
                <a:gd name="connsiteY5280" fmla="*/ 258763 h 1762127"/>
                <a:gd name="connsiteX5281" fmla="*/ 4282959 w 9759834"/>
                <a:gd name="connsiteY5281" fmla="*/ 292895 h 1762127"/>
                <a:gd name="connsiteX5282" fmla="*/ 4248827 w 9759834"/>
                <a:gd name="connsiteY5282" fmla="*/ 327027 h 1762127"/>
                <a:gd name="connsiteX5283" fmla="*/ 4214695 w 9759834"/>
                <a:gd name="connsiteY5283" fmla="*/ 292895 h 1762127"/>
                <a:gd name="connsiteX5284" fmla="*/ 4248827 w 9759834"/>
                <a:gd name="connsiteY5284" fmla="*/ 258763 h 1762127"/>
                <a:gd name="connsiteX5285" fmla="*/ 4163895 w 9759834"/>
                <a:gd name="connsiteY5285" fmla="*/ 258763 h 1762127"/>
                <a:gd name="connsiteX5286" fmla="*/ 4198820 w 9759834"/>
                <a:gd name="connsiteY5286" fmla="*/ 292895 h 1762127"/>
                <a:gd name="connsiteX5287" fmla="*/ 4163895 w 9759834"/>
                <a:gd name="connsiteY5287" fmla="*/ 327027 h 1762127"/>
                <a:gd name="connsiteX5288" fmla="*/ 4128970 w 9759834"/>
                <a:gd name="connsiteY5288" fmla="*/ 292895 h 1762127"/>
                <a:gd name="connsiteX5289" fmla="*/ 4163895 w 9759834"/>
                <a:gd name="connsiteY5289" fmla="*/ 258763 h 1762127"/>
                <a:gd name="connsiteX5290" fmla="*/ 4078170 w 9759834"/>
                <a:gd name="connsiteY5290" fmla="*/ 258763 h 1762127"/>
                <a:gd name="connsiteX5291" fmla="*/ 4113095 w 9759834"/>
                <a:gd name="connsiteY5291" fmla="*/ 292895 h 1762127"/>
                <a:gd name="connsiteX5292" fmla="*/ 4078170 w 9759834"/>
                <a:gd name="connsiteY5292" fmla="*/ 327027 h 1762127"/>
                <a:gd name="connsiteX5293" fmla="*/ 4043245 w 9759834"/>
                <a:gd name="connsiteY5293" fmla="*/ 292895 h 1762127"/>
                <a:gd name="connsiteX5294" fmla="*/ 4078170 w 9759834"/>
                <a:gd name="connsiteY5294" fmla="*/ 258763 h 1762127"/>
                <a:gd name="connsiteX5295" fmla="*/ 3993240 w 9759834"/>
                <a:gd name="connsiteY5295" fmla="*/ 258763 h 1762127"/>
                <a:gd name="connsiteX5296" fmla="*/ 4027372 w 9759834"/>
                <a:gd name="connsiteY5296" fmla="*/ 292895 h 1762127"/>
                <a:gd name="connsiteX5297" fmla="*/ 3993240 w 9759834"/>
                <a:gd name="connsiteY5297" fmla="*/ 327027 h 1762127"/>
                <a:gd name="connsiteX5298" fmla="*/ 3959108 w 9759834"/>
                <a:gd name="connsiteY5298" fmla="*/ 292895 h 1762127"/>
                <a:gd name="connsiteX5299" fmla="*/ 3993240 w 9759834"/>
                <a:gd name="connsiteY5299" fmla="*/ 258763 h 1762127"/>
                <a:gd name="connsiteX5300" fmla="*/ 3912277 w 9759834"/>
                <a:gd name="connsiteY5300" fmla="*/ 258763 h 1762127"/>
                <a:gd name="connsiteX5301" fmla="*/ 3946409 w 9759834"/>
                <a:gd name="connsiteY5301" fmla="*/ 292895 h 1762127"/>
                <a:gd name="connsiteX5302" fmla="*/ 3912277 w 9759834"/>
                <a:gd name="connsiteY5302" fmla="*/ 327027 h 1762127"/>
                <a:gd name="connsiteX5303" fmla="*/ 3878145 w 9759834"/>
                <a:gd name="connsiteY5303" fmla="*/ 292895 h 1762127"/>
                <a:gd name="connsiteX5304" fmla="*/ 3912277 w 9759834"/>
                <a:gd name="connsiteY5304" fmla="*/ 258763 h 1762127"/>
                <a:gd name="connsiteX5305" fmla="*/ 3826552 w 9759834"/>
                <a:gd name="connsiteY5305" fmla="*/ 258763 h 1762127"/>
                <a:gd name="connsiteX5306" fmla="*/ 3860684 w 9759834"/>
                <a:gd name="connsiteY5306" fmla="*/ 292895 h 1762127"/>
                <a:gd name="connsiteX5307" fmla="*/ 3826552 w 9759834"/>
                <a:gd name="connsiteY5307" fmla="*/ 327027 h 1762127"/>
                <a:gd name="connsiteX5308" fmla="*/ 3792420 w 9759834"/>
                <a:gd name="connsiteY5308" fmla="*/ 292895 h 1762127"/>
                <a:gd name="connsiteX5309" fmla="*/ 3826552 w 9759834"/>
                <a:gd name="connsiteY5309" fmla="*/ 258763 h 1762127"/>
                <a:gd name="connsiteX5310" fmla="*/ 3741620 w 9759834"/>
                <a:gd name="connsiteY5310" fmla="*/ 258763 h 1762127"/>
                <a:gd name="connsiteX5311" fmla="*/ 3776545 w 9759834"/>
                <a:gd name="connsiteY5311" fmla="*/ 292895 h 1762127"/>
                <a:gd name="connsiteX5312" fmla="*/ 3741620 w 9759834"/>
                <a:gd name="connsiteY5312" fmla="*/ 327027 h 1762127"/>
                <a:gd name="connsiteX5313" fmla="*/ 3706695 w 9759834"/>
                <a:gd name="connsiteY5313" fmla="*/ 292895 h 1762127"/>
                <a:gd name="connsiteX5314" fmla="*/ 3741620 w 9759834"/>
                <a:gd name="connsiteY5314" fmla="*/ 258763 h 1762127"/>
                <a:gd name="connsiteX5315" fmla="*/ 3153452 w 9759834"/>
                <a:gd name="connsiteY5315" fmla="*/ 258763 h 1762127"/>
                <a:gd name="connsiteX5316" fmla="*/ 3187584 w 9759834"/>
                <a:gd name="connsiteY5316" fmla="*/ 292895 h 1762127"/>
                <a:gd name="connsiteX5317" fmla="*/ 3153452 w 9759834"/>
                <a:gd name="connsiteY5317" fmla="*/ 327027 h 1762127"/>
                <a:gd name="connsiteX5318" fmla="*/ 3119320 w 9759834"/>
                <a:gd name="connsiteY5318" fmla="*/ 292895 h 1762127"/>
                <a:gd name="connsiteX5319" fmla="*/ 3153452 w 9759834"/>
                <a:gd name="connsiteY5319" fmla="*/ 258763 h 1762127"/>
                <a:gd name="connsiteX5320" fmla="*/ 2897865 w 9759834"/>
                <a:gd name="connsiteY5320" fmla="*/ 258763 h 1762127"/>
                <a:gd name="connsiteX5321" fmla="*/ 2931997 w 9759834"/>
                <a:gd name="connsiteY5321" fmla="*/ 292895 h 1762127"/>
                <a:gd name="connsiteX5322" fmla="*/ 2897865 w 9759834"/>
                <a:gd name="connsiteY5322" fmla="*/ 327027 h 1762127"/>
                <a:gd name="connsiteX5323" fmla="*/ 2863733 w 9759834"/>
                <a:gd name="connsiteY5323" fmla="*/ 292895 h 1762127"/>
                <a:gd name="connsiteX5324" fmla="*/ 2897865 w 9759834"/>
                <a:gd name="connsiteY5324" fmla="*/ 258763 h 1762127"/>
                <a:gd name="connsiteX5325" fmla="*/ 2731999 w 9759834"/>
                <a:gd name="connsiteY5325" fmla="*/ 258763 h 1762127"/>
                <a:gd name="connsiteX5326" fmla="*/ 2766923 w 9759834"/>
                <a:gd name="connsiteY5326" fmla="*/ 292895 h 1762127"/>
                <a:gd name="connsiteX5327" fmla="*/ 2731999 w 9759834"/>
                <a:gd name="connsiteY5327" fmla="*/ 327027 h 1762127"/>
                <a:gd name="connsiteX5328" fmla="*/ 2697074 w 9759834"/>
                <a:gd name="connsiteY5328" fmla="*/ 292895 h 1762127"/>
                <a:gd name="connsiteX5329" fmla="*/ 2731999 w 9759834"/>
                <a:gd name="connsiteY5329" fmla="*/ 258763 h 1762127"/>
                <a:gd name="connsiteX5330" fmla="*/ 2561479 w 9759834"/>
                <a:gd name="connsiteY5330" fmla="*/ 258763 h 1762127"/>
                <a:gd name="connsiteX5331" fmla="*/ 2595609 w 9759834"/>
                <a:gd name="connsiteY5331" fmla="*/ 292895 h 1762127"/>
                <a:gd name="connsiteX5332" fmla="*/ 2561479 w 9759834"/>
                <a:gd name="connsiteY5332" fmla="*/ 327027 h 1762127"/>
                <a:gd name="connsiteX5333" fmla="*/ 2527342 w 9759834"/>
                <a:gd name="connsiteY5333" fmla="*/ 292895 h 1762127"/>
                <a:gd name="connsiteX5334" fmla="*/ 2561479 w 9759834"/>
                <a:gd name="connsiteY5334" fmla="*/ 258763 h 1762127"/>
                <a:gd name="connsiteX5335" fmla="*/ 2309735 w 9759834"/>
                <a:gd name="connsiteY5335" fmla="*/ 258763 h 1762127"/>
                <a:gd name="connsiteX5336" fmla="*/ 2344661 w 9759834"/>
                <a:gd name="connsiteY5336" fmla="*/ 292895 h 1762127"/>
                <a:gd name="connsiteX5337" fmla="*/ 2309735 w 9759834"/>
                <a:gd name="connsiteY5337" fmla="*/ 327027 h 1762127"/>
                <a:gd name="connsiteX5338" fmla="*/ 2274810 w 9759834"/>
                <a:gd name="connsiteY5338" fmla="*/ 292895 h 1762127"/>
                <a:gd name="connsiteX5339" fmla="*/ 2309735 w 9759834"/>
                <a:gd name="connsiteY5339" fmla="*/ 258763 h 1762127"/>
                <a:gd name="connsiteX5340" fmla="*/ 2224806 w 9759834"/>
                <a:gd name="connsiteY5340" fmla="*/ 258763 h 1762127"/>
                <a:gd name="connsiteX5341" fmla="*/ 2258937 w 9759834"/>
                <a:gd name="connsiteY5341" fmla="*/ 292895 h 1762127"/>
                <a:gd name="connsiteX5342" fmla="*/ 2224806 w 9759834"/>
                <a:gd name="connsiteY5342" fmla="*/ 327027 h 1762127"/>
                <a:gd name="connsiteX5343" fmla="*/ 2190673 w 9759834"/>
                <a:gd name="connsiteY5343" fmla="*/ 292895 h 1762127"/>
                <a:gd name="connsiteX5344" fmla="*/ 2224806 w 9759834"/>
                <a:gd name="connsiteY5344" fmla="*/ 258763 h 1762127"/>
                <a:gd name="connsiteX5345" fmla="*/ 2055738 w 9759834"/>
                <a:gd name="connsiteY5345" fmla="*/ 258763 h 1762127"/>
                <a:gd name="connsiteX5346" fmla="*/ 2092252 w 9759834"/>
                <a:gd name="connsiteY5346" fmla="*/ 292895 h 1762127"/>
                <a:gd name="connsiteX5347" fmla="*/ 2055738 w 9759834"/>
                <a:gd name="connsiteY5347" fmla="*/ 327027 h 1762127"/>
                <a:gd name="connsiteX5348" fmla="*/ 2019226 w 9759834"/>
                <a:gd name="connsiteY5348" fmla="*/ 292895 h 1762127"/>
                <a:gd name="connsiteX5349" fmla="*/ 2055738 w 9759834"/>
                <a:gd name="connsiteY5349" fmla="*/ 258763 h 1762127"/>
                <a:gd name="connsiteX5350" fmla="*/ 7198402 w 9759834"/>
                <a:gd name="connsiteY5350" fmla="*/ 173038 h 1762127"/>
                <a:gd name="connsiteX5351" fmla="*/ 7232534 w 9759834"/>
                <a:gd name="connsiteY5351" fmla="*/ 207170 h 1762127"/>
                <a:gd name="connsiteX5352" fmla="*/ 7198402 w 9759834"/>
                <a:gd name="connsiteY5352" fmla="*/ 241302 h 1762127"/>
                <a:gd name="connsiteX5353" fmla="*/ 7164270 w 9759834"/>
                <a:gd name="connsiteY5353" fmla="*/ 207170 h 1762127"/>
                <a:gd name="connsiteX5354" fmla="*/ 7198402 w 9759834"/>
                <a:gd name="connsiteY5354" fmla="*/ 173038 h 1762127"/>
                <a:gd name="connsiteX5355" fmla="*/ 7112677 w 9759834"/>
                <a:gd name="connsiteY5355" fmla="*/ 173038 h 1762127"/>
                <a:gd name="connsiteX5356" fmla="*/ 7146809 w 9759834"/>
                <a:gd name="connsiteY5356" fmla="*/ 207170 h 1762127"/>
                <a:gd name="connsiteX5357" fmla="*/ 7112677 w 9759834"/>
                <a:gd name="connsiteY5357" fmla="*/ 241302 h 1762127"/>
                <a:gd name="connsiteX5358" fmla="*/ 7078545 w 9759834"/>
                <a:gd name="connsiteY5358" fmla="*/ 207170 h 1762127"/>
                <a:gd name="connsiteX5359" fmla="*/ 7112677 w 9759834"/>
                <a:gd name="connsiteY5359" fmla="*/ 173038 h 1762127"/>
                <a:gd name="connsiteX5360" fmla="*/ 7027745 w 9759834"/>
                <a:gd name="connsiteY5360" fmla="*/ 173038 h 1762127"/>
                <a:gd name="connsiteX5361" fmla="*/ 7062670 w 9759834"/>
                <a:gd name="connsiteY5361" fmla="*/ 207170 h 1762127"/>
                <a:gd name="connsiteX5362" fmla="*/ 7027745 w 9759834"/>
                <a:gd name="connsiteY5362" fmla="*/ 241302 h 1762127"/>
                <a:gd name="connsiteX5363" fmla="*/ 6992820 w 9759834"/>
                <a:gd name="connsiteY5363" fmla="*/ 207170 h 1762127"/>
                <a:gd name="connsiteX5364" fmla="*/ 7027745 w 9759834"/>
                <a:gd name="connsiteY5364" fmla="*/ 173038 h 1762127"/>
                <a:gd name="connsiteX5365" fmla="*/ 6439577 w 9759834"/>
                <a:gd name="connsiteY5365" fmla="*/ 173038 h 1762127"/>
                <a:gd name="connsiteX5366" fmla="*/ 6473709 w 9759834"/>
                <a:gd name="connsiteY5366" fmla="*/ 207170 h 1762127"/>
                <a:gd name="connsiteX5367" fmla="*/ 6439577 w 9759834"/>
                <a:gd name="connsiteY5367" fmla="*/ 241302 h 1762127"/>
                <a:gd name="connsiteX5368" fmla="*/ 6405445 w 9759834"/>
                <a:gd name="connsiteY5368" fmla="*/ 207170 h 1762127"/>
                <a:gd name="connsiteX5369" fmla="*/ 6439577 w 9759834"/>
                <a:gd name="connsiteY5369" fmla="*/ 173038 h 1762127"/>
                <a:gd name="connsiteX5370" fmla="*/ 5429927 w 9759834"/>
                <a:gd name="connsiteY5370" fmla="*/ 173038 h 1762127"/>
                <a:gd name="connsiteX5371" fmla="*/ 5464059 w 9759834"/>
                <a:gd name="connsiteY5371" fmla="*/ 207170 h 1762127"/>
                <a:gd name="connsiteX5372" fmla="*/ 5429927 w 9759834"/>
                <a:gd name="connsiteY5372" fmla="*/ 241302 h 1762127"/>
                <a:gd name="connsiteX5373" fmla="*/ 5395795 w 9759834"/>
                <a:gd name="connsiteY5373" fmla="*/ 207170 h 1762127"/>
                <a:gd name="connsiteX5374" fmla="*/ 5429927 w 9759834"/>
                <a:gd name="connsiteY5374" fmla="*/ 173038 h 1762127"/>
                <a:gd name="connsiteX5375" fmla="*/ 5344202 w 9759834"/>
                <a:gd name="connsiteY5375" fmla="*/ 173038 h 1762127"/>
                <a:gd name="connsiteX5376" fmla="*/ 5378334 w 9759834"/>
                <a:gd name="connsiteY5376" fmla="*/ 207170 h 1762127"/>
                <a:gd name="connsiteX5377" fmla="*/ 5344202 w 9759834"/>
                <a:gd name="connsiteY5377" fmla="*/ 241302 h 1762127"/>
                <a:gd name="connsiteX5378" fmla="*/ 5310070 w 9759834"/>
                <a:gd name="connsiteY5378" fmla="*/ 207170 h 1762127"/>
                <a:gd name="connsiteX5379" fmla="*/ 5344202 w 9759834"/>
                <a:gd name="connsiteY5379" fmla="*/ 173038 h 1762127"/>
                <a:gd name="connsiteX5380" fmla="*/ 4500445 w 9759834"/>
                <a:gd name="connsiteY5380" fmla="*/ 173038 h 1762127"/>
                <a:gd name="connsiteX5381" fmla="*/ 4535370 w 9759834"/>
                <a:gd name="connsiteY5381" fmla="*/ 207170 h 1762127"/>
                <a:gd name="connsiteX5382" fmla="*/ 4500445 w 9759834"/>
                <a:gd name="connsiteY5382" fmla="*/ 241302 h 1762127"/>
                <a:gd name="connsiteX5383" fmla="*/ 4465520 w 9759834"/>
                <a:gd name="connsiteY5383" fmla="*/ 207170 h 1762127"/>
                <a:gd name="connsiteX5384" fmla="*/ 4500445 w 9759834"/>
                <a:gd name="connsiteY5384" fmla="*/ 173038 h 1762127"/>
                <a:gd name="connsiteX5385" fmla="*/ 4415515 w 9759834"/>
                <a:gd name="connsiteY5385" fmla="*/ 173038 h 1762127"/>
                <a:gd name="connsiteX5386" fmla="*/ 4449647 w 9759834"/>
                <a:gd name="connsiteY5386" fmla="*/ 207170 h 1762127"/>
                <a:gd name="connsiteX5387" fmla="*/ 4415515 w 9759834"/>
                <a:gd name="connsiteY5387" fmla="*/ 241302 h 1762127"/>
                <a:gd name="connsiteX5388" fmla="*/ 4381383 w 9759834"/>
                <a:gd name="connsiteY5388" fmla="*/ 207170 h 1762127"/>
                <a:gd name="connsiteX5389" fmla="*/ 4415515 w 9759834"/>
                <a:gd name="connsiteY5389" fmla="*/ 173038 h 1762127"/>
                <a:gd name="connsiteX5390" fmla="*/ 4332171 w 9759834"/>
                <a:gd name="connsiteY5390" fmla="*/ 173038 h 1762127"/>
                <a:gd name="connsiteX5391" fmla="*/ 4368684 w 9759834"/>
                <a:gd name="connsiteY5391" fmla="*/ 207170 h 1762127"/>
                <a:gd name="connsiteX5392" fmla="*/ 4332171 w 9759834"/>
                <a:gd name="connsiteY5392" fmla="*/ 241302 h 1762127"/>
                <a:gd name="connsiteX5393" fmla="*/ 4295658 w 9759834"/>
                <a:gd name="connsiteY5393" fmla="*/ 207170 h 1762127"/>
                <a:gd name="connsiteX5394" fmla="*/ 4332171 w 9759834"/>
                <a:gd name="connsiteY5394" fmla="*/ 173038 h 1762127"/>
                <a:gd name="connsiteX5395" fmla="*/ 4248827 w 9759834"/>
                <a:gd name="connsiteY5395" fmla="*/ 173038 h 1762127"/>
                <a:gd name="connsiteX5396" fmla="*/ 4282959 w 9759834"/>
                <a:gd name="connsiteY5396" fmla="*/ 207170 h 1762127"/>
                <a:gd name="connsiteX5397" fmla="*/ 4248827 w 9759834"/>
                <a:gd name="connsiteY5397" fmla="*/ 241302 h 1762127"/>
                <a:gd name="connsiteX5398" fmla="*/ 4214695 w 9759834"/>
                <a:gd name="connsiteY5398" fmla="*/ 207170 h 1762127"/>
                <a:gd name="connsiteX5399" fmla="*/ 4248827 w 9759834"/>
                <a:gd name="connsiteY5399" fmla="*/ 173038 h 1762127"/>
                <a:gd name="connsiteX5400" fmla="*/ 4163895 w 9759834"/>
                <a:gd name="connsiteY5400" fmla="*/ 173038 h 1762127"/>
                <a:gd name="connsiteX5401" fmla="*/ 4198820 w 9759834"/>
                <a:gd name="connsiteY5401" fmla="*/ 207170 h 1762127"/>
                <a:gd name="connsiteX5402" fmla="*/ 4163895 w 9759834"/>
                <a:gd name="connsiteY5402" fmla="*/ 241302 h 1762127"/>
                <a:gd name="connsiteX5403" fmla="*/ 4128970 w 9759834"/>
                <a:gd name="connsiteY5403" fmla="*/ 207170 h 1762127"/>
                <a:gd name="connsiteX5404" fmla="*/ 4163895 w 9759834"/>
                <a:gd name="connsiteY5404" fmla="*/ 173038 h 1762127"/>
                <a:gd name="connsiteX5405" fmla="*/ 4078170 w 9759834"/>
                <a:gd name="connsiteY5405" fmla="*/ 173038 h 1762127"/>
                <a:gd name="connsiteX5406" fmla="*/ 4113095 w 9759834"/>
                <a:gd name="connsiteY5406" fmla="*/ 207170 h 1762127"/>
                <a:gd name="connsiteX5407" fmla="*/ 4078170 w 9759834"/>
                <a:gd name="connsiteY5407" fmla="*/ 241302 h 1762127"/>
                <a:gd name="connsiteX5408" fmla="*/ 4043245 w 9759834"/>
                <a:gd name="connsiteY5408" fmla="*/ 207170 h 1762127"/>
                <a:gd name="connsiteX5409" fmla="*/ 4078170 w 9759834"/>
                <a:gd name="connsiteY5409" fmla="*/ 173038 h 1762127"/>
                <a:gd name="connsiteX5410" fmla="*/ 3993240 w 9759834"/>
                <a:gd name="connsiteY5410" fmla="*/ 173038 h 1762127"/>
                <a:gd name="connsiteX5411" fmla="*/ 4027372 w 9759834"/>
                <a:gd name="connsiteY5411" fmla="*/ 207170 h 1762127"/>
                <a:gd name="connsiteX5412" fmla="*/ 3993240 w 9759834"/>
                <a:gd name="connsiteY5412" fmla="*/ 241302 h 1762127"/>
                <a:gd name="connsiteX5413" fmla="*/ 3959108 w 9759834"/>
                <a:gd name="connsiteY5413" fmla="*/ 207170 h 1762127"/>
                <a:gd name="connsiteX5414" fmla="*/ 3993240 w 9759834"/>
                <a:gd name="connsiteY5414" fmla="*/ 173038 h 1762127"/>
                <a:gd name="connsiteX5415" fmla="*/ 3912277 w 9759834"/>
                <a:gd name="connsiteY5415" fmla="*/ 173038 h 1762127"/>
                <a:gd name="connsiteX5416" fmla="*/ 3946409 w 9759834"/>
                <a:gd name="connsiteY5416" fmla="*/ 207170 h 1762127"/>
                <a:gd name="connsiteX5417" fmla="*/ 3912277 w 9759834"/>
                <a:gd name="connsiteY5417" fmla="*/ 241302 h 1762127"/>
                <a:gd name="connsiteX5418" fmla="*/ 3878145 w 9759834"/>
                <a:gd name="connsiteY5418" fmla="*/ 207170 h 1762127"/>
                <a:gd name="connsiteX5419" fmla="*/ 3912277 w 9759834"/>
                <a:gd name="connsiteY5419" fmla="*/ 173038 h 1762127"/>
                <a:gd name="connsiteX5420" fmla="*/ 3826552 w 9759834"/>
                <a:gd name="connsiteY5420" fmla="*/ 173038 h 1762127"/>
                <a:gd name="connsiteX5421" fmla="*/ 3860684 w 9759834"/>
                <a:gd name="connsiteY5421" fmla="*/ 207170 h 1762127"/>
                <a:gd name="connsiteX5422" fmla="*/ 3826552 w 9759834"/>
                <a:gd name="connsiteY5422" fmla="*/ 241302 h 1762127"/>
                <a:gd name="connsiteX5423" fmla="*/ 3792420 w 9759834"/>
                <a:gd name="connsiteY5423" fmla="*/ 207170 h 1762127"/>
                <a:gd name="connsiteX5424" fmla="*/ 3826552 w 9759834"/>
                <a:gd name="connsiteY5424" fmla="*/ 173038 h 1762127"/>
                <a:gd name="connsiteX5425" fmla="*/ 3741620 w 9759834"/>
                <a:gd name="connsiteY5425" fmla="*/ 173038 h 1762127"/>
                <a:gd name="connsiteX5426" fmla="*/ 3776545 w 9759834"/>
                <a:gd name="connsiteY5426" fmla="*/ 207170 h 1762127"/>
                <a:gd name="connsiteX5427" fmla="*/ 3741620 w 9759834"/>
                <a:gd name="connsiteY5427" fmla="*/ 241302 h 1762127"/>
                <a:gd name="connsiteX5428" fmla="*/ 3706695 w 9759834"/>
                <a:gd name="connsiteY5428" fmla="*/ 207170 h 1762127"/>
                <a:gd name="connsiteX5429" fmla="*/ 3741620 w 9759834"/>
                <a:gd name="connsiteY5429" fmla="*/ 173038 h 1762127"/>
                <a:gd name="connsiteX5430" fmla="*/ 3656689 w 9759834"/>
                <a:gd name="connsiteY5430" fmla="*/ 173038 h 1762127"/>
                <a:gd name="connsiteX5431" fmla="*/ 3690821 w 9759834"/>
                <a:gd name="connsiteY5431" fmla="*/ 207170 h 1762127"/>
                <a:gd name="connsiteX5432" fmla="*/ 3656689 w 9759834"/>
                <a:gd name="connsiteY5432" fmla="*/ 241302 h 1762127"/>
                <a:gd name="connsiteX5433" fmla="*/ 3622557 w 9759834"/>
                <a:gd name="connsiteY5433" fmla="*/ 207170 h 1762127"/>
                <a:gd name="connsiteX5434" fmla="*/ 3656689 w 9759834"/>
                <a:gd name="connsiteY5434" fmla="*/ 173038 h 1762127"/>
                <a:gd name="connsiteX5435" fmla="*/ 3573346 w 9759834"/>
                <a:gd name="connsiteY5435" fmla="*/ 173038 h 1762127"/>
                <a:gd name="connsiteX5436" fmla="*/ 3609859 w 9759834"/>
                <a:gd name="connsiteY5436" fmla="*/ 207170 h 1762127"/>
                <a:gd name="connsiteX5437" fmla="*/ 3573346 w 9759834"/>
                <a:gd name="connsiteY5437" fmla="*/ 241302 h 1762127"/>
                <a:gd name="connsiteX5438" fmla="*/ 3536833 w 9759834"/>
                <a:gd name="connsiteY5438" fmla="*/ 207170 h 1762127"/>
                <a:gd name="connsiteX5439" fmla="*/ 3573346 w 9759834"/>
                <a:gd name="connsiteY5439" fmla="*/ 173038 h 1762127"/>
                <a:gd name="connsiteX5440" fmla="*/ 3490002 w 9759834"/>
                <a:gd name="connsiteY5440" fmla="*/ 173038 h 1762127"/>
                <a:gd name="connsiteX5441" fmla="*/ 3524134 w 9759834"/>
                <a:gd name="connsiteY5441" fmla="*/ 207170 h 1762127"/>
                <a:gd name="connsiteX5442" fmla="*/ 3490002 w 9759834"/>
                <a:gd name="connsiteY5442" fmla="*/ 241302 h 1762127"/>
                <a:gd name="connsiteX5443" fmla="*/ 3455870 w 9759834"/>
                <a:gd name="connsiteY5443" fmla="*/ 207170 h 1762127"/>
                <a:gd name="connsiteX5444" fmla="*/ 3490002 w 9759834"/>
                <a:gd name="connsiteY5444" fmla="*/ 173038 h 1762127"/>
                <a:gd name="connsiteX5445" fmla="*/ 3153452 w 9759834"/>
                <a:gd name="connsiteY5445" fmla="*/ 173038 h 1762127"/>
                <a:gd name="connsiteX5446" fmla="*/ 3187584 w 9759834"/>
                <a:gd name="connsiteY5446" fmla="*/ 207170 h 1762127"/>
                <a:gd name="connsiteX5447" fmla="*/ 3153452 w 9759834"/>
                <a:gd name="connsiteY5447" fmla="*/ 241302 h 1762127"/>
                <a:gd name="connsiteX5448" fmla="*/ 3119320 w 9759834"/>
                <a:gd name="connsiteY5448" fmla="*/ 207170 h 1762127"/>
                <a:gd name="connsiteX5449" fmla="*/ 3153452 w 9759834"/>
                <a:gd name="connsiteY5449" fmla="*/ 173038 h 1762127"/>
                <a:gd name="connsiteX5450" fmla="*/ 3068520 w 9759834"/>
                <a:gd name="connsiteY5450" fmla="*/ 173038 h 1762127"/>
                <a:gd name="connsiteX5451" fmla="*/ 3103445 w 9759834"/>
                <a:gd name="connsiteY5451" fmla="*/ 207170 h 1762127"/>
                <a:gd name="connsiteX5452" fmla="*/ 3068520 w 9759834"/>
                <a:gd name="connsiteY5452" fmla="*/ 241302 h 1762127"/>
                <a:gd name="connsiteX5453" fmla="*/ 3033595 w 9759834"/>
                <a:gd name="connsiteY5453" fmla="*/ 207170 h 1762127"/>
                <a:gd name="connsiteX5454" fmla="*/ 3068520 w 9759834"/>
                <a:gd name="connsiteY5454" fmla="*/ 173038 h 1762127"/>
                <a:gd name="connsiteX5455" fmla="*/ 2983590 w 9759834"/>
                <a:gd name="connsiteY5455" fmla="*/ 173038 h 1762127"/>
                <a:gd name="connsiteX5456" fmla="*/ 3017722 w 9759834"/>
                <a:gd name="connsiteY5456" fmla="*/ 207170 h 1762127"/>
                <a:gd name="connsiteX5457" fmla="*/ 2983590 w 9759834"/>
                <a:gd name="connsiteY5457" fmla="*/ 241302 h 1762127"/>
                <a:gd name="connsiteX5458" fmla="*/ 2949458 w 9759834"/>
                <a:gd name="connsiteY5458" fmla="*/ 207170 h 1762127"/>
                <a:gd name="connsiteX5459" fmla="*/ 2983590 w 9759834"/>
                <a:gd name="connsiteY5459" fmla="*/ 173038 h 1762127"/>
                <a:gd name="connsiteX5460" fmla="*/ 2309735 w 9759834"/>
                <a:gd name="connsiteY5460" fmla="*/ 173038 h 1762127"/>
                <a:gd name="connsiteX5461" fmla="*/ 2344662 w 9759834"/>
                <a:gd name="connsiteY5461" fmla="*/ 207170 h 1762127"/>
                <a:gd name="connsiteX5462" fmla="*/ 2309735 w 9759834"/>
                <a:gd name="connsiteY5462" fmla="*/ 241302 h 1762127"/>
                <a:gd name="connsiteX5463" fmla="*/ 2274810 w 9759834"/>
                <a:gd name="connsiteY5463" fmla="*/ 207170 h 1762127"/>
                <a:gd name="connsiteX5464" fmla="*/ 2309735 w 9759834"/>
                <a:gd name="connsiteY5464" fmla="*/ 173038 h 1762127"/>
                <a:gd name="connsiteX5465" fmla="*/ 2224806 w 9759834"/>
                <a:gd name="connsiteY5465" fmla="*/ 173038 h 1762127"/>
                <a:gd name="connsiteX5466" fmla="*/ 2258937 w 9759834"/>
                <a:gd name="connsiteY5466" fmla="*/ 207170 h 1762127"/>
                <a:gd name="connsiteX5467" fmla="*/ 2224806 w 9759834"/>
                <a:gd name="connsiteY5467" fmla="*/ 241302 h 1762127"/>
                <a:gd name="connsiteX5468" fmla="*/ 2190673 w 9759834"/>
                <a:gd name="connsiteY5468" fmla="*/ 207170 h 1762127"/>
                <a:gd name="connsiteX5469" fmla="*/ 2224806 w 9759834"/>
                <a:gd name="connsiteY5469" fmla="*/ 173038 h 1762127"/>
                <a:gd name="connsiteX5470" fmla="*/ 5344202 w 9759834"/>
                <a:gd name="connsiteY5470" fmla="*/ 87313 h 1762127"/>
                <a:gd name="connsiteX5471" fmla="*/ 5378334 w 9759834"/>
                <a:gd name="connsiteY5471" fmla="*/ 121445 h 1762127"/>
                <a:gd name="connsiteX5472" fmla="*/ 5344202 w 9759834"/>
                <a:gd name="connsiteY5472" fmla="*/ 155577 h 1762127"/>
                <a:gd name="connsiteX5473" fmla="*/ 5310070 w 9759834"/>
                <a:gd name="connsiteY5473" fmla="*/ 121445 h 1762127"/>
                <a:gd name="connsiteX5474" fmla="*/ 5344202 w 9759834"/>
                <a:gd name="connsiteY5474" fmla="*/ 87313 h 1762127"/>
                <a:gd name="connsiteX5475" fmla="*/ 5258477 w 9759834"/>
                <a:gd name="connsiteY5475" fmla="*/ 87313 h 1762127"/>
                <a:gd name="connsiteX5476" fmla="*/ 5292609 w 9759834"/>
                <a:gd name="connsiteY5476" fmla="*/ 121445 h 1762127"/>
                <a:gd name="connsiteX5477" fmla="*/ 5258477 w 9759834"/>
                <a:gd name="connsiteY5477" fmla="*/ 155577 h 1762127"/>
                <a:gd name="connsiteX5478" fmla="*/ 5224345 w 9759834"/>
                <a:gd name="connsiteY5478" fmla="*/ 121445 h 1762127"/>
                <a:gd name="connsiteX5479" fmla="*/ 5258477 w 9759834"/>
                <a:gd name="connsiteY5479" fmla="*/ 87313 h 1762127"/>
                <a:gd name="connsiteX5480" fmla="*/ 4585377 w 9759834"/>
                <a:gd name="connsiteY5480" fmla="*/ 87313 h 1762127"/>
                <a:gd name="connsiteX5481" fmla="*/ 4619509 w 9759834"/>
                <a:gd name="connsiteY5481" fmla="*/ 121445 h 1762127"/>
                <a:gd name="connsiteX5482" fmla="*/ 4585377 w 9759834"/>
                <a:gd name="connsiteY5482" fmla="*/ 155577 h 1762127"/>
                <a:gd name="connsiteX5483" fmla="*/ 4551245 w 9759834"/>
                <a:gd name="connsiteY5483" fmla="*/ 121445 h 1762127"/>
                <a:gd name="connsiteX5484" fmla="*/ 4585377 w 9759834"/>
                <a:gd name="connsiteY5484" fmla="*/ 87313 h 1762127"/>
                <a:gd name="connsiteX5485" fmla="*/ 4500445 w 9759834"/>
                <a:gd name="connsiteY5485" fmla="*/ 87313 h 1762127"/>
                <a:gd name="connsiteX5486" fmla="*/ 4535370 w 9759834"/>
                <a:gd name="connsiteY5486" fmla="*/ 121445 h 1762127"/>
                <a:gd name="connsiteX5487" fmla="*/ 4500445 w 9759834"/>
                <a:gd name="connsiteY5487" fmla="*/ 155577 h 1762127"/>
                <a:gd name="connsiteX5488" fmla="*/ 4465520 w 9759834"/>
                <a:gd name="connsiteY5488" fmla="*/ 121445 h 1762127"/>
                <a:gd name="connsiteX5489" fmla="*/ 4500445 w 9759834"/>
                <a:gd name="connsiteY5489" fmla="*/ 87313 h 1762127"/>
                <a:gd name="connsiteX5490" fmla="*/ 4415515 w 9759834"/>
                <a:gd name="connsiteY5490" fmla="*/ 87313 h 1762127"/>
                <a:gd name="connsiteX5491" fmla="*/ 4449647 w 9759834"/>
                <a:gd name="connsiteY5491" fmla="*/ 121445 h 1762127"/>
                <a:gd name="connsiteX5492" fmla="*/ 4415515 w 9759834"/>
                <a:gd name="connsiteY5492" fmla="*/ 155577 h 1762127"/>
                <a:gd name="connsiteX5493" fmla="*/ 4381383 w 9759834"/>
                <a:gd name="connsiteY5493" fmla="*/ 121445 h 1762127"/>
                <a:gd name="connsiteX5494" fmla="*/ 4415515 w 9759834"/>
                <a:gd name="connsiteY5494" fmla="*/ 87313 h 1762127"/>
                <a:gd name="connsiteX5495" fmla="*/ 4332171 w 9759834"/>
                <a:gd name="connsiteY5495" fmla="*/ 87313 h 1762127"/>
                <a:gd name="connsiteX5496" fmla="*/ 4368684 w 9759834"/>
                <a:gd name="connsiteY5496" fmla="*/ 121445 h 1762127"/>
                <a:gd name="connsiteX5497" fmla="*/ 4332171 w 9759834"/>
                <a:gd name="connsiteY5497" fmla="*/ 155577 h 1762127"/>
                <a:gd name="connsiteX5498" fmla="*/ 4295658 w 9759834"/>
                <a:gd name="connsiteY5498" fmla="*/ 121445 h 1762127"/>
                <a:gd name="connsiteX5499" fmla="*/ 4332171 w 9759834"/>
                <a:gd name="connsiteY5499" fmla="*/ 87313 h 1762127"/>
                <a:gd name="connsiteX5500" fmla="*/ 4248827 w 9759834"/>
                <a:gd name="connsiteY5500" fmla="*/ 87313 h 1762127"/>
                <a:gd name="connsiteX5501" fmla="*/ 4282959 w 9759834"/>
                <a:gd name="connsiteY5501" fmla="*/ 121445 h 1762127"/>
                <a:gd name="connsiteX5502" fmla="*/ 4248827 w 9759834"/>
                <a:gd name="connsiteY5502" fmla="*/ 155577 h 1762127"/>
                <a:gd name="connsiteX5503" fmla="*/ 4214695 w 9759834"/>
                <a:gd name="connsiteY5503" fmla="*/ 121445 h 1762127"/>
                <a:gd name="connsiteX5504" fmla="*/ 4248827 w 9759834"/>
                <a:gd name="connsiteY5504" fmla="*/ 87313 h 1762127"/>
                <a:gd name="connsiteX5505" fmla="*/ 4163895 w 9759834"/>
                <a:gd name="connsiteY5505" fmla="*/ 87313 h 1762127"/>
                <a:gd name="connsiteX5506" fmla="*/ 4198820 w 9759834"/>
                <a:gd name="connsiteY5506" fmla="*/ 121445 h 1762127"/>
                <a:gd name="connsiteX5507" fmla="*/ 4163895 w 9759834"/>
                <a:gd name="connsiteY5507" fmla="*/ 155577 h 1762127"/>
                <a:gd name="connsiteX5508" fmla="*/ 4128970 w 9759834"/>
                <a:gd name="connsiteY5508" fmla="*/ 121445 h 1762127"/>
                <a:gd name="connsiteX5509" fmla="*/ 4163895 w 9759834"/>
                <a:gd name="connsiteY5509" fmla="*/ 87313 h 1762127"/>
                <a:gd name="connsiteX5510" fmla="*/ 4078170 w 9759834"/>
                <a:gd name="connsiteY5510" fmla="*/ 87313 h 1762127"/>
                <a:gd name="connsiteX5511" fmla="*/ 4113095 w 9759834"/>
                <a:gd name="connsiteY5511" fmla="*/ 121445 h 1762127"/>
                <a:gd name="connsiteX5512" fmla="*/ 4078170 w 9759834"/>
                <a:gd name="connsiteY5512" fmla="*/ 155577 h 1762127"/>
                <a:gd name="connsiteX5513" fmla="*/ 4043245 w 9759834"/>
                <a:gd name="connsiteY5513" fmla="*/ 121445 h 1762127"/>
                <a:gd name="connsiteX5514" fmla="*/ 4078170 w 9759834"/>
                <a:gd name="connsiteY5514" fmla="*/ 87313 h 1762127"/>
                <a:gd name="connsiteX5515" fmla="*/ 3993240 w 9759834"/>
                <a:gd name="connsiteY5515" fmla="*/ 87313 h 1762127"/>
                <a:gd name="connsiteX5516" fmla="*/ 4027372 w 9759834"/>
                <a:gd name="connsiteY5516" fmla="*/ 121445 h 1762127"/>
                <a:gd name="connsiteX5517" fmla="*/ 3993240 w 9759834"/>
                <a:gd name="connsiteY5517" fmla="*/ 155577 h 1762127"/>
                <a:gd name="connsiteX5518" fmla="*/ 3959108 w 9759834"/>
                <a:gd name="connsiteY5518" fmla="*/ 121445 h 1762127"/>
                <a:gd name="connsiteX5519" fmla="*/ 3993240 w 9759834"/>
                <a:gd name="connsiteY5519" fmla="*/ 87313 h 1762127"/>
                <a:gd name="connsiteX5520" fmla="*/ 3912277 w 9759834"/>
                <a:gd name="connsiteY5520" fmla="*/ 87313 h 1762127"/>
                <a:gd name="connsiteX5521" fmla="*/ 3946409 w 9759834"/>
                <a:gd name="connsiteY5521" fmla="*/ 121445 h 1762127"/>
                <a:gd name="connsiteX5522" fmla="*/ 3912277 w 9759834"/>
                <a:gd name="connsiteY5522" fmla="*/ 155577 h 1762127"/>
                <a:gd name="connsiteX5523" fmla="*/ 3878145 w 9759834"/>
                <a:gd name="connsiteY5523" fmla="*/ 121445 h 1762127"/>
                <a:gd name="connsiteX5524" fmla="*/ 3912277 w 9759834"/>
                <a:gd name="connsiteY5524" fmla="*/ 87313 h 1762127"/>
                <a:gd name="connsiteX5525" fmla="*/ 3826552 w 9759834"/>
                <a:gd name="connsiteY5525" fmla="*/ 87313 h 1762127"/>
                <a:gd name="connsiteX5526" fmla="*/ 3860684 w 9759834"/>
                <a:gd name="connsiteY5526" fmla="*/ 121445 h 1762127"/>
                <a:gd name="connsiteX5527" fmla="*/ 3826552 w 9759834"/>
                <a:gd name="connsiteY5527" fmla="*/ 155577 h 1762127"/>
                <a:gd name="connsiteX5528" fmla="*/ 3792420 w 9759834"/>
                <a:gd name="connsiteY5528" fmla="*/ 121445 h 1762127"/>
                <a:gd name="connsiteX5529" fmla="*/ 3826552 w 9759834"/>
                <a:gd name="connsiteY5529" fmla="*/ 87313 h 1762127"/>
                <a:gd name="connsiteX5530" fmla="*/ 3741620 w 9759834"/>
                <a:gd name="connsiteY5530" fmla="*/ 87313 h 1762127"/>
                <a:gd name="connsiteX5531" fmla="*/ 3776545 w 9759834"/>
                <a:gd name="connsiteY5531" fmla="*/ 121445 h 1762127"/>
                <a:gd name="connsiteX5532" fmla="*/ 3741620 w 9759834"/>
                <a:gd name="connsiteY5532" fmla="*/ 155577 h 1762127"/>
                <a:gd name="connsiteX5533" fmla="*/ 3706695 w 9759834"/>
                <a:gd name="connsiteY5533" fmla="*/ 121445 h 1762127"/>
                <a:gd name="connsiteX5534" fmla="*/ 3741620 w 9759834"/>
                <a:gd name="connsiteY5534" fmla="*/ 87313 h 1762127"/>
                <a:gd name="connsiteX5535" fmla="*/ 3656689 w 9759834"/>
                <a:gd name="connsiteY5535" fmla="*/ 87313 h 1762127"/>
                <a:gd name="connsiteX5536" fmla="*/ 3690821 w 9759834"/>
                <a:gd name="connsiteY5536" fmla="*/ 121445 h 1762127"/>
                <a:gd name="connsiteX5537" fmla="*/ 3656689 w 9759834"/>
                <a:gd name="connsiteY5537" fmla="*/ 155577 h 1762127"/>
                <a:gd name="connsiteX5538" fmla="*/ 3622557 w 9759834"/>
                <a:gd name="connsiteY5538" fmla="*/ 121445 h 1762127"/>
                <a:gd name="connsiteX5539" fmla="*/ 3656689 w 9759834"/>
                <a:gd name="connsiteY5539" fmla="*/ 87313 h 1762127"/>
                <a:gd name="connsiteX5540" fmla="*/ 3573345 w 9759834"/>
                <a:gd name="connsiteY5540" fmla="*/ 87313 h 1762127"/>
                <a:gd name="connsiteX5541" fmla="*/ 3609858 w 9759834"/>
                <a:gd name="connsiteY5541" fmla="*/ 121445 h 1762127"/>
                <a:gd name="connsiteX5542" fmla="*/ 3573345 w 9759834"/>
                <a:gd name="connsiteY5542" fmla="*/ 155577 h 1762127"/>
                <a:gd name="connsiteX5543" fmla="*/ 3536832 w 9759834"/>
                <a:gd name="connsiteY5543" fmla="*/ 121445 h 1762127"/>
                <a:gd name="connsiteX5544" fmla="*/ 3573345 w 9759834"/>
                <a:gd name="connsiteY5544" fmla="*/ 87313 h 1762127"/>
                <a:gd name="connsiteX5545" fmla="*/ 3234415 w 9759834"/>
                <a:gd name="connsiteY5545" fmla="*/ 87313 h 1762127"/>
                <a:gd name="connsiteX5546" fmla="*/ 3268547 w 9759834"/>
                <a:gd name="connsiteY5546" fmla="*/ 121445 h 1762127"/>
                <a:gd name="connsiteX5547" fmla="*/ 3234415 w 9759834"/>
                <a:gd name="connsiteY5547" fmla="*/ 155577 h 1762127"/>
                <a:gd name="connsiteX5548" fmla="*/ 3200283 w 9759834"/>
                <a:gd name="connsiteY5548" fmla="*/ 121445 h 1762127"/>
                <a:gd name="connsiteX5549" fmla="*/ 3234415 w 9759834"/>
                <a:gd name="connsiteY5549" fmla="*/ 87313 h 1762127"/>
                <a:gd name="connsiteX5550" fmla="*/ 3153452 w 9759834"/>
                <a:gd name="connsiteY5550" fmla="*/ 87313 h 1762127"/>
                <a:gd name="connsiteX5551" fmla="*/ 3187584 w 9759834"/>
                <a:gd name="connsiteY5551" fmla="*/ 121445 h 1762127"/>
                <a:gd name="connsiteX5552" fmla="*/ 3153452 w 9759834"/>
                <a:gd name="connsiteY5552" fmla="*/ 155577 h 1762127"/>
                <a:gd name="connsiteX5553" fmla="*/ 3119320 w 9759834"/>
                <a:gd name="connsiteY5553" fmla="*/ 121445 h 1762127"/>
                <a:gd name="connsiteX5554" fmla="*/ 3153452 w 9759834"/>
                <a:gd name="connsiteY5554" fmla="*/ 87313 h 1762127"/>
                <a:gd name="connsiteX5555" fmla="*/ 2983590 w 9759834"/>
                <a:gd name="connsiteY5555" fmla="*/ 87313 h 1762127"/>
                <a:gd name="connsiteX5556" fmla="*/ 3017722 w 9759834"/>
                <a:gd name="connsiteY5556" fmla="*/ 121445 h 1762127"/>
                <a:gd name="connsiteX5557" fmla="*/ 2983590 w 9759834"/>
                <a:gd name="connsiteY5557" fmla="*/ 155577 h 1762127"/>
                <a:gd name="connsiteX5558" fmla="*/ 2949458 w 9759834"/>
                <a:gd name="connsiteY5558" fmla="*/ 121445 h 1762127"/>
                <a:gd name="connsiteX5559" fmla="*/ 2983590 w 9759834"/>
                <a:gd name="connsiteY5559" fmla="*/ 87313 h 1762127"/>
                <a:gd name="connsiteX5560" fmla="*/ 5510095 w 9759834"/>
                <a:gd name="connsiteY5560" fmla="*/ 0 h 1762127"/>
                <a:gd name="connsiteX5561" fmla="*/ 5545020 w 9759834"/>
                <a:gd name="connsiteY5561" fmla="*/ 34925 h 1762127"/>
                <a:gd name="connsiteX5562" fmla="*/ 5510095 w 9759834"/>
                <a:gd name="connsiteY5562" fmla="*/ 69850 h 1762127"/>
                <a:gd name="connsiteX5563" fmla="*/ 5475170 w 9759834"/>
                <a:gd name="connsiteY5563" fmla="*/ 34925 h 1762127"/>
                <a:gd name="connsiteX5564" fmla="*/ 5510095 w 9759834"/>
                <a:gd name="connsiteY5564" fmla="*/ 0 h 1762127"/>
                <a:gd name="connsiteX5565" fmla="*/ 5429927 w 9759834"/>
                <a:gd name="connsiteY5565" fmla="*/ 0 h 1762127"/>
                <a:gd name="connsiteX5566" fmla="*/ 5464059 w 9759834"/>
                <a:gd name="connsiteY5566" fmla="*/ 34925 h 1762127"/>
                <a:gd name="connsiteX5567" fmla="*/ 5429927 w 9759834"/>
                <a:gd name="connsiteY5567" fmla="*/ 69850 h 1762127"/>
                <a:gd name="connsiteX5568" fmla="*/ 5395795 w 9759834"/>
                <a:gd name="connsiteY5568" fmla="*/ 34925 h 1762127"/>
                <a:gd name="connsiteX5569" fmla="*/ 5429927 w 9759834"/>
                <a:gd name="connsiteY5569" fmla="*/ 0 h 1762127"/>
                <a:gd name="connsiteX5570" fmla="*/ 4585377 w 9759834"/>
                <a:gd name="connsiteY5570" fmla="*/ 0 h 1762127"/>
                <a:gd name="connsiteX5571" fmla="*/ 4619509 w 9759834"/>
                <a:gd name="connsiteY5571" fmla="*/ 34925 h 1762127"/>
                <a:gd name="connsiteX5572" fmla="*/ 4585377 w 9759834"/>
                <a:gd name="connsiteY5572" fmla="*/ 69850 h 1762127"/>
                <a:gd name="connsiteX5573" fmla="*/ 4551245 w 9759834"/>
                <a:gd name="connsiteY5573" fmla="*/ 34925 h 1762127"/>
                <a:gd name="connsiteX5574" fmla="*/ 4585377 w 9759834"/>
                <a:gd name="connsiteY5574" fmla="*/ 0 h 1762127"/>
                <a:gd name="connsiteX5575" fmla="*/ 4500445 w 9759834"/>
                <a:gd name="connsiteY5575" fmla="*/ 0 h 1762127"/>
                <a:gd name="connsiteX5576" fmla="*/ 4535370 w 9759834"/>
                <a:gd name="connsiteY5576" fmla="*/ 34925 h 1762127"/>
                <a:gd name="connsiteX5577" fmla="*/ 4500445 w 9759834"/>
                <a:gd name="connsiteY5577" fmla="*/ 69850 h 1762127"/>
                <a:gd name="connsiteX5578" fmla="*/ 4465520 w 9759834"/>
                <a:gd name="connsiteY5578" fmla="*/ 34925 h 1762127"/>
                <a:gd name="connsiteX5579" fmla="*/ 4500445 w 9759834"/>
                <a:gd name="connsiteY5579" fmla="*/ 0 h 1762127"/>
                <a:gd name="connsiteX5580" fmla="*/ 4415515 w 9759834"/>
                <a:gd name="connsiteY5580" fmla="*/ 0 h 1762127"/>
                <a:gd name="connsiteX5581" fmla="*/ 4449647 w 9759834"/>
                <a:gd name="connsiteY5581" fmla="*/ 34925 h 1762127"/>
                <a:gd name="connsiteX5582" fmla="*/ 4415515 w 9759834"/>
                <a:gd name="connsiteY5582" fmla="*/ 69850 h 1762127"/>
                <a:gd name="connsiteX5583" fmla="*/ 4381383 w 9759834"/>
                <a:gd name="connsiteY5583" fmla="*/ 34925 h 1762127"/>
                <a:gd name="connsiteX5584" fmla="*/ 4415515 w 9759834"/>
                <a:gd name="connsiteY5584" fmla="*/ 0 h 1762127"/>
                <a:gd name="connsiteX5585" fmla="*/ 4332171 w 9759834"/>
                <a:gd name="connsiteY5585" fmla="*/ 0 h 1762127"/>
                <a:gd name="connsiteX5586" fmla="*/ 4368684 w 9759834"/>
                <a:gd name="connsiteY5586" fmla="*/ 34925 h 1762127"/>
                <a:gd name="connsiteX5587" fmla="*/ 4332171 w 9759834"/>
                <a:gd name="connsiteY5587" fmla="*/ 69850 h 1762127"/>
                <a:gd name="connsiteX5588" fmla="*/ 4295658 w 9759834"/>
                <a:gd name="connsiteY5588" fmla="*/ 34925 h 1762127"/>
                <a:gd name="connsiteX5589" fmla="*/ 4332171 w 9759834"/>
                <a:gd name="connsiteY5589" fmla="*/ 0 h 1762127"/>
                <a:gd name="connsiteX5590" fmla="*/ 4248827 w 9759834"/>
                <a:gd name="connsiteY5590" fmla="*/ 0 h 1762127"/>
                <a:gd name="connsiteX5591" fmla="*/ 4282959 w 9759834"/>
                <a:gd name="connsiteY5591" fmla="*/ 34925 h 1762127"/>
                <a:gd name="connsiteX5592" fmla="*/ 4248827 w 9759834"/>
                <a:gd name="connsiteY5592" fmla="*/ 69850 h 1762127"/>
                <a:gd name="connsiteX5593" fmla="*/ 4214695 w 9759834"/>
                <a:gd name="connsiteY5593" fmla="*/ 34925 h 1762127"/>
                <a:gd name="connsiteX5594" fmla="*/ 4248827 w 9759834"/>
                <a:gd name="connsiteY5594" fmla="*/ 0 h 1762127"/>
                <a:gd name="connsiteX5595" fmla="*/ 4163895 w 9759834"/>
                <a:gd name="connsiteY5595" fmla="*/ 0 h 1762127"/>
                <a:gd name="connsiteX5596" fmla="*/ 4198820 w 9759834"/>
                <a:gd name="connsiteY5596" fmla="*/ 34925 h 1762127"/>
                <a:gd name="connsiteX5597" fmla="*/ 4163895 w 9759834"/>
                <a:gd name="connsiteY5597" fmla="*/ 69850 h 1762127"/>
                <a:gd name="connsiteX5598" fmla="*/ 4128970 w 9759834"/>
                <a:gd name="connsiteY5598" fmla="*/ 34925 h 1762127"/>
                <a:gd name="connsiteX5599" fmla="*/ 4163895 w 9759834"/>
                <a:gd name="connsiteY5599" fmla="*/ 0 h 1762127"/>
                <a:gd name="connsiteX5600" fmla="*/ 4078170 w 9759834"/>
                <a:gd name="connsiteY5600" fmla="*/ 0 h 1762127"/>
                <a:gd name="connsiteX5601" fmla="*/ 4113095 w 9759834"/>
                <a:gd name="connsiteY5601" fmla="*/ 34925 h 1762127"/>
                <a:gd name="connsiteX5602" fmla="*/ 4078170 w 9759834"/>
                <a:gd name="connsiteY5602" fmla="*/ 69850 h 1762127"/>
                <a:gd name="connsiteX5603" fmla="*/ 4043245 w 9759834"/>
                <a:gd name="connsiteY5603" fmla="*/ 34925 h 1762127"/>
                <a:gd name="connsiteX5604" fmla="*/ 4078170 w 9759834"/>
                <a:gd name="connsiteY5604" fmla="*/ 0 h 1762127"/>
                <a:gd name="connsiteX5605" fmla="*/ 3993240 w 9759834"/>
                <a:gd name="connsiteY5605" fmla="*/ 0 h 1762127"/>
                <a:gd name="connsiteX5606" fmla="*/ 4027372 w 9759834"/>
                <a:gd name="connsiteY5606" fmla="*/ 34925 h 1762127"/>
                <a:gd name="connsiteX5607" fmla="*/ 3993240 w 9759834"/>
                <a:gd name="connsiteY5607" fmla="*/ 69850 h 1762127"/>
                <a:gd name="connsiteX5608" fmla="*/ 3959108 w 9759834"/>
                <a:gd name="connsiteY5608" fmla="*/ 34925 h 1762127"/>
                <a:gd name="connsiteX5609" fmla="*/ 3993240 w 9759834"/>
                <a:gd name="connsiteY5609" fmla="*/ 0 h 1762127"/>
                <a:gd name="connsiteX5610" fmla="*/ 3912277 w 9759834"/>
                <a:gd name="connsiteY5610" fmla="*/ 0 h 1762127"/>
                <a:gd name="connsiteX5611" fmla="*/ 3946409 w 9759834"/>
                <a:gd name="connsiteY5611" fmla="*/ 34925 h 1762127"/>
                <a:gd name="connsiteX5612" fmla="*/ 3912277 w 9759834"/>
                <a:gd name="connsiteY5612" fmla="*/ 69850 h 1762127"/>
                <a:gd name="connsiteX5613" fmla="*/ 3878145 w 9759834"/>
                <a:gd name="connsiteY5613" fmla="*/ 34925 h 1762127"/>
                <a:gd name="connsiteX5614" fmla="*/ 3912277 w 9759834"/>
                <a:gd name="connsiteY5614" fmla="*/ 0 h 1762127"/>
                <a:gd name="connsiteX5615" fmla="*/ 3826552 w 9759834"/>
                <a:gd name="connsiteY5615" fmla="*/ 0 h 1762127"/>
                <a:gd name="connsiteX5616" fmla="*/ 3860684 w 9759834"/>
                <a:gd name="connsiteY5616" fmla="*/ 34925 h 1762127"/>
                <a:gd name="connsiteX5617" fmla="*/ 3826552 w 9759834"/>
                <a:gd name="connsiteY5617" fmla="*/ 69850 h 1762127"/>
                <a:gd name="connsiteX5618" fmla="*/ 3792420 w 9759834"/>
                <a:gd name="connsiteY5618" fmla="*/ 34925 h 1762127"/>
                <a:gd name="connsiteX5619" fmla="*/ 3826552 w 9759834"/>
                <a:gd name="connsiteY5619" fmla="*/ 0 h 1762127"/>
                <a:gd name="connsiteX5620" fmla="*/ 3741620 w 9759834"/>
                <a:gd name="connsiteY5620" fmla="*/ 0 h 1762127"/>
                <a:gd name="connsiteX5621" fmla="*/ 3776545 w 9759834"/>
                <a:gd name="connsiteY5621" fmla="*/ 34925 h 1762127"/>
                <a:gd name="connsiteX5622" fmla="*/ 3741620 w 9759834"/>
                <a:gd name="connsiteY5622" fmla="*/ 69850 h 1762127"/>
                <a:gd name="connsiteX5623" fmla="*/ 3706695 w 9759834"/>
                <a:gd name="connsiteY5623" fmla="*/ 34925 h 1762127"/>
                <a:gd name="connsiteX5624" fmla="*/ 3741620 w 9759834"/>
                <a:gd name="connsiteY5624" fmla="*/ 0 h 1762127"/>
                <a:gd name="connsiteX5625" fmla="*/ 3656689 w 9759834"/>
                <a:gd name="connsiteY5625" fmla="*/ 0 h 1762127"/>
                <a:gd name="connsiteX5626" fmla="*/ 3690821 w 9759834"/>
                <a:gd name="connsiteY5626" fmla="*/ 34925 h 1762127"/>
                <a:gd name="connsiteX5627" fmla="*/ 3656689 w 9759834"/>
                <a:gd name="connsiteY5627" fmla="*/ 69850 h 1762127"/>
                <a:gd name="connsiteX5628" fmla="*/ 3622557 w 9759834"/>
                <a:gd name="connsiteY5628" fmla="*/ 34925 h 1762127"/>
                <a:gd name="connsiteX5629" fmla="*/ 3656689 w 9759834"/>
                <a:gd name="connsiteY5629" fmla="*/ 0 h 1762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Lst>
              <a:rect l="l" t="t" r="r" b="b"/>
              <a:pathLst>
                <a:path w="9759834" h="1762127">
                  <a:moveTo>
                    <a:pt x="9389152" y="1693863"/>
                  </a:moveTo>
                  <a:cubicBezTo>
                    <a:pt x="9408003" y="1693863"/>
                    <a:pt x="9423284" y="1709144"/>
                    <a:pt x="9423284" y="1727995"/>
                  </a:cubicBezTo>
                  <a:cubicBezTo>
                    <a:pt x="9423284" y="1746846"/>
                    <a:pt x="9408003" y="1762127"/>
                    <a:pt x="9389152" y="1762127"/>
                  </a:cubicBezTo>
                  <a:cubicBezTo>
                    <a:pt x="9370301" y="1762127"/>
                    <a:pt x="9355020" y="1746846"/>
                    <a:pt x="9355020" y="1727995"/>
                  </a:cubicBezTo>
                  <a:cubicBezTo>
                    <a:pt x="9355020" y="1709144"/>
                    <a:pt x="9370301" y="1693863"/>
                    <a:pt x="9389152" y="1693863"/>
                  </a:cubicBezTo>
                  <a:close/>
                  <a:moveTo>
                    <a:pt x="8966877" y="1693863"/>
                  </a:moveTo>
                  <a:cubicBezTo>
                    <a:pt x="8985728" y="1693863"/>
                    <a:pt x="9001009" y="1709144"/>
                    <a:pt x="9001009" y="1727995"/>
                  </a:cubicBezTo>
                  <a:cubicBezTo>
                    <a:pt x="9001009" y="1746846"/>
                    <a:pt x="8985728" y="1762127"/>
                    <a:pt x="8966877" y="1762127"/>
                  </a:cubicBezTo>
                  <a:cubicBezTo>
                    <a:pt x="8948026" y="1762127"/>
                    <a:pt x="8932745" y="1746846"/>
                    <a:pt x="8932745" y="1727995"/>
                  </a:cubicBezTo>
                  <a:cubicBezTo>
                    <a:pt x="8932745" y="1709144"/>
                    <a:pt x="8948026" y="1693863"/>
                    <a:pt x="8966877" y="1693863"/>
                  </a:cubicBezTo>
                  <a:close/>
                  <a:moveTo>
                    <a:pt x="8884327" y="1693863"/>
                  </a:moveTo>
                  <a:cubicBezTo>
                    <a:pt x="8904931" y="1693863"/>
                    <a:pt x="8921634" y="1709144"/>
                    <a:pt x="8921634" y="1727995"/>
                  </a:cubicBezTo>
                  <a:cubicBezTo>
                    <a:pt x="8921634" y="1746846"/>
                    <a:pt x="8904931" y="1762127"/>
                    <a:pt x="8884327" y="1762127"/>
                  </a:cubicBezTo>
                  <a:cubicBezTo>
                    <a:pt x="8863723" y="1762127"/>
                    <a:pt x="8847020" y="1746846"/>
                    <a:pt x="8847020" y="1727995"/>
                  </a:cubicBezTo>
                  <a:cubicBezTo>
                    <a:pt x="8847020" y="1709144"/>
                    <a:pt x="8863723" y="1693863"/>
                    <a:pt x="8884327" y="1693863"/>
                  </a:cubicBezTo>
                  <a:close/>
                  <a:moveTo>
                    <a:pt x="8801777" y="1693863"/>
                  </a:moveTo>
                  <a:cubicBezTo>
                    <a:pt x="8820628" y="1693863"/>
                    <a:pt x="8835909" y="1709144"/>
                    <a:pt x="8835909" y="1727995"/>
                  </a:cubicBezTo>
                  <a:cubicBezTo>
                    <a:pt x="8835909" y="1746846"/>
                    <a:pt x="8820628" y="1762127"/>
                    <a:pt x="8801777" y="1762127"/>
                  </a:cubicBezTo>
                  <a:cubicBezTo>
                    <a:pt x="8782926" y="1762127"/>
                    <a:pt x="8767645" y="1746846"/>
                    <a:pt x="8767645" y="1727995"/>
                  </a:cubicBezTo>
                  <a:cubicBezTo>
                    <a:pt x="8767645" y="1709144"/>
                    <a:pt x="8782926" y="1693863"/>
                    <a:pt x="8801777" y="1693863"/>
                  </a:cubicBezTo>
                  <a:close/>
                  <a:moveTo>
                    <a:pt x="8716052" y="1693863"/>
                  </a:moveTo>
                  <a:cubicBezTo>
                    <a:pt x="8734903" y="1693863"/>
                    <a:pt x="8750184" y="1709144"/>
                    <a:pt x="8750184" y="1727995"/>
                  </a:cubicBezTo>
                  <a:cubicBezTo>
                    <a:pt x="8750184" y="1746846"/>
                    <a:pt x="8734903" y="1762127"/>
                    <a:pt x="8716052" y="1762127"/>
                  </a:cubicBezTo>
                  <a:cubicBezTo>
                    <a:pt x="8697201" y="1762127"/>
                    <a:pt x="8681920" y="1746846"/>
                    <a:pt x="8681920" y="1727995"/>
                  </a:cubicBezTo>
                  <a:cubicBezTo>
                    <a:pt x="8681920" y="1709144"/>
                    <a:pt x="8697201" y="1693863"/>
                    <a:pt x="8716052" y="1693863"/>
                  </a:cubicBezTo>
                  <a:close/>
                  <a:moveTo>
                    <a:pt x="8630327" y="1693863"/>
                  </a:moveTo>
                  <a:cubicBezTo>
                    <a:pt x="8649178" y="1693863"/>
                    <a:pt x="8664459" y="1709144"/>
                    <a:pt x="8664459" y="1727995"/>
                  </a:cubicBezTo>
                  <a:cubicBezTo>
                    <a:pt x="8664459" y="1746846"/>
                    <a:pt x="8649178" y="1762127"/>
                    <a:pt x="8630327" y="1762127"/>
                  </a:cubicBezTo>
                  <a:cubicBezTo>
                    <a:pt x="8611476" y="1762127"/>
                    <a:pt x="8596195" y="1746846"/>
                    <a:pt x="8596195" y="1727995"/>
                  </a:cubicBezTo>
                  <a:cubicBezTo>
                    <a:pt x="8596195" y="1709144"/>
                    <a:pt x="8611476" y="1693863"/>
                    <a:pt x="8630327" y="1693863"/>
                  </a:cubicBezTo>
                  <a:close/>
                  <a:moveTo>
                    <a:pt x="8544602" y="1693863"/>
                  </a:moveTo>
                  <a:cubicBezTo>
                    <a:pt x="8563453" y="1693863"/>
                    <a:pt x="8578734" y="1709144"/>
                    <a:pt x="8578734" y="1727995"/>
                  </a:cubicBezTo>
                  <a:cubicBezTo>
                    <a:pt x="8578734" y="1746846"/>
                    <a:pt x="8563453" y="1762127"/>
                    <a:pt x="8544602" y="1762127"/>
                  </a:cubicBezTo>
                  <a:cubicBezTo>
                    <a:pt x="8525751" y="1762127"/>
                    <a:pt x="8510470" y="1746846"/>
                    <a:pt x="8510470" y="1727995"/>
                  </a:cubicBezTo>
                  <a:cubicBezTo>
                    <a:pt x="8510470" y="1709144"/>
                    <a:pt x="8525751" y="1693863"/>
                    <a:pt x="8544602" y="1693863"/>
                  </a:cubicBezTo>
                  <a:close/>
                  <a:moveTo>
                    <a:pt x="8465227" y="1693863"/>
                  </a:moveTo>
                  <a:cubicBezTo>
                    <a:pt x="8484078" y="1693863"/>
                    <a:pt x="8499359" y="1709144"/>
                    <a:pt x="8499359" y="1727995"/>
                  </a:cubicBezTo>
                  <a:cubicBezTo>
                    <a:pt x="8499359" y="1746846"/>
                    <a:pt x="8484078" y="1762127"/>
                    <a:pt x="8465227" y="1762127"/>
                  </a:cubicBezTo>
                  <a:cubicBezTo>
                    <a:pt x="8446376" y="1762127"/>
                    <a:pt x="8431095" y="1746846"/>
                    <a:pt x="8431095" y="1727995"/>
                  </a:cubicBezTo>
                  <a:cubicBezTo>
                    <a:pt x="8431095" y="1709144"/>
                    <a:pt x="8446376" y="1693863"/>
                    <a:pt x="8465227" y="1693863"/>
                  </a:cubicBezTo>
                  <a:close/>
                  <a:moveTo>
                    <a:pt x="8379502" y="1693863"/>
                  </a:moveTo>
                  <a:cubicBezTo>
                    <a:pt x="8398353" y="1693863"/>
                    <a:pt x="8413634" y="1709144"/>
                    <a:pt x="8413634" y="1727995"/>
                  </a:cubicBezTo>
                  <a:cubicBezTo>
                    <a:pt x="8413634" y="1746846"/>
                    <a:pt x="8398353" y="1762127"/>
                    <a:pt x="8379502" y="1762127"/>
                  </a:cubicBezTo>
                  <a:cubicBezTo>
                    <a:pt x="8360651" y="1762127"/>
                    <a:pt x="8345370" y="1746846"/>
                    <a:pt x="8345370" y="1727995"/>
                  </a:cubicBezTo>
                  <a:cubicBezTo>
                    <a:pt x="8345370" y="1709144"/>
                    <a:pt x="8360651" y="1693863"/>
                    <a:pt x="8379502" y="1693863"/>
                  </a:cubicBezTo>
                  <a:close/>
                  <a:moveTo>
                    <a:pt x="8293777" y="1693863"/>
                  </a:moveTo>
                  <a:cubicBezTo>
                    <a:pt x="8312628" y="1693863"/>
                    <a:pt x="8327909" y="1709144"/>
                    <a:pt x="8327909" y="1727995"/>
                  </a:cubicBezTo>
                  <a:cubicBezTo>
                    <a:pt x="8327909" y="1746846"/>
                    <a:pt x="8312628" y="1762127"/>
                    <a:pt x="8293777" y="1762127"/>
                  </a:cubicBezTo>
                  <a:cubicBezTo>
                    <a:pt x="8274926" y="1762127"/>
                    <a:pt x="8259645" y="1746846"/>
                    <a:pt x="8259645" y="1727995"/>
                  </a:cubicBezTo>
                  <a:cubicBezTo>
                    <a:pt x="8259645" y="1709144"/>
                    <a:pt x="8274926" y="1693863"/>
                    <a:pt x="8293777" y="1693863"/>
                  </a:cubicBezTo>
                  <a:close/>
                  <a:moveTo>
                    <a:pt x="8208052" y="1693863"/>
                  </a:moveTo>
                  <a:cubicBezTo>
                    <a:pt x="8226903" y="1693863"/>
                    <a:pt x="8242184" y="1709144"/>
                    <a:pt x="8242184" y="1727995"/>
                  </a:cubicBezTo>
                  <a:cubicBezTo>
                    <a:pt x="8242184" y="1746846"/>
                    <a:pt x="8226903" y="1762127"/>
                    <a:pt x="8208052" y="1762127"/>
                  </a:cubicBezTo>
                  <a:cubicBezTo>
                    <a:pt x="8189201" y="1762127"/>
                    <a:pt x="8173920" y="1746846"/>
                    <a:pt x="8173920" y="1727995"/>
                  </a:cubicBezTo>
                  <a:cubicBezTo>
                    <a:pt x="8173920" y="1709144"/>
                    <a:pt x="8189201" y="1693863"/>
                    <a:pt x="8208052" y="1693863"/>
                  </a:cubicBezTo>
                  <a:close/>
                  <a:moveTo>
                    <a:pt x="8125502" y="1693863"/>
                  </a:moveTo>
                  <a:cubicBezTo>
                    <a:pt x="8146106" y="1693863"/>
                    <a:pt x="8162809" y="1709144"/>
                    <a:pt x="8162809" y="1727995"/>
                  </a:cubicBezTo>
                  <a:cubicBezTo>
                    <a:pt x="8162809" y="1746846"/>
                    <a:pt x="8146106" y="1762127"/>
                    <a:pt x="8125502" y="1762127"/>
                  </a:cubicBezTo>
                  <a:cubicBezTo>
                    <a:pt x="8104898" y="1762127"/>
                    <a:pt x="8088195" y="1746846"/>
                    <a:pt x="8088195" y="1727995"/>
                  </a:cubicBezTo>
                  <a:cubicBezTo>
                    <a:pt x="8088195" y="1709144"/>
                    <a:pt x="8104898" y="1693863"/>
                    <a:pt x="8125502" y="1693863"/>
                  </a:cubicBezTo>
                  <a:close/>
                  <a:moveTo>
                    <a:pt x="8042952" y="1693863"/>
                  </a:moveTo>
                  <a:cubicBezTo>
                    <a:pt x="8061803" y="1693863"/>
                    <a:pt x="8077084" y="1709144"/>
                    <a:pt x="8077084" y="1727995"/>
                  </a:cubicBezTo>
                  <a:cubicBezTo>
                    <a:pt x="8077084" y="1746846"/>
                    <a:pt x="8061803" y="1762127"/>
                    <a:pt x="8042952" y="1762127"/>
                  </a:cubicBezTo>
                  <a:cubicBezTo>
                    <a:pt x="8024101" y="1762127"/>
                    <a:pt x="8008820" y="1746846"/>
                    <a:pt x="8008820" y="1727995"/>
                  </a:cubicBezTo>
                  <a:cubicBezTo>
                    <a:pt x="8008820" y="1709144"/>
                    <a:pt x="8024101" y="1693863"/>
                    <a:pt x="8042952" y="1693863"/>
                  </a:cubicBezTo>
                  <a:close/>
                  <a:moveTo>
                    <a:pt x="7957227" y="1693863"/>
                  </a:moveTo>
                  <a:cubicBezTo>
                    <a:pt x="7976078" y="1693863"/>
                    <a:pt x="7991359" y="1709144"/>
                    <a:pt x="7991359" y="1727995"/>
                  </a:cubicBezTo>
                  <a:cubicBezTo>
                    <a:pt x="7991359" y="1746846"/>
                    <a:pt x="7976078" y="1762127"/>
                    <a:pt x="7957227" y="1762127"/>
                  </a:cubicBezTo>
                  <a:cubicBezTo>
                    <a:pt x="7938376" y="1762127"/>
                    <a:pt x="7923095" y="1746846"/>
                    <a:pt x="7923095" y="1727995"/>
                  </a:cubicBezTo>
                  <a:cubicBezTo>
                    <a:pt x="7923095" y="1709144"/>
                    <a:pt x="7938376" y="1693863"/>
                    <a:pt x="7957227" y="1693863"/>
                  </a:cubicBezTo>
                  <a:close/>
                  <a:moveTo>
                    <a:pt x="7871502" y="1693863"/>
                  </a:moveTo>
                  <a:cubicBezTo>
                    <a:pt x="7890353" y="1693863"/>
                    <a:pt x="7905634" y="1709144"/>
                    <a:pt x="7905634" y="1727995"/>
                  </a:cubicBezTo>
                  <a:cubicBezTo>
                    <a:pt x="7905634" y="1746846"/>
                    <a:pt x="7890353" y="1762127"/>
                    <a:pt x="7871502" y="1762127"/>
                  </a:cubicBezTo>
                  <a:cubicBezTo>
                    <a:pt x="7852651" y="1762127"/>
                    <a:pt x="7837370" y="1746846"/>
                    <a:pt x="7837370" y="1727995"/>
                  </a:cubicBezTo>
                  <a:cubicBezTo>
                    <a:pt x="7837370" y="1709144"/>
                    <a:pt x="7852651" y="1693863"/>
                    <a:pt x="7871502" y="1693863"/>
                  </a:cubicBezTo>
                  <a:close/>
                  <a:moveTo>
                    <a:pt x="7785777" y="1693863"/>
                  </a:moveTo>
                  <a:cubicBezTo>
                    <a:pt x="7804628" y="1693863"/>
                    <a:pt x="7819909" y="1709144"/>
                    <a:pt x="7819909" y="1727995"/>
                  </a:cubicBezTo>
                  <a:cubicBezTo>
                    <a:pt x="7819909" y="1746846"/>
                    <a:pt x="7804628" y="1762127"/>
                    <a:pt x="7785777" y="1762127"/>
                  </a:cubicBezTo>
                  <a:cubicBezTo>
                    <a:pt x="7766926" y="1762127"/>
                    <a:pt x="7751645" y="1746846"/>
                    <a:pt x="7751645" y="1727995"/>
                  </a:cubicBezTo>
                  <a:cubicBezTo>
                    <a:pt x="7751645" y="1709144"/>
                    <a:pt x="7766926" y="1693863"/>
                    <a:pt x="7785777" y="1693863"/>
                  </a:cubicBezTo>
                  <a:close/>
                  <a:moveTo>
                    <a:pt x="7706402" y="1693863"/>
                  </a:moveTo>
                  <a:cubicBezTo>
                    <a:pt x="7725253" y="1693863"/>
                    <a:pt x="7740534" y="1709144"/>
                    <a:pt x="7740534" y="1727995"/>
                  </a:cubicBezTo>
                  <a:cubicBezTo>
                    <a:pt x="7740534" y="1746846"/>
                    <a:pt x="7725253" y="1762127"/>
                    <a:pt x="7706402" y="1762127"/>
                  </a:cubicBezTo>
                  <a:cubicBezTo>
                    <a:pt x="7687551" y="1762127"/>
                    <a:pt x="7672270" y="1746846"/>
                    <a:pt x="7672270" y="1727995"/>
                  </a:cubicBezTo>
                  <a:cubicBezTo>
                    <a:pt x="7672270" y="1709144"/>
                    <a:pt x="7687551" y="1693863"/>
                    <a:pt x="7706402" y="1693863"/>
                  </a:cubicBezTo>
                  <a:close/>
                  <a:moveTo>
                    <a:pt x="7620677" y="1693863"/>
                  </a:moveTo>
                  <a:cubicBezTo>
                    <a:pt x="7639528" y="1693863"/>
                    <a:pt x="7654809" y="1709144"/>
                    <a:pt x="7654809" y="1727995"/>
                  </a:cubicBezTo>
                  <a:cubicBezTo>
                    <a:pt x="7654809" y="1746846"/>
                    <a:pt x="7639528" y="1762127"/>
                    <a:pt x="7620677" y="1762127"/>
                  </a:cubicBezTo>
                  <a:cubicBezTo>
                    <a:pt x="7601826" y="1762127"/>
                    <a:pt x="7586545" y="1746846"/>
                    <a:pt x="7586545" y="1727995"/>
                  </a:cubicBezTo>
                  <a:cubicBezTo>
                    <a:pt x="7586545" y="1709144"/>
                    <a:pt x="7601826" y="1693863"/>
                    <a:pt x="7620677" y="1693863"/>
                  </a:cubicBezTo>
                  <a:close/>
                  <a:moveTo>
                    <a:pt x="7534952" y="1693863"/>
                  </a:moveTo>
                  <a:cubicBezTo>
                    <a:pt x="7553803" y="1693863"/>
                    <a:pt x="7569084" y="1709144"/>
                    <a:pt x="7569084" y="1727995"/>
                  </a:cubicBezTo>
                  <a:cubicBezTo>
                    <a:pt x="7569084" y="1746846"/>
                    <a:pt x="7553803" y="1762127"/>
                    <a:pt x="7534952" y="1762127"/>
                  </a:cubicBezTo>
                  <a:cubicBezTo>
                    <a:pt x="7516101" y="1762127"/>
                    <a:pt x="7500820" y="1746846"/>
                    <a:pt x="7500820" y="1727995"/>
                  </a:cubicBezTo>
                  <a:cubicBezTo>
                    <a:pt x="7500820" y="1709144"/>
                    <a:pt x="7516101" y="1693863"/>
                    <a:pt x="7534952" y="1693863"/>
                  </a:cubicBezTo>
                  <a:close/>
                  <a:moveTo>
                    <a:pt x="7449227" y="1693863"/>
                  </a:moveTo>
                  <a:cubicBezTo>
                    <a:pt x="7468078" y="1693863"/>
                    <a:pt x="7483359" y="1709144"/>
                    <a:pt x="7483359" y="1727995"/>
                  </a:cubicBezTo>
                  <a:cubicBezTo>
                    <a:pt x="7483359" y="1746846"/>
                    <a:pt x="7468078" y="1762127"/>
                    <a:pt x="7449227" y="1762127"/>
                  </a:cubicBezTo>
                  <a:cubicBezTo>
                    <a:pt x="7430376" y="1762127"/>
                    <a:pt x="7415095" y="1746846"/>
                    <a:pt x="7415095" y="1727995"/>
                  </a:cubicBezTo>
                  <a:cubicBezTo>
                    <a:pt x="7415095" y="1709144"/>
                    <a:pt x="7430376" y="1693863"/>
                    <a:pt x="7449227" y="1693863"/>
                  </a:cubicBezTo>
                  <a:close/>
                  <a:moveTo>
                    <a:pt x="7366677" y="1693863"/>
                  </a:moveTo>
                  <a:cubicBezTo>
                    <a:pt x="7387281" y="1693863"/>
                    <a:pt x="7403984" y="1709144"/>
                    <a:pt x="7403984" y="1727995"/>
                  </a:cubicBezTo>
                  <a:cubicBezTo>
                    <a:pt x="7403984" y="1746846"/>
                    <a:pt x="7387281" y="1762127"/>
                    <a:pt x="7366677" y="1762127"/>
                  </a:cubicBezTo>
                  <a:cubicBezTo>
                    <a:pt x="7346073" y="1762127"/>
                    <a:pt x="7329370" y="1746846"/>
                    <a:pt x="7329370" y="1727995"/>
                  </a:cubicBezTo>
                  <a:cubicBezTo>
                    <a:pt x="7329370" y="1709144"/>
                    <a:pt x="7346073" y="1693863"/>
                    <a:pt x="7366677" y="1693863"/>
                  </a:cubicBezTo>
                  <a:close/>
                  <a:moveTo>
                    <a:pt x="7284127" y="1693863"/>
                  </a:moveTo>
                  <a:cubicBezTo>
                    <a:pt x="7302978" y="1693863"/>
                    <a:pt x="7318259" y="1709144"/>
                    <a:pt x="7318259" y="1727995"/>
                  </a:cubicBezTo>
                  <a:cubicBezTo>
                    <a:pt x="7318259" y="1746846"/>
                    <a:pt x="7302978" y="1762127"/>
                    <a:pt x="7284127" y="1762127"/>
                  </a:cubicBezTo>
                  <a:cubicBezTo>
                    <a:pt x="7265276" y="1762127"/>
                    <a:pt x="7249995" y="1746846"/>
                    <a:pt x="7249995" y="1727995"/>
                  </a:cubicBezTo>
                  <a:cubicBezTo>
                    <a:pt x="7249995" y="1709144"/>
                    <a:pt x="7265276" y="1693863"/>
                    <a:pt x="7284127" y="1693863"/>
                  </a:cubicBezTo>
                  <a:close/>
                  <a:moveTo>
                    <a:pt x="7198402" y="1693863"/>
                  </a:moveTo>
                  <a:cubicBezTo>
                    <a:pt x="7217253" y="1693863"/>
                    <a:pt x="7232534" y="1709144"/>
                    <a:pt x="7232534" y="1727995"/>
                  </a:cubicBezTo>
                  <a:cubicBezTo>
                    <a:pt x="7232534" y="1746846"/>
                    <a:pt x="7217253" y="1762127"/>
                    <a:pt x="7198402" y="1762127"/>
                  </a:cubicBezTo>
                  <a:cubicBezTo>
                    <a:pt x="7179551" y="1762127"/>
                    <a:pt x="7164270" y="1746846"/>
                    <a:pt x="7164270" y="1727995"/>
                  </a:cubicBezTo>
                  <a:cubicBezTo>
                    <a:pt x="7164270" y="1709144"/>
                    <a:pt x="7179551" y="1693863"/>
                    <a:pt x="7198402" y="1693863"/>
                  </a:cubicBezTo>
                  <a:close/>
                  <a:moveTo>
                    <a:pt x="7112677" y="1693863"/>
                  </a:moveTo>
                  <a:cubicBezTo>
                    <a:pt x="7131528" y="1693863"/>
                    <a:pt x="7146809" y="1709144"/>
                    <a:pt x="7146809" y="1727995"/>
                  </a:cubicBezTo>
                  <a:cubicBezTo>
                    <a:pt x="7146809" y="1746846"/>
                    <a:pt x="7131528" y="1762127"/>
                    <a:pt x="7112677" y="1762127"/>
                  </a:cubicBezTo>
                  <a:cubicBezTo>
                    <a:pt x="7093826" y="1762127"/>
                    <a:pt x="7078545" y="1746846"/>
                    <a:pt x="7078545" y="1727995"/>
                  </a:cubicBezTo>
                  <a:cubicBezTo>
                    <a:pt x="7078545" y="1709144"/>
                    <a:pt x="7093826" y="1693863"/>
                    <a:pt x="7112677" y="1693863"/>
                  </a:cubicBezTo>
                  <a:close/>
                  <a:moveTo>
                    <a:pt x="7027745" y="1693863"/>
                  </a:moveTo>
                  <a:cubicBezTo>
                    <a:pt x="7047034" y="1693863"/>
                    <a:pt x="7062670" y="1709144"/>
                    <a:pt x="7062670" y="1727995"/>
                  </a:cubicBezTo>
                  <a:cubicBezTo>
                    <a:pt x="7062670" y="1746846"/>
                    <a:pt x="7047034" y="1762127"/>
                    <a:pt x="7027745" y="1762127"/>
                  </a:cubicBezTo>
                  <a:cubicBezTo>
                    <a:pt x="7008456" y="1762127"/>
                    <a:pt x="6992820" y="1746846"/>
                    <a:pt x="6992820" y="1727995"/>
                  </a:cubicBezTo>
                  <a:cubicBezTo>
                    <a:pt x="6992820" y="1709144"/>
                    <a:pt x="7008456" y="1693863"/>
                    <a:pt x="7027745" y="1693863"/>
                  </a:cubicBezTo>
                  <a:close/>
                  <a:moveTo>
                    <a:pt x="6947577" y="1693863"/>
                  </a:moveTo>
                  <a:cubicBezTo>
                    <a:pt x="6966428" y="1693863"/>
                    <a:pt x="6981709" y="1709144"/>
                    <a:pt x="6981709" y="1727995"/>
                  </a:cubicBezTo>
                  <a:cubicBezTo>
                    <a:pt x="6981709" y="1746846"/>
                    <a:pt x="6966428" y="1762127"/>
                    <a:pt x="6947577" y="1762127"/>
                  </a:cubicBezTo>
                  <a:cubicBezTo>
                    <a:pt x="6928726" y="1762127"/>
                    <a:pt x="6913445" y="1746846"/>
                    <a:pt x="6913445" y="1727995"/>
                  </a:cubicBezTo>
                  <a:cubicBezTo>
                    <a:pt x="6913445" y="1709144"/>
                    <a:pt x="6928726" y="1693863"/>
                    <a:pt x="6947577" y="1693863"/>
                  </a:cubicBezTo>
                  <a:close/>
                  <a:moveTo>
                    <a:pt x="6861852" y="1693863"/>
                  </a:moveTo>
                  <a:cubicBezTo>
                    <a:pt x="6880703" y="1693863"/>
                    <a:pt x="6895984" y="1709144"/>
                    <a:pt x="6895984" y="1727995"/>
                  </a:cubicBezTo>
                  <a:cubicBezTo>
                    <a:pt x="6895984" y="1746846"/>
                    <a:pt x="6880703" y="1762127"/>
                    <a:pt x="6861852" y="1762127"/>
                  </a:cubicBezTo>
                  <a:cubicBezTo>
                    <a:pt x="6843001" y="1762127"/>
                    <a:pt x="6827720" y="1746846"/>
                    <a:pt x="6827720" y="1727995"/>
                  </a:cubicBezTo>
                  <a:cubicBezTo>
                    <a:pt x="6827720" y="1709144"/>
                    <a:pt x="6843001" y="1693863"/>
                    <a:pt x="6861852" y="1693863"/>
                  </a:cubicBezTo>
                  <a:close/>
                  <a:moveTo>
                    <a:pt x="6776127" y="1693863"/>
                  </a:moveTo>
                  <a:cubicBezTo>
                    <a:pt x="6794978" y="1693863"/>
                    <a:pt x="6810259" y="1709144"/>
                    <a:pt x="6810259" y="1727995"/>
                  </a:cubicBezTo>
                  <a:cubicBezTo>
                    <a:pt x="6810259" y="1746846"/>
                    <a:pt x="6794978" y="1762127"/>
                    <a:pt x="6776127" y="1762127"/>
                  </a:cubicBezTo>
                  <a:cubicBezTo>
                    <a:pt x="6757276" y="1762127"/>
                    <a:pt x="6741995" y="1746846"/>
                    <a:pt x="6741995" y="1727995"/>
                  </a:cubicBezTo>
                  <a:cubicBezTo>
                    <a:pt x="6741995" y="1709144"/>
                    <a:pt x="6757276" y="1693863"/>
                    <a:pt x="6776127" y="1693863"/>
                  </a:cubicBezTo>
                  <a:close/>
                  <a:moveTo>
                    <a:pt x="6691195" y="1693863"/>
                  </a:moveTo>
                  <a:cubicBezTo>
                    <a:pt x="6710484" y="1693863"/>
                    <a:pt x="6726120" y="1709144"/>
                    <a:pt x="6726120" y="1727995"/>
                  </a:cubicBezTo>
                  <a:cubicBezTo>
                    <a:pt x="6726120" y="1746846"/>
                    <a:pt x="6710484" y="1762127"/>
                    <a:pt x="6691195" y="1762127"/>
                  </a:cubicBezTo>
                  <a:cubicBezTo>
                    <a:pt x="6671906" y="1762127"/>
                    <a:pt x="6656270" y="1746846"/>
                    <a:pt x="6656270" y="1727995"/>
                  </a:cubicBezTo>
                  <a:cubicBezTo>
                    <a:pt x="6656270" y="1709144"/>
                    <a:pt x="6671906" y="1693863"/>
                    <a:pt x="6691195" y="1693863"/>
                  </a:cubicBezTo>
                  <a:close/>
                  <a:moveTo>
                    <a:pt x="6607852" y="1693863"/>
                  </a:moveTo>
                  <a:cubicBezTo>
                    <a:pt x="6628456" y="1693863"/>
                    <a:pt x="6645159" y="1709144"/>
                    <a:pt x="6645159" y="1727995"/>
                  </a:cubicBezTo>
                  <a:cubicBezTo>
                    <a:pt x="6645159" y="1746846"/>
                    <a:pt x="6628456" y="1762127"/>
                    <a:pt x="6607852" y="1762127"/>
                  </a:cubicBezTo>
                  <a:cubicBezTo>
                    <a:pt x="6587248" y="1762127"/>
                    <a:pt x="6570545" y="1746846"/>
                    <a:pt x="6570545" y="1727995"/>
                  </a:cubicBezTo>
                  <a:cubicBezTo>
                    <a:pt x="6570545" y="1709144"/>
                    <a:pt x="6587248" y="1693863"/>
                    <a:pt x="6607852" y="1693863"/>
                  </a:cubicBezTo>
                  <a:close/>
                  <a:moveTo>
                    <a:pt x="6525302" y="1693863"/>
                  </a:moveTo>
                  <a:cubicBezTo>
                    <a:pt x="6544153" y="1693863"/>
                    <a:pt x="6559434" y="1709144"/>
                    <a:pt x="6559434" y="1727995"/>
                  </a:cubicBezTo>
                  <a:cubicBezTo>
                    <a:pt x="6559434" y="1746846"/>
                    <a:pt x="6544153" y="1762127"/>
                    <a:pt x="6525302" y="1762127"/>
                  </a:cubicBezTo>
                  <a:cubicBezTo>
                    <a:pt x="6506451" y="1762127"/>
                    <a:pt x="6491170" y="1746846"/>
                    <a:pt x="6491170" y="1727995"/>
                  </a:cubicBezTo>
                  <a:cubicBezTo>
                    <a:pt x="6491170" y="1709144"/>
                    <a:pt x="6506451" y="1693863"/>
                    <a:pt x="6525302" y="1693863"/>
                  </a:cubicBezTo>
                  <a:close/>
                  <a:moveTo>
                    <a:pt x="6439577" y="1693863"/>
                  </a:moveTo>
                  <a:cubicBezTo>
                    <a:pt x="6458428" y="1693863"/>
                    <a:pt x="6473709" y="1709144"/>
                    <a:pt x="6473709" y="1727995"/>
                  </a:cubicBezTo>
                  <a:cubicBezTo>
                    <a:pt x="6473709" y="1746846"/>
                    <a:pt x="6458428" y="1762127"/>
                    <a:pt x="6439577" y="1762127"/>
                  </a:cubicBezTo>
                  <a:cubicBezTo>
                    <a:pt x="6420726" y="1762127"/>
                    <a:pt x="6405445" y="1746846"/>
                    <a:pt x="6405445" y="1727995"/>
                  </a:cubicBezTo>
                  <a:cubicBezTo>
                    <a:pt x="6405445" y="1709144"/>
                    <a:pt x="6420726" y="1693863"/>
                    <a:pt x="6439577" y="1693863"/>
                  </a:cubicBezTo>
                  <a:close/>
                  <a:moveTo>
                    <a:pt x="6353852" y="1693863"/>
                  </a:moveTo>
                  <a:cubicBezTo>
                    <a:pt x="6372703" y="1693863"/>
                    <a:pt x="6387984" y="1709144"/>
                    <a:pt x="6387984" y="1727995"/>
                  </a:cubicBezTo>
                  <a:cubicBezTo>
                    <a:pt x="6387984" y="1746846"/>
                    <a:pt x="6372703" y="1762127"/>
                    <a:pt x="6353852" y="1762127"/>
                  </a:cubicBezTo>
                  <a:cubicBezTo>
                    <a:pt x="6335001" y="1762127"/>
                    <a:pt x="6319720" y="1746846"/>
                    <a:pt x="6319720" y="1727995"/>
                  </a:cubicBezTo>
                  <a:cubicBezTo>
                    <a:pt x="6319720" y="1709144"/>
                    <a:pt x="6335001" y="1693863"/>
                    <a:pt x="6353852" y="1693863"/>
                  </a:cubicBezTo>
                  <a:close/>
                  <a:moveTo>
                    <a:pt x="6268920" y="1693863"/>
                  </a:moveTo>
                  <a:cubicBezTo>
                    <a:pt x="6288209" y="1693863"/>
                    <a:pt x="6303845" y="1709144"/>
                    <a:pt x="6303845" y="1727995"/>
                  </a:cubicBezTo>
                  <a:cubicBezTo>
                    <a:pt x="6303845" y="1746846"/>
                    <a:pt x="6288209" y="1762127"/>
                    <a:pt x="6268920" y="1762127"/>
                  </a:cubicBezTo>
                  <a:cubicBezTo>
                    <a:pt x="6249631" y="1762127"/>
                    <a:pt x="6233995" y="1746846"/>
                    <a:pt x="6233995" y="1727995"/>
                  </a:cubicBezTo>
                  <a:cubicBezTo>
                    <a:pt x="6233995" y="1709144"/>
                    <a:pt x="6249631" y="1693863"/>
                    <a:pt x="6268920" y="1693863"/>
                  </a:cubicBezTo>
                  <a:close/>
                  <a:moveTo>
                    <a:pt x="6188752" y="1693863"/>
                  </a:moveTo>
                  <a:cubicBezTo>
                    <a:pt x="6207603" y="1693863"/>
                    <a:pt x="6222884" y="1709144"/>
                    <a:pt x="6222884" y="1727995"/>
                  </a:cubicBezTo>
                  <a:cubicBezTo>
                    <a:pt x="6222884" y="1746846"/>
                    <a:pt x="6207603" y="1762127"/>
                    <a:pt x="6188752" y="1762127"/>
                  </a:cubicBezTo>
                  <a:cubicBezTo>
                    <a:pt x="6169901" y="1762127"/>
                    <a:pt x="6154620" y="1746846"/>
                    <a:pt x="6154620" y="1727995"/>
                  </a:cubicBezTo>
                  <a:cubicBezTo>
                    <a:pt x="6154620" y="1709144"/>
                    <a:pt x="6169901" y="1693863"/>
                    <a:pt x="6188752" y="1693863"/>
                  </a:cubicBezTo>
                  <a:close/>
                  <a:moveTo>
                    <a:pt x="6103027" y="1693863"/>
                  </a:moveTo>
                  <a:cubicBezTo>
                    <a:pt x="6121878" y="1693863"/>
                    <a:pt x="6137159" y="1709144"/>
                    <a:pt x="6137159" y="1727995"/>
                  </a:cubicBezTo>
                  <a:cubicBezTo>
                    <a:pt x="6137159" y="1746846"/>
                    <a:pt x="6121878" y="1762127"/>
                    <a:pt x="6103027" y="1762127"/>
                  </a:cubicBezTo>
                  <a:cubicBezTo>
                    <a:pt x="6084176" y="1762127"/>
                    <a:pt x="6068895" y="1746846"/>
                    <a:pt x="6068895" y="1727995"/>
                  </a:cubicBezTo>
                  <a:cubicBezTo>
                    <a:pt x="6068895" y="1709144"/>
                    <a:pt x="6084176" y="1693863"/>
                    <a:pt x="6103027" y="1693863"/>
                  </a:cubicBezTo>
                  <a:close/>
                  <a:moveTo>
                    <a:pt x="6017302" y="1693863"/>
                  </a:moveTo>
                  <a:cubicBezTo>
                    <a:pt x="6036153" y="1693863"/>
                    <a:pt x="6051434" y="1709144"/>
                    <a:pt x="6051434" y="1727995"/>
                  </a:cubicBezTo>
                  <a:cubicBezTo>
                    <a:pt x="6051434" y="1746846"/>
                    <a:pt x="6036153" y="1762127"/>
                    <a:pt x="6017302" y="1762127"/>
                  </a:cubicBezTo>
                  <a:cubicBezTo>
                    <a:pt x="5998451" y="1762127"/>
                    <a:pt x="5983170" y="1746846"/>
                    <a:pt x="5983170" y="1727995"/>
                  </a:cubicBezTo>
                  <a:cubicBezTo>
                    <a:pt x="5983170" y="1709144"/>
                    <a:pt x="5998451" y="1693863"/>
                    <a:pt x="6017302" y="1693863"/>
                  </a:cubicBezTo>
                  <a:close/>
                  <a:moveTo>
                    <a:pt x="5932370" y="1693863"/>
                  </a:moveTo>
                  <a:cubicBezTo>
                    <a:pt x="5951659" y="1693863"/>
                    <a:pt x="5967295" y="1709144"/>
                    <a:pt x="5967295" y="1727995"/>
                  </a:cubicBezTo>
                  <a:cubicBezTo>
                    <a:pt x="5967295" y="1746846"/>
                    <a:pt x="5951659" y="1762127"/>
                    <a:pt x="5932370" y="1762127"/>
                  </a:cubicBezTo>
                  <a:cubicBezTo>
                    <a:pt x="5913081" y="1762127"/>
                    <a:pt x="5897445" y="1746846"/>
                    <a:pt x="5897445" y="1727995"/>
                  </a:cubicBezTo>
                  <a:cubicBezTo>
                    <a:pt x="5897445" y="1709144"/>
                    <a:pt x="5913081" y="1693863"/>
                    <a:pt x="5932370" y="1693863"/>
                  </a:cubicBezTo>
                  <a:close/>
                  <a:moveTo>
                    <a:pt x="5849821" y="1693863"/>
                  </a:moveTo>
                  <a:cubicBezTo>
                    <a:pt x="5869987" y="1693863"/>
                    <a:pt x="5886334" y="1709144"/>
                    <a:pt x="5886334" y="1727995"/>
                  </a:cubicBezTo>
                  <a:cubicBezTo>
                    <a:pt x="5886334" y="1746846"/>
                    <a:pt x="5869987" y="1762127"/>
                    <a:pt x="5849821" y="1762127"/>
                  </a:cubicBezTo>
                  <a:cubicBezTo>
                    <a:pt x="5829655" y="1762127"/>
                    <a:pt x="5813308" y="1746846"/>
                    <a:pt x="5813308" y="1727995"/>
                  </a:cubicBezTo>
                  <a:cubicBezTo>
                    <a:pt x="5813308" y="1709144"/>
                    <a:pt x="5829655" y="1693863"/>
                    <a:pt x="5849821" y="1693863"/>
                  </a:cubicBezTo>
                  <a:close/>
                  <a:moveTo>
                    <a:pt x="5766477" y="1693863"/>
                  </a:moveTo>
                  <a:cubicBezTo>
                    <a:pt x="5785328" y="1693863"/>
                    <a:pt x="5800609" y="1709144"/>
                    <a:pt x="5800609" y="1727995"/>
                  </a:cubicBezTo>
                  <a:cubicBezTo>
                    <a:pt x="5800609" y="1746846"/>
                    <a:pt x="5785328" y="1762127"/>
                    <a:pt x="5766477" y="1762127"/>
                  </a:cubicBezTo>
                  <a:cubicBezTo>
                    <a:pt x="5747626" y="1762127"/>
                    <a:pt x="5732345" y="1746846"/>
                    <a:pt x="5732345" y="1727995"/>
                  </a:cubicBezTo>
                  <a:cubicBezTo>
                    <a:pt x="5732345" y="1709144"/>
                    <a:pt x="5747626" y="1693863"/>
                    <a:pt x="5766477" y="1693863"/>
                  </a:cubicBezTo>
                  <a:close/>
                  <a:moveTo>
                    <a:pt x="5680752" y="1693863"/>
                  </a:moveTo>
                  <a:cubicBezTo>
                    <a:pt x="5699603" y="1693863"/>
                    <a:pt x="5714884" y="1709144"/>
                    <a:pt x="5714884" y="1727995"/>
                  </a:cubicBezTo>
                  <a:cubicBezTo>
                    <a:pt x="5714884" y="1746846"/>
                    <a:pt x="5699603" y="1762127"/>
                    <a:pt x="5680752" y="1762127"/>
                  </a:cubicBezTo>
                  <a:cubicBezTo>
                    <a:pt x="5661901" y="1762127"/>
                    <a:pt x="5646620" y="1746846"/>
                    <a:pt x="5646620" y="1727995"/>
                  </a:cubicBezTo>
                  <a:cubicBezTo>
                    <a:pt x="5646620" y="1709144"/>
                    <a:pt x="5661901" y="1693863"/>
                    <a:pt x="5680752" y="1693863"/>
                  </a:cubicBezTo>
                  <a:close/>
                  <a:moveTo>
                    <a:pt x="5595820" y="1693863"/>
                  </a:moveTo>
                  <a:cubicBezTo>
                    <a:pt x="5615109" y="1693863"/>
                    <a:pt x="5630745" y="1709144"/>
                    <a:pt x="5630745" y="1727995"/>
                  </a:cubicBezTo>
                  <a:cubicBezTo>
                    <a:pt x="5630745" y="1746846"/>
                    <a:pt x="5615109" y="1762127"/>
                    <a:pt x="5595820" y="1762127"/>
                  </a:cubicBezTo>
                  <a:cubicBezTo>
                    <a:pt x="5576531" y="1762127"/>
                    <a:pt x="5560895" y="1746846"/>
                    <a:pt x="5560895" y="1727995"/>
                  </a:cubicBezTo>
                  <a:cubicBezTo>
                    <a:pt x="5560895" y="1709144"/>
                    <a:pt x="5576531" y="1693863"/>
                    <a:pt x="5595820" y="1693863"/>
                  </a:cubicBezTo>
                  <a:close/>
                  <a:moveTo>
                    <a:pt x="5510095" y="1693863"/>
                  </a:moveTo>
                  <a:cubicBezTo>
                    <a:pt x="5529384" y="1693863"/>
                    <a:pt x="5545020" y="1709144"/>
                    <a:pt x="5545020" y="1727995"/>
                  </a:cubicBezTo>
                  <a:cubicBezTo>
                    <a:pt x="5545020" y="1746846"/>
                    <a:pt x="5529384" y="1762127"/>
                    <a:pt x="5510095" y="1762127"/>
                  </a:cubicBezTo>
                  <a:cubicBezTo>
                    <a:pt x="5490806" y="1762127"/>
                    <a:pt x="5475170" y="1746846"/>
                    <a:pt x="5475170" y="1727995"/>
                  </a:cubicBezTo>
                  <a:cubicBezTo>
                    <a:pt x="5475170" y="1709144"/>
                    <a:pt x="5490806" y="1693863"/>
                    <a:pt x="5510095" y="1693863"/>
                  </a:cubicBezTo>
                  <a:close/>
                  <a:moveTo>
                    <a:pt x="5429927" y="1693863"/>
                  </a:moveTo>
                  <a:cubicBezTo>
                    <a:pt x="5448778" y="1693863"/>
                    <a:pt x="5464059" y="1709144"/>
                    <a:pt x="5464059" y="1727995"/>
                  </a:cubicBezTo>
                  <a:cubicBezTo>
                    <a:pt x="5464059" y="1746846"/>
                    <a:pt x="5448778" y="1762127"/>
                    <a:pt x="5429927" y="1762127"/>
                  </a:cubicBezTo>
                  <a:cubicBezTo>
                    <a:pt x="5411076" y="1762127"/>
                    <a:pt x="5395795" y="1746846"/>
                    <a:pt x="5395795" y="1727995"/>
                  </a:cubicBezTo>
                  <a:cubicBezTo>
                    <a:pt x="5395795" y="1709144"/>
                    <a:pt x="5411076" y="1693863"/>
                    <a:pt x="5429927" y="1693863"/>
                  </a:cubicBezTo>
                  <a:close/>
                  <a:moveTo>
                    <a:pt x="5344202" y="1693863"/>
                  </a:moveTo>
                  <a:cubicBezTo>
                    <a:pt x="5363053" y="1693863"/>
                    <a:pt x="5378334" y="1709144"/>
                    <a:pt x="5378334" y="1727995"/>
                  </a:cubicBezTo>
                  <a:cubicBezTo>
                    <a:pt x="5378334" y="1746846"/>
                    <a:pt x="5363053" y="1762127"/>
                    <a:pt x="5344202" y="1762127"/>
                  </a:cubicBezTo>
                  <a:cubicBezTo>
                    <a:pt x="5325351" y="1762127"/>
                    <a:pt x="5310070" y="1746846"/>
                    <a:pt x="5310070" y="1727995"/>
                  </a:cubicBezTo>
                  <a:cubicBezTo>
                    <a:pt x="5310070" y="1709144"/>
                    <a:pt x="5325351" y="1693863"/>
                    <a:pt x="5344202" y="1693863"/>
                  </a:cubicBezTo>
                  <a:close/>
                  <a:moveTo>
                    <a:pt x="5258477" y="1693863"/>
                  </a:moveTo>
                  <a:cubicBezTo>
                    <a:pt x="5277328" y="1693863"/>
                    <a:pt x="5292609" y="1709144"/>
                    <a:pt x="5292609" y="1727995"/>
                  </a:cubicBezTo>
                  <a:cubicBezTo>
                    <a:pt x="5292609" y="1746846"/>
                    <a:pt x="5277328" y="1762127"/>
                    <a:pt x="5258477" y="1762127"/>
                  </a:cubicBezTo>
                  <a:cubicBezTo>
                    <a:pt x="5239626" y="1762127"/>
                    <a:pt x="5224345" y="1746846"/>
                    <a:pt x="5224345" y="1727995"/>
                  </a:cubicBezTo>
                  <a:cubicBezTo>
                    <a:pt x="5224345" y="1709144"/>
                    <a:pt x="5239626" y="1693863"/>
                    <a:pt x="5258477" y="1693863"/>
                  </a:cubicBezTo>
                  <a:close/>
                  <a:moveTo>
                    <a:pt x="5173545" y="1693863"/>
                  </a:moveTo>
                  <a:cubicBezTo>
                    <a:pt x="5192834" y="1693863"/>
                    <a:pt x="5208470" y="1709144"/>
                    <a:pt x="5208470" y="1727995"/>
                  </a:cubicBezTo>
                  <a:cubicBezTo>
                    <a:pt x="5208470" y="1746846"/>
                    <a:pt x="5192834" y="1762127"/>
                    <a:pt x="5173545" y="1762127"/>
                  </a:cubicBezTo>
                  <a:cubicBezTo>
                    <a:pt x="5154256" y="1762127"/>
                    <a:pt x="5138620" y="1746846"/>
                    <a:pt x="5138620" y="1727995"/>
                  </a:cubicBezTo>
                  <a:cubicBezTo>
                    <a:pt x="5138620" y="1709144"/>
                    <a:pt x="5154256" y="1693863"/>
                    <a:pt x="5173545" y="1693863"/>
                  </a:cubicBezTo>
                  <a:close/>
                  <a:moveTo>
                    <a:pt x="5007652" y="1693863"/>
                  </a:moveTo>
                  <a:cubicBezTo>
                    <a:pt x="5026503" y="1693863"/>
                    <a:pt x="5041784" y="1709144"/>
                    <a:pt x="5041784" y="1727995"/>
                  </a:cubicBezTo>
                  <a:cubicBezTo>
                    <a:pt x="5041784" y="1746846"/>
                    <a:pt x="5026503" y="1762127"/>
                    <a:pt x="5007652" y="1762127"/>
                  </a:cubicBezTo>
                  <a:cubicBezTo>
                    <a:pt x="4988801" y="1762127"/>
                    <a:pt x="4973520" y="1746846"/>
                    <a:pt x="4973520" y="1727995"/>
                  </a:cubicBezTo>
                  <a:cubicBezTo>
                    <a:pt x="4973520" y="1709144"/>
                    <a:pt x="4988801" y="1693863"/>
                    <a:pt x="5007652" y="1693863"/>
                  </a:cubicBezTo>
                  <a:close/>
                  <a:moveTo>
                    <a:pt x="4921927" y="1693863"/>
                  </a:moveTo>
                  <a:cubicBezTo>
                    <a:pt x="4940778" y="1693863"/>
                    <a:pt x="4956059" y="1709144"/>
                    <a:pt x="4956059" y="1727995"/>
                  </a:cubicBezTo>
                  <a:cubicBezTo>
                    <a:pt x="4956059" y="1746846"/>
                    <a:pt x="4940778" y="1762127"/>
                    <a:pt x="4921927" y="1762127"/>
                  </a:cubicBezTo>
                  <a:cubicBezTo>
                    <a:pt x="4903076" y="1762127"/>
                    <a:pt x="4887795" y="1746846"/>
                    <a:pt x="4887795" y="1727995"/>
                  </a:cubicBezTo>
                  <a:cubicBezTo>
                    <a:pt x="4887795" y="1709144"/>
                    <a:pt x="4903076" y="1693863"/>
                    <a:pt x="4921927" y="1693863"/>
                  </a:cubicBezTo>
                  <a:close/>
                  <a:moveTo>
                    <a:pt x="3068520" y="1693863"/>
                  </a:moveTo>
                  <a:cubicBezTo>
                    <a:pt x="3087809" y="1693863"/>
                    <a:pt x="3103445" y="1709144"/>
                    <a:pt x="3103445" y="1727995"/>
                  </a:cubicBezTo>
                  <a:cubicBezTo>
                    <a:pt x="3103445" y="1746846"/>
                    <a:pt x="3087809" y="1762127"/>
                    <a:pt x="3068520" y="1762127"/>
                  </a:cubicBezTo>
                  <a:cubicBezTo>
                    <a:pt x="3049231" y="1762127"/>
                    <a:pt x="3033595" y="1746846"/>
                    <a:pt x="3033595" y="1727995"/>
                  </a:cubicBezTo>
                  <a:cubicBezTo>
                    <a:pt x="3033595" y="1709144"/>
                    <a:pt x="3049231" y="1693863"/>
                    <a:pt x="3068520" y="1693863"/>
                  </a:cubicBezTo>
                  <a:close/>
                  <a:moveTo>
                    <a:pt x="2983589" y="1693863"/>
                  </a:moveTo>
                  <a:cubicBezTo>
                    <a:pt x="3002440" y="1693863"/>
                    <a:pt x="3017721" y="1709144"/>
                    <a:pt x="3017721" y="1727995"/>
                  </a:cubicBezTo>
                  <a:cubicBezTo>
                    <a:pt x="3017721" y="1746846"/>
                    <a:pt x="3002440" y="1762127"/>
                    <a:pt x="2983589" y="1762127"/>
                  </a:cubicBezTo>
                  <a:cubicBezTo>
                    <a:pt x="2964738" y="1762127"/>
                    <a:pt x="2949457" y="1746846"/>
                    <a:pt x="2949457" y="1727995"/>
                  </a:cubicBezTo>
                  <a:cubicBezTo>
                    <a:pt x="2949457" y="1709144"/>
                    <a:pt x="2964738" y="1693863"/>
                    <a:pt x="2983589" y="1693863"/>
                  </a:cubicBezTo>
                  <a:close/>
                  <a:moveTo>
                    <a:pt x="2897864" y="1693863"/>
                  </a:moveTo>
                  <a:cubicBezTo>
                    <a:pt x="2916715" y="1693863"/>
                    <a:pt x="2931996" y="1709144"/>
                    <a:pt x="2931996" y="1727995"/>
                  </a:cubicBezTo>
                  <a:cubicBezTo>
                    <a:pt x="2931996" y="1746846"/>
                    <a:pt x="2916715" y="1762127"/>
                    <a:pt x="2897864" y="1762127"/>
                  </a:cubicBezTo>
                  <a:cubicBezTo>
                    <a:pt x="2879013" y="1762127"/>
                    <a:pt x="2863732" y="1746846"/>
                    <a:pt x="2863732" y="1727995"/>
                  </a:cubicBezTo>
                  <a:cubicBezTo>
                    <a:pt x="2863732" y="1709144"/>
                    <a:pt x="2879013" y="1693863"/>
                    <a:pt x="2897864" y="1693863"/>
                  </a:cubicBezTo>
                  <a:close/>
                  <a:moveTo>
                    <a:pt x="2814520" y="1693863"/>
                  </a:moveTo>
                  <a:cubicBezTo>
                    <a:pt x="2834686" y="1693863"/>
                    <a:pt x="2851033" y="1709144"/>
                    <a:pt x="2851033" y="1727995"/>
                  </a:cubicBezTo>
                  <a:cubicBezTo>
                    <a:pt x="2851033" y="1746846"/>
                    <a:pt x="2834686" y="1762127"/>
                    <a:pt x="2814520" y="1762127"/>
                  </a:cubicBezTo>
                  <a:cubicBezTo>
                    <a:pt x="2794354" y="1762127"/>
                    <a:pt x="2778007" y="1746846"/>
                    <a:pt x="2778007" y="1727995"/>
                  </a:cubicBezTo>
                  <a:cubicBezTo>
                    <a:pt x="2778007" y="1709144"/>
                    <a:pt x="2794354" y="1693863"/>
                    <a:pt x="2814520" y="1693863"/>
                  </a:cubicBezTo>
                  <a:close/>
                  <a:moveTo>
                    <a:pt x="2732134" y="1693863"/>
                  </a:moveTo>
                  <a:cubicBezTo>
                    <a:pt x="2751422" y="1693863"/>
                    <a:pt x="2767057" y="1709144"/>
                    <a:pt x="2767057" y="1727995"/>
                  </a:cubicBezTo>
                  <a:cubicBezTo>
                    <a:pt x="2767057" y="1746846"/>
                    <a:pt x="2751422" y="1762127"/>
                    <a:pt x="2732134" y="1762127"/>
                  </a:cubicBezTo>
                  <a:cubicBezTo>
                    <a:pt x="2712845" y="1762127"/>
                    <a:pt x="2697208" y="1746846"/>
                    <a:pt x="2697208" y="1727995"/>
                  </a:cubicBezTo>
                  <a:cubicBezTo>
                    <a:pt x="2697208" y="1709144"/>
                    <a:pt x="2712845" y="1693863"/>
                    <a:pt x="2732134" y="1693863"/>
                  </a:cubicBezTo>
                  <a:close/>
                  <a:moveTo>
                    <a:pt x="2646410" y="1693863"/>
                  </a:moveTo>
                  <a:cubicBezTo>
                    <a:pt x="2665696" y="1693863"/>
                    <a:pt x="2681334" y="1709144"/>
                    <a:pt x="2681334" y="1727995"/>
                  </a:cubicBezTo>
                  <a:cubicBezTo>
                    <a:pt x="2681334" y="1746846"/>
                    <a:pt x="2665696" y="1762127"/>
                    <a:pt x="2646410" y="1762127"/>
                  </a:cubicBezTo>
                  <a:cubicBezTo>
                    <a:pt x="2627123" y="1762127"/>
                    <a:pt x="2611483" y="1746846"/>
                    <a:pt x="2611483" y="1727995"/>
                  </a:cubicBezTo>
                  <a:cubicBezTo>
                    <a:pt x="2611483" y="1709144"/>
                    <a:pt x="2627123" y="1693863"/>
                    <a:pt x="2646410" y="1693863"/>
                  </a:cubicBezTo>
                  <a:close/>
                  <a:moveTo>
                    <a:pt x="2561479" y="1693863"/>
                  </a:moveTo>
                  <a:cubicBezTo>
                    <a:pt x="2580330" y="1693863"/>
                    <a:pt x="2595609" y="1709144"/>
                    <a:pt x="2595609" y="1727995"/>
                  </a:cubicBezTo>
                  <a:cubicBezTo>
                    <a:pt x="2595609" y="1746846"/>
                    <a:pt x="2580330" y="1762127"/>
                    <a:pt x="2561479" y="1762127"/>
                  </a:cubicBezTo>
                  <a:cubicBezTo>
                    <a:pt x="2542628" y="1762127"/>
                    <a:pt x="2527342" y="1746846"/>
                    <a:pt x="2527342" y="1727995"/>
                  </a:cubicBezTo>
                  <a:cubicBezTo>
                    <a:pt x="2527342" y="1709144"/>
                    <a:pt x="2542628" y="1693863"/>
                    <a:pt x="2561479" y="1693863"/>
                  </a:cubicBezTo>
                  <a:close/>
                  <a:moveTo>
                    <a:pt x="2475754" y="1693863"/>
                  </a:moveTo>
                  <a:cubicBezTo>
                    <a:pt x="2494608" y="1693863"/>
                    <a:pt x="2509883" y="1709144"/>
                    <a:pt x="2509883" y="1727995"/>
                  </a:cubicBezTo>
                  <a:cubicBezTo>
                    <a:pt x="2509883" y="1746846"/>
                    <a:pt x="2494608" y="1762127"/>
                    <a:pt x="2475754" y="1762127"/>
                  </a:cubicBezTo>
                  <a:cubicBezTo>
                    <a:pt x="2456900" y="1762127"/>
                    <a:pt x="2441619" y="1746846"/>
                    <a:pt x="2441619" y="1727995"/>
                  </a:cubicBezTo>
                  <a:cubicBezTo>
                    <a:pt x="2441619" y="1709144"/>
                    <a:pt x="2456900" y="1693863"/>
                    <a:pt x="2475754" y="1693863"/>
                  </a:cubicBezTo>
                  <a:close/>
                  <a:moveTo>
                    <a:pt x="2394790" y="1693863"/>
                  </a:moveTo>
                  <a:cubicBezTo>
                    <a:pt x="2413638" y="1693863"/>
                    <a:pt x="2428919" y="1709144"/>
                    <a:pt x="2428919" y="1727995"/>
                  </a:cubicBezTo>
                  <a:cubicBezTo>
                    <a:pt x="2428919" y="1746846"/>
                    <a:pt x="2413638" y="1762127"/>
                    <a:pt x="2394790" y="1762127"/>
                  </a:cubicBezTo>
                  <a:cubicBezTo>
                    <a:pt x="2375933" y="1762127"/>
                    <a:pt x="2360656" y="1746846"/>
                    <a:pt x="2360656" y="1727995"/>
                  </a:cubicBezTo>
                  <a:cubicBezTo>
                    <a:pt x="2360656" y="1709144"/>
                    <a:pt x="2375933" y="1693863"/>
                    <a:pt x="2394790" y="1693863"/>
                  </a:cubicBezTo>
                  <a:close/>
                  <a:moveTo>
                    <a:pt x="2309856" y="1693863"/>
                  </a:moveTo>
                  <a:cubicBezTo>
                    <a:pt x="2329141" y="1693863"/>
                    <a:pt x="2344781" y="1709144"/>
                    <a:pt x="2344781" y="1727995"/>
                  </a:cubicBezTo>
                  <a:cubicBezTo>
                    <a:pt x="2344781" y="1746846"/>
                    <a:pt x="2329141" y="1762127"/>
                    <a:pt x="2309856" y="1762127"/>
                  </a:cubicBezTo>
                  <a:cubicBezTo>
                    <a:pt x="2290564" y="1762127"/>
                    <a:pt x="2274920" y="1746846"/>
                    <a:pt x="2274920" y="1727995"/>
                  </a:cubicBezTo>
                  <a:cubicBezTo>
                    <a:pt x="2274920" y="1709144"/>
                    <a:pt x="2290564" y="1693863"/>
                    <a:pt x="2309856" y="1693863"/>
                  </a:cubicBezTo>
                  <a:close/>
                  <a:moveTo>
                    <a:pt x="2224919" y="1693863"/>
                  </a:moveTo>
                  <a:cubicBezTo>
                    <a:pt x="2243761" y="1693863"/>
                    <a:pt x="2259040" y="1709144"/>
                    <a:pt x="2259040" y="1727995"/>
                  </a:cubicBezTo>
                  <a:cubicBezTo>
                    <a:pt x="2259040" y="1746846"/>
                    <a:pt x="2243761" y="1762127"/>
                    <a:pt x="2224919" y="1762127"/>
                  </a:cubicBezTo>
                  <a:cubicBezTo>
                    <a:pt x="2206066" y="1762127"/>
                    <a:pt x="2190786" y="1746846"/>
                    <a:pt x="2190786" y="1727995"/>
                  </a:cubicBezTo>
                  <a:cubicBezTo>
                    <a:pt x="2190786" y="1709144"/>
                    <a:pt x="2206066" y="1693863"/>
                    <a:pt x="2224919" y="1693863"/>
                  </a:cubicBezTo>
                  <a:close/>
                  <a:moveTo>
                    <a:pt x="2139203" y="1693863"/>
                  </a:moveTo>
                  <a:cubicBezTo>
                    <a:pt x="2158055" y="1693863"/>
                    <a:pt x="2173331" y="1709144"/>
                    <a:pt x="2173331" y="1727995"/>
                  </a:cubicBezTo>
                  <a:cubicBezTo>
                    <a:pt x="2173331" y="1746846"/>
                    <a:pt x="2158055" y="1762127"/>
                    <a:pt x="2139203" y="1762127"/>
                  </a:cubicBezTo>
                  <a:cubicBezTo>
                    <a:pt x="2120347" y="1762127"/>
                    <a:pt x="2105064" y="1746846"/>
                    <a:pt x="2105064" y="1727995"/>
                  </a:cubicBezTo>
                  <a:cubicBezTo>
                    <a:pt x="2105064" y="1709144"/>
                    <a:pt x="2120347" y="1693863"/>
                    <a:pt x="2139203" y="1693863"/>
                  </a:cubicBezTo>
                  <a:close/>
                  <a:moveTo>
                    <a:pt x="2055855" y="1693863"/>
                  </a:moveTo>
                  <a:cubicBezTo>
                    <a:pt x="2076010" y="1693863"/>
                    <a:pt x="2092362" y="1709144"/>
                    <a:pt x="2092362" y="1727995"/>
                  </a:cubicBezTo>
                  <a:cubicBezTo>
                    <a:pt x="2092362" y="1746846"/>
                    <a:pt x="2076010" y="1762127"/>
                    <a:pt x="2055855" y="1762127"/>
                  </a:cubicBezTo>
                  <a:cubicBezTo>
                    <a:pt x="2035696" y="1762127"/>
                    <a:pt x="2019341" y="1746846"/>
                    <a:pt x="2019341" y="1727995"/>
                  </a:cubicBezTo>
                  <a:cubicBezTo>
                    <a:pt x="2019341" y="1709144"/>
                    <a:pt x="2035696" y="1693863"/>
                    <a:pt x="2055855" y="1693863"/>
                  </a:cubicBezTo>
                  <a:close/>
                  <a:moveTo>
                    <a:pt x="1973301" y="1693863"/>
                  </a:moveTo>
                  <a:cubicBezTo>
                    <a:pt x="1992595" y="1693863"/>
                    <a:pt x="2008227" y="1709144"/>
                    <a:pt x="2008227" y="1727995"/>
                  </a:cubicBezTo>
                  <a:cubicBezTo>
                    <a:pt x="2008227" y="1746846"/>
                    <a:pt x="1992595" y="1762127"/>
                    <a:pt x="1973301" y="1762127"/>
                  </a:cubicBezTo>
                  <a:cubicBezTo>
                    <a:pt x="1954014" y="1762127"/>
                    <a:pt x="1938380" y="1746846"/>
                    <a:pt x="1938380" y="1727995"/>
                  </a:cubicBezTo>
                  <a:cubicBezTo>
                    <a:pt x="1938380" y="1709144"/>
                    <a:pt x="1954014" y="1693863"/>
                    <a:pt x="1973301" y="1693863"/>
                  </a:cubicBezTo>
                  <a:close/>
                  <a:moveTo>
                    <a:pt x="1888373" y="1693863"/>
                  </a:moveTo>
                  <a:cubicBezTo>
                    <a:pt x="1907222" y="1693863"/>
                    <a:pt x="1922503" y="1709144"/>
                    <a:pt x="1922503" y="1727995"/>
                  </a:cubicBezTo>
                  <a:cubicBezTo>
                    <a:pt x="1922503" y="1746846"/>
                    <a:pt x="1907222" y="1762127"/>
                    <a:pt x="1888373" y="1762127"/>
                  </a:cubicBezTo>
                  <a:cubicBezTo>
                    <a:pt x="1869524" y="1762127"/>
                    <a:pt x="1854243" y="1746846"/>
                    <a:pt x="1854243" y="1727995"/>
                  </a:cubicBezTo>
                  <a:cubicBezTo>
                    <a:pt x="1854243" y="1709144"/>
                    <a:pt x="1869524" y="1693863"/>
                    <a:pt x="1888373" y="1693863"/>
                  </a:cubicBezTo>
                  <a:close/>
                  <a:moveTo>
                    <a:pt x="1802656" y="1693863"/>
                  </a:moveTo>
                  <a:cubicBezTo>
                    <a:pt x="1821504" y="1693863"/>
                    <a:pt x="1836784" y="1709144"/>
                    <a:pt x="1836784" y="1727995"/>
                  </a:cubicBezTo>
                  <a:cubicBezTo>
                    <a:pt x="1836784" y="1746846"/>
                    <a:pt x="1821504" y="1762127"/>
                    <a:pt x="1802656" y="1762127"/>
                  </a:cubicBezTo>
                  <a:cubicBezTo>
                    <a:pt x="1783803" y="1762127"/>
                    <a:pt x="1768524" y="1746846"/>
                    <a:pt x="1768524" y="1727995"/>
                  </a:cubicBezTo>
                  <a:cubicBezTo>
                    <a:pt x="1768524" y="1709144"/>
                    <a:pt x="1783803" y="1693863"/>
                    <a:pt x="1802656" y="1693863"/>
                  </a:cubicBezTo>
                  <a:close/>
                  <a:moveTo>
                    <a:pt x="1719314" y="1693863"/>
                  </a:moveTo>
                  <a:cubicBezTo>
                    <a:pt x="1739480" y="1693863"/>
                    <a:pt x="1755825" y="1709144"/>
                    <a:pt x="1755825" y="1727995"/>
                  </a:cubicBezTo>
                  <a:cubicBezTo>
                    <a:pt x="1755825" y="1746846"/>
                    <a:pt x="1739480" y="1762127"/>
                    <a:pt x="1719314" y="1762127"/>
                  </a:cubicBezTo>
                  <a:cubicBezTo>
                    <a:pt x="1699147" y="1762127"/>
                    <a:pt x="1682803" y="1746846"/>
                    <a:pt x="1682803" y="1727995"/>
                  </a:cubicBezTo>
                  <a:cubicBezTo>
                    <a:pt x="1682803" y="1709144"/>
                    <a:pt x="1699147" y="1693863"/>
                    <a:pt x="1719314" y="1693863"/>
                  </a:cubicBezTo>
                  <a:close/>
                  <a:moveTo>
                    <a:pt x="1636768" y="1693863"/>
                  </a:moveTo>
                  <a:cubicBezTo>
                    <a:pt x="1656054" y="1693863"/>
                    <a:pt x="1671691" y="1709144"/>
                    <a:pt x="1671691" y="1727995"/>
                  </a:cubicBezTo>
                  <a:cubicBezTo>
                    <a:pt x="1671691" y="1746846"/>
                    <a:pt x="1656054" y="1762127"/>
                    <a:pt x="1636768" y="1762127"/>
                  </a:cubicBezTo>
                  <a:cubicBezTo>
                    <a:pt x="1617480" y="1762127"/>
                    <a:pt x="1601843" y="1746846"/>
                    <a:pt x="1601843" y="1727995"/>
                  </a:cubicBezTo>
                  <a:cubicBezTo>
                    <a:pt x="1601843" y="1709144"/>
                    <a:pt x="1617480" y="1693863"/>
                    <a:pt x="1636768" y="1693863"/>
                  </a:cubicBezTo>
                  <a:close/>
                  <a:moveTo>
                    <a:pt x="1551838" y="1693863"/>
                  </a:moveTo>
                  <a:cubicBezTo>
                    <a:pt x="1570689" y="1693863"/>
                    <a:pt x="1585970" y="1709144"/>
                    <a:pt x="1585970" y="1727995"/>
                  </a:cubicBezTo>
                  <a:cubicBezTo>
                    <a:pt x="1585970" y="1746846"/>
                    <a:pt x="1570689" y="1762127"/>
                    <a:pt x="1551838" y="1762127"/>
                  </a:cubicBezTo>
                  <a:cubicBezTo>
                    <a:pt x="1532987" y="1762127"/>
                    <a:pt x="1517707" y="1746846"/>
                    <a:pt x="1517707" y="1727995"/>
                  </a:cubicBezTo>
                  <a:cubicBezTo>
                    <a:pt x="1517707" y="1709144"/>
                    <a:pt x="1532987" y="1693863"/>
                    <a:pt x="1551838" y="1693863"/>
                  </a:cubicBezTo>
                  <a:close/>
                  <a:moveTo>
                    <a:pt x="1466114" y="1693863"/>
                  </a:moveTo>
                  <a:cubicBezTo>
                    <a:pt x="1484965" y="1693863"/>
                    <a:pt x="1500247" y="1709144"/>
                    <a:pt x="1500247" y="1727995"/>
                  </a:cubicBezTo>
                  <a:cubicBezTo>
                    <a:pt x="1500247" y="1746846"/>
                    <a:pt x="1484965" y="1762127"/>
                    <a:pt x="1466114" y="1762127"/>
                  </a:cubicBezTo>
                  <a:cubicBezTo>
                    <a:pt x="1447265" y="1762127"/>
                    <a:pt x="1431983" y="1746846"/>
                    <a:pt x="1431983" y="1727995"/>
                  </a:cubicBezTo>
                  <a:cubicBezTo>
                    <a:pt x="1431983" y="1709144"/>
                    <a:pt x="1447265" y="1693863"/>
                    <a:pt x="1466114" y="1693863"/>
                  </a:cubicBezTo>
                  <a:close/>
                  <a:moveTo>
                    <a:pt x="9138327" y="1606550"/>
                  </a:moveTo>
                  <a:cubicBezTo>
                    <a:pt x="9157178" y="1606550"/>
                    <a:pt x="9172459" y="1623253"/>
                    <a:pt x="9172459" y="1643857"/>
                  </a:cubicBezTo>
                  <a:cubicBezTo>
                    <a:pt x="9172459" y="1664461"/>
                    <a:pt x="9157178" y="1681164"/>
                    <a:pt x="9138327" y="1681164"/>
                  </a:cubicBezTo>
                  <a:cubicBezTo>
                    <a:pt x="9119476" y="1681164"/>
                    <a:pt x="9104195" y="1664461"/>
                    <a:pt x="9104195" y="1643857"/>
                  </a:cubicBezTo>
                  <a:cubicBezTo>
                    <a:pt x="9104195" y="1623253"/>
                    <a:pt x="9119476" y="1606550"/>
                    <a:pt x="9138327" y="1606550"/>
                  </a:cubicBezTo>
                  <a:close/>
                  <a:moveTo>
                    <a:pt x="8966877" y="1606550"/>
                  </a:moveTo>
                  <a:cubicBezTo>
                    <a:pt x="8985728" y="1606550"/>
                    <a:pt x="9001009" y="1623253"/>
                    <a:pt x="9001009" y="1643857"/>
                  </a:cubicBezTo>
                  <a:cubicBezTo>
                    <a:pt x="9001009" y="1664461"/>
                    <a:pt x="8985728" y="1681164"/>
                    <a:pt x="8966877" y="1681164"/>
                  </a:cubicBezTo>
                  <a:cubicBezTo>
                    <a:pt x="8948026" y="1681164"/>
                    <a:pt x="8932745" y="1664461"/>
                    <a:pt x="8932745" y="1643857"/>
                  </a:cubicBezTo>
                  <a:cubicBezTo>
                    <a:pt x="8932745" y="1623253"/>
                    <a:pt x="8948026" y="1606550"/>
                    <a:pt x="8966877" y="1606550"/>
                  </a:cubicBezTo>
                  <a:close/>
                  <a:moveTo>
                    <a:pt x="8884327" y="1606550"/>
                  </a:moveTo>
                  <a:cubicBezTo>
                    <a:pt x="8904931" y="1606550"/>
                    <a:pt x="8921634" y="1623253"/>
                    <a:pt x="8921634" y="1643857"/>
                  </a:cubicBezTo>
                  <a:cubicBezTo>
                    <a:pt x="8921634" y="1664461"/>
                    <a:pt x="8904931" y="1681164"/>
                    <a:pt x="8884327" y="1681164"/>
                  </a:cubicBezTo>
                  <a:cubicBezTo>
                    <a:pt x="8863723" y="1681164"/>
                    <a:pt x="8847020" y="1664461"/>
                    <a:pt x="8847020" y="1643857"/>
                  </a:cubicBezTo>
                  <a:cubicBezTo>
                    <a:pt x="8847020" y="1623253"/>
                    <a:pt x="8863723" y="1606550"/>
                    <a:pt x="8884327" y="1606550"/>
                  </a:cubicBezTo>
                  <a:close/>
                  <a:moveTo>
                    <a:pt x="8801777" y="1606550"/>
                  </a:moveTo>
                  <a:cubicBezTo>
                    <a:pt x="8820628" y="1606550"/>
                    <a:pt x="8835909" y="1623253"/>
                    <a:pt x="8835909" y="1643857"/>
                  </a:cubicBezTo>
                  <a:cubicBezTo>
                    <a:pt x="8835909" y="1664461"/>
                    <a:pt x="8820628" y="1681164"/>
                    <a:pt x="8801777" y="1681164"/>
                  </a:cubicBezTo>
                  <a:cubicBezTo>
                    <a:pt x="8782926" y="1681164"/>
                    <a:pt x="8767645" y="1664461"/>
                    <a:pt x="8767645" y="1643857"/>
                  </a:cubicBezTo>
                  <a:cubicBezTo>
                    <a:pt x="8767645" y="1623253"/>
                    <a:pt x="8782926" y="1606550"/>
                    <a:pt x="8801777" y="1606550"/>
                  </a:cubicBezTo>
                  <a:close/>
                  <a:moveTo>
                    <a:pt x="8716052" y="1606550"/>
                  </a:moveTo>
                  <a:cubicBezTo>
                    <a:pt x="8734903" y="1606550"/>
                    <a:pt x="8750184" y="1623253"/>
                    <a:pt x="8750184" y="1643857"/>
                  </a:cubicBezTo>
                  <a:cubicBezTo>
                    <a:pt x="8750184" y="1664461"/>
                    <a:pt x="8734903" y="1681164"/>
                    <a:pt x="8716052" y="1681164"/>
                  </a:cubicBezTo>
                  <a:cubicBezTo>
                    <a:pt x="8697201" y="1681164"/>
                    <a:pt x="8681920" y="1664461"/>
                    <a:pt x="8681920" y="1643857"/>
                  </a:cubicBezTo>
                  <a:cubicBezTo>
                    <a:pt x="8681920" y="1623253"/>
                    <a:pt x="8697201" y="1606550"/>
                    <a:pt x="8716052" y="1606550"/>
                  </a:cubicBezTo>
                  <a:close/>
                  <a:moveTo>
                    <a:pt x="8630327" y="1606550"/>
                  </a:moveTo>
                  <a:cubicBezTo>
                    <a:pt x="8649178" y="1606550"/>
                    <a:pt x="8664459" y="1623253"/>
                    <a:pt x="8664459" y="1643857"/>
                  </a:cubicBezTo>
                  <a:cubicBezTo>
                    <a:pt x="8664459" y="1664461"/>
                    <a:pt x="8649178" y="1681164"/>
                    <a:pt x="8630327" y="1681164"/>
                  </a:cubicBezTo>
                  <a:cubicBezTo>
                    <a:pt x="8611476" y="1681164"/>
                    <a:pt x="8596195" y="1664461"/>
                    <a:pt x="8596195" y="1643857"/>
                  </a:cubicBezTo>
                  <a:cubicBezTo>
                    <a:pt x="8596195" y="1623253"/>
                    <a:pt x="8611476" y="1606550"/>
                    <a:pt x="8630327" y="1606550"/>
                  </a:cubicBezTo>
                  <a:close/>
                  <a:moveTo>
                    <a:pt x="8544602" y="1606550"/>
                  </a:moveTo>
                  <a:cubicBezTo>
                    <a:pt x="8563453" y="1606550"/>
                    <a:pt x="8578734" y="1623253"/>
                    <a:pt x="8578734" y="1643857"/>
                  </a:cubicBezTo>
                  <a:cubicBezTo>
                    <a:pt x="8578734" y="1664461"/>
                    <a:pt x="8563453" y="1681164"/>
                    <a:pt x="8544602" y="1681164"/>
                  </a:cubicBezTo>
                  <a:cubicBezTo>
                    <a:pt x="8525751" y="1681164"/>
                    <a:pt x="8510470" y="1664461"/>
                    <a:pt x="8510470" y="1643857"/>
                  </a:cubicBezTo>
                  <a:cubicBezTo>
                    <a:pt x="8510470" y="1623253"/>
                    <a:pt x="8525751" y="1606550"/>
                    <a:pt x="8544602" y="1606550"/>
                  </a:cubicBezTo>
                  <a:close/>
                  <a:moveTo>
                    <a:pt x="8465227" y="1606550"/>
                  </a:moveTo>
                  <a:cubicBezTo>
                    <a:pt x="8484078" y="1606550"/>
                    <a:pt x="8499359" y="1623253"/>
                    <a:pt x="8499359" y="1643857"/>
                  </a:cubicBezTo>
                  <a:cubicBezTo>
                    <a:pt x="8499359" y="1664461"/>
                    <a:pt x="8484078" y="1681164"/>
                    <a:pt x="8465227" y="1681164"/>
                  </a:cubicBezTo>
                  <a:cubicBezTo>
                    <a:pt x="8446376" y="1681164"/>
                    <a:pt x="8431095" y="1664461"/>
                    <a:pt x="8431095" y="1643857"/>
                  </a:cubicBezTo>
                  <a:cubicBezTo>
                    <a:pt x="8431095" y="1623253"/>
                    <a:pt x="8446376" y="1606550"/>
                    <a:pt x="8465227" y="1606550"/>
                  </a:cubicBezTo>
                  <a:close/>
                  <a:moveTo>
                    <a:pt x="8379502" y="1606550"/>
                  </a:moveTo>
                  <a:cubicBezTo>
                    <a:pt x="8398353" y="1606550"/>
                    <a:pt x="8413634" y="1623253"/>
                    <a:pt x="8413634" y="1643857"/>
                  </a:cubicBezTo>
                  <a:cubicBezTo>
                    <a:pt x="8413634" y="1664461"/>
                    <a:pt x="8398353" y="1681164"/>
                    <a:pt x="8379502" y="1681164"/>
                  </a:cubicBezTo>
                  <a:cubicBezTo>
                    <a:pt x="8360651" y="1681164"/>
                    <a:pt x="8345370" y="1664461"/>
                    <a:pt x="8345370" y="1643857"/>
                  </a:cubicBezTo>
                  <a:cubicBezTo>
                    <a:pt x="8345370" y="1623253"/>
                    <a:pt x="8360651" y="1606550"/>
                    <a:pt x="8379502" y="1606550"/>
                  </a:cubicBezTo>
                  <a:close/>
                  <a:moveTo>
                    <a:pt x="8293777" y="1606550"/>
                  </a:moveTo>
                  <a:cubicBezTo>
                    <a:pt x="8312628" y="1606550"/>
                    <a:pt x="8327909" y="1623253"/>
                    <a:pt x="8327909" y="1643857"/>
                  </a:cubicBezTo>
                  <a:cubicBezTo>
                    <a:pt x="8327909" y="1664461"/>
                    <a:pt x="8312628" y="1681164"/>
                    <a:pt x="8293777" y="1681164"/>
                  </a:cubicBezTo>
                  <a:cubicBezTo>
                    <a:pt x="8274926" y="1681164"/>
                    <a:pt x="8259645" y="1664461"/>
                    <a:pt x="8259645" y="1643857"/>
                  </a:cubicBezTo>
                  <a:cubicBezTo>
                    <a:pt x="8259645" y="1623253"/>
                    <a:pt x="8274926" y="1606550"/>
                    <a:pt x="8293777" y="1606550"/>
                  </a:cubicBezTo>
                  <a:close/>
                  <a:moveTo>
                    <a:pt x="8208052" y="1606550"/>
                  </a:moveTo>
                  <a:cubicBezTo>
                    <a:pt x="8226903" y="1606550"/>
                    <a:pt x="8242184" y="1623253"/>
                    <a:pt x="8242184" y="1643857"/>
                  </a:cubicBezTo>
                  <a:cubicBezTo>
                    <a:pt x="8242184" y="1664461"/>
                    <a:pt x="8226903" y="1681164"/>
                    <a:pt x="8208052" y="1681164"/>
                  </a:cubicBezTo>
                  <a:cubicBezTo>
                    <a:pt x="8189201" y="1681164"/>
                    <a:pt x="8173920" y="1664461"/>
                    <a:pt x="8173920" y="1643857"/>
                  </a:cubicBezTo>
                  <a:cubicBezTo>
                    <a:pt x="8173920" y="1623253"/>
                    <a:pt x="8189201" y="1606550"/>
                    <a:pt x="8208052" y="1606550"/>
                  </a:cubicBezTo>
                  <a:close/>
                  <a:moveTo>
                    <a:pt x="8125502" y="1606550"/>
                  </a:moveTo>
                  <a:cubicBezTo>
                    <a:pt x="8146106" y="1606550"/>
                    <a:pt x="8162809" y="1623253"/>
                    <a:pt x="8162809" y="1643857"/>
                  </a:cubicBezTo>
                  <a:cubicBezTo>
                    <a:pt x="8162809" y="1664461"/>
                    <a:pt x="8146106" y="1681164"/>
                    <a:pt x="8125502" y="1681164"/>
                  </a:cubicBezTo>
                  <a:cubicBezTo>
                    <a:pt x="8104898" y="1681164"/>
                    <a:pt x="8088195" y="1664461"/>
                    <a:pt x="8088195" y="1643857"/>
                  </a:cubicBezTo>
                  <a:cubicBezTo>
                    <a:pt x="8088195" y="1623253"/>
                    <a:pt x="8104898" y="1606550"/>
                    <a:pt x="8125502" y="1606550"/>
                  </a:cubicBezTo>
                  <a:close/>
                  <a:moveTo>
                    <a:pt x="8042952" y="1606550"/>
                  </a:moveTo>
                  <a:cubicBezTo>
                    <a:pt x="8061803" y="1606550"/>
                    <a:pt x="8077084" y="1623253"/>
                    <a:pt x="8077084" y="1643857"/>
                  </a:cubicBezTo>
                  <a:cubicBezTo>
                    <a:pt x="8077084" y="1664461"/>
                    <a:pt x="8061803" y="1681164"/>
                    <a:pt x="8042952" y="1681164"/>
                  </a:cubicBezTo>
                  <a:cubicBezTo>
                    <a:pt x="8024101" y="1681164"/>
                    <a:pt x="8008820" y="1664461"/>
                    <a:pt x="8008820" y="1643857"/>
                  </a:cubicBezTo>
                  <a:cubicBezTo>
                    <a:pt x="8008820" y="1623253"/>
                    <a:pt x="8024101" y="1606550"/>
                    <a:pt x="8042952" y="1606550"/>
                  </a:cubicBezTo>
                  <a:close/>
                  <a:moveTo>
                    <a:pt x="7957227" y="1606550"/>
                  </a:moveTo>
                  <a:cubicBezTo>
                    <a:pt x="7976078" y="1606550"/>
                    <a:pt x="7991359" y="1623253"/>
                    <a:pt x="7991359" y="1643857"/>
                  </a:cubicBezTo>
                  <a:cubicBezTo>
                    <a:pt x="7991359" y="1664461"/>
                    <a:pt x="7976078" y="1681164"/>
                    <a:pt x="7957227" y="1681164"/>
                  </a:cubicBezTo>
                  <a:cubicBezTo>
                    <a:pt x="7938376" y="1681164"/>
                    <a:pt x="7923095" y="1664461"/>
                    <a:pt x="7923095" y="1643857"/>
                  </a:cubicBezTo>
                  <a:cubicBezTo>
                    <a:pt x="7923095" y="1623253"/>
                    <a:pt x="7938376" y="1606550"/>
                    <a:pt x="7957227" y="1606550"/>
                  </a:cubicBezTo>
                  <a:close/>
                  <a:moveTo>
                    <a:pt x="7785777" y="1606550"/>
                  </a:moveTo>
                  <a:cubicBezTo>
                    <a:pt x="7804628" y="1606550"/>
                    <a:pt x="7819909" y="1623253"/>
                    <a:pt x="7819909" y="1643857"/>
                  </a:cubicBezTo>
                  <a:cubicBezTo>
                    <a:pt x="7819909" y="1664461"/>
                    <a:pt x="7804628" y="1681164"/>
                    <a:pt x="7785777" y="1681164"/>
                  </a:cubicBezTo>
                  <a:cubicBezTo>
                    <a:pt x="7766926" y="1681164"/>
                    <a:pt x="7751645" y="1664461"/>
                    <a:pt x="7751645" y="1643857"/>
                  </a:cubicBezTo>
                  <a:cubicBezTo>
                    <a:pt x="7751645" y="1623253"/>
                    <a:pt x="7766926" y="1606550"/>
                    <a:pt x="7785777" y="1606550"/>
                  </a:cubicBezTo>
                  <a:close/>
                  <a:moveTo>
                    <a:pt x="7706402" y="1606550"/>
                  </a:moveTo>
                  <a:cubicBezTo>
                    <a:pt x="7725253" y="1606550"/>
                    <a:pt x="7740534" y="1623253"/>
                    <a:pt x="7740534" y="1643857"/>
                  </a:cubicBezTo>
                  <a:cubicBezTo>
                    <a:pt x="7740534" y="1664461"/>
                    <a:pt x="7725253" y="1681164"/>
                    <a:pt x="7706402" y="1681164"/>
                  </a:cubicBezTo>
                  <a:cubicBezTo>
                    <a:pt x="7687551" y="1681164"/>
                    <a:pt x="7672270" y="1664461"/>
                    <a:pt x="7672270" y="1643857"/>
                  </a:cubicBezTo>
                  <a:cubicBezTo>
                    <a:pt x="7672270" y="1623253"/>
                    <a:pt x="7687551" y="1606550"/>
                    <a:pt x="7706402" y="1606550"/>
                  </a:cubicBezTo>
                  <a:close/>
                  <a:moveTo>
                    <a:pt x="7620677" y="1606550"/>
                  </a:moveTo>
                  <a:cubicBezTo>
                    <a:pt x="7639528" y="1606550"/>
                    <a:pt x="7654809" y="1623253"/>
                    <a:pt x="7654809" y="1643857"/>
                  </a:cubicBezTo>
                  <a:cubicBezTo>
                    <a:pt x="7654809" y="1664461"/>
                    <a:pt x="7639528" y="1681164"/>
                    <a:pt x="7620677" y="1681164"/>
                  </a:cubicBezTo>
                  <a:cubicBezTo>
                    <a:pt x="7601826" y="1681164"/>
                    <a:pt x="7586545" y="1664461"/>
                    <a:pt x="7586545" y="1643857"/>
                  </a:cubicBezTo>
                  <a:cubicBezTo>
                    <a:pt x="7586545" y="1623253"/>
                    <a:pt x="7601826" y="1606550"/>
                    <a:pt x="7620677" y="1606550"/>
                  </a:cubicBezTo>
                  <a:close/>
                  <a:moveTo>
                    <a:pt x="7534952" y="1606550"/>
                  </a:moveTo>
                  <a:cubicBezTo>
                    <a:pt x="7553803" y="1606550"/>
                    <a:pt x="7569084" y="1623253"/>
                    <a:pt x="7569084" y="1643857"/>
                  </a:cubicBezTo>
                  <a:cubicBezTo>
                    <a:pt x="7569084" y="1664461"/>
                    <a:pt x="7553803" y="1681164"/>
                    <a:pt x="7534952" y="1681164"/>
                  </a:cubicBezTo>
                  <a:cubicBezTo>
                    <a:pt x="7516101" y="1681164"/>
                    <a:pt x="7500820" y="1664461"/>
                    <a:pt x="7500820" y="1643857"/>
                  </a:cubicBezTo>
                  <a:cubicBezTo>
                    <a:pt x="7500820" y="1623253"/>
                    <a:pt x="7516101" y="1606550"/>
                    <a:pt x="7534952" y="1606550"/>
                  </a:cubicBezTo>
                  <a:close/>
                  <a:moveTo>
                    <a:pt x="7449227" y="1606550"/>
                  </a:moveTo>
                  <a:cubicBezTo>
                    <a:pt x="7468078" y="1606550"/>
                    <a:pt x="7483359" y="1623253"/>
                    <a:pt x="7483359" y="1643857"/>
                  </a:cubicBezTo>
                  <a:cubicBezTo>
                    <a:pt x="7483359" y="1664461"/>
                    <a:pt x="7468078" y="1681164"/>
                    <a:pt x="7449227" y="1681164"/>
                  </a:cubicBezTo>
                  <a:cubicBezTo>
                    <a:pt x="7430376" y="1681164"/>
                    <a:pt x="7415095" y="1664461"/>
                    <a:pt x="7415095" y="1643857"/>
                  </a:cubicBezTo>
                  <a:cubicBezTo>
                    <a:pt x="7415095" y="1623253"/>
                    <a:pt x="7430376" y="1606550"/>
                    <a:pt x="7449227" y="1606550"/>
                  </a:cubicBezTo>
                  <a:close/>
                  <a:moveTo>
                    <a:pt x="7366677" y="1606550"/>
                  </a:moveTo>
                  <a:cubicBezTo>
                    <a:pt x="7387281" y="1606550"/>
                    <a:pt x="7403984" y="1623253"/>
                    <a:pt x="7403984" y="1643857"/>
                  </a:cubicBezTo>
                  <a:cubicBezTo>
                    <a:pt x="7403984" y="1664461"/>
                    <a:pt x="7387281" y="1681164"/>
                    <a:pt x="7366677" y="1681164"/>
                  </a:cubicBezTo>
                  <a:cubicBezTo>
                    <a:pt x="7346073" y="1681164"/>
                    <a:pt x="7329370" y="1664461"/>
                    <a:pt x="7329370" y="1643857"/>
                  </a:cubicBezTo>
                  <a:cubicBezTo>
                    <a:pt x="7329370" y="1623253"/>
                    <a:pt x="7346073" y="1606550"/>
                    <a:pt x="7366677" y="1606550"/>
                  </a:cubicBezTo>
                  <a:close/>
                  <a:moveTo>
                    <a:pt x="7284127" y="1606550"/>
                  </a:moveTo>
                  <a:cubicBezTo>
                    <a:pt x="7302978" y="1606550"/>
                    <a:pt x="7318259" y="1623253"/>
                    <a:pt x="7318259" y="1643857"/>
                  </a:cubicBezTo>
                  <a:cubicBezTo>
                    <a:pt x="7318259" y="1664461"/>
                    <a:pt x="7302978" y="1681164"/>
                    <a:pt x="7284127" y="1681164"/>
                  </a:cubicBezTo>
                  <a:cubicBezTo>
                    <a:pt x="7265276" y="1681164"/>
                    <a:pt x="7249995" y="1664461"/>
                    <a:pt x="7249995" y="1643857"/>
                  </a:cubicBezTo>
                  <a:cubicBezTo>
                    <a:pt x="7249995" y="1623253"/>
                    <a:pt x="7265276" y="1606550"/>
                    <a:pt x="7284127" y="1606550"/>
                  </a:cubicBezTo>
                  <a:close/>
                  <a:moveTo>
                    <a:pt x="7198402" y="1606550"/>
                  </a:moveTo>
                  <a:cubicBezTo>
                    <a:pt x="7217253" y="1606550"/>
                    <a:pt x="7232534" y="1623253"/>
                    <a:pt x="7232534" y="1643857"/>
                  </a:cubicBezTo>
                  <a:cubicBezTo>
                    <a:pt x="7232534" y="1664461"/>
                    <a:pt x="7217253" y="1681164"/>
                    <a:pt x="7198402" y="1681164"/>
                  </a:cubicBezTo>
                  <a:cubicBezTo>
                    <a:pt x="7179551" y="1681164"/>
                    <a:pt x="7164270" y="1664461"/>
                    <a:pt x="7164270" y="1643857"/>
                  </a:cubicBezTo>
                  <a:cubicBezTo>
                    <a:pt x="7164270" y="1623253"/>
                    <a:pt x="7179551" y="1606550"/>
                    <a:pt x="7198402" y="1606550"/>
                  </a:cubicBezTo>
                  <a:close/>
                  <a:moveTo>
                    <a:pt x="7112677" y="1606550"/>
                  </a:moveTo>
                  <a:cubicBezTo>
                    <a:pt x="7131528" y="1606550"/>
                    <a:pt x="7146809" y="1623253"/>
                    <a:pt x="7146809" y="1643857"/>
                  </a:cubicBezTo>
                  <a:cubicBezTo>
                    <a:pt x="7146809" y="1664461"/>
                    <a:pt x="7131528" y="1681164"/>
                    <a:pt x="7112677" y="1681164"/>
                  </a:cubicBezTo>
                  <a:cubicBezTo>
                    <a:pt x="7093826" y="1681164"/>
                    <a:pt x="7078545" y="1664461"/>
                    <a:pt x="7078545" y="1643857"/>
                  </a:cubicBezTo>
                  <a:cubicBezTo>
                    <a:pt x="7078545" y="1623253"/>
                    <a:pt x="7093826" y="1606550"/>
                    <a:pt x="7112677" y="1606550"/>
                  </a:cubicBezTo>
                  <a:close/>
                  <a:moveTo>
                    <a:pt x="7027745" y="1606550"/>
                  </a:moveTo>
                  <a:cubicBezTo>
                    <a:pt x="7047034" y="1606550"/>
                    <a:pt x="7062670" y="1623253"/>
                    <a:pt x="7062670" y="1643857"/>
                  </a:cubicBezTo>
                  <a:cubicBezTo>
                    <a:pt x="7062670" y="1664461"/>
                    <a:pt x="7047034" y="1681164"/>
                    <a:pt x="7027745" y="1681164"/>
                  </a:cubicBezTo>
                  <a:cubicBezTo>
                    <a:pt x="7008456" y="1681164"/>
                    <a:pt x="6992820" y="1664461"/>
                    <a:pt x="6992820" y="1643857"/>
                  </a:cubicBezTo>
                  <a:cubicBezTo>
                    <a:pt x="6992820" y="1623253"/>
                    <a:pt x="7008456" y="1606550"/>
                    <a:pt x="7027745" y="1606550"/>
                  </a:cubicBezTo>
                  <a:close/>
                  <a:moveTo>
                    <a:pt x="6947577" y="1606550"/>
                  </a:moveTo>
                  <a:cubicBezTo>
                    <a:pt x="6966428" y="1606550"/>
                    <a:pt x="6981709" y="1623253"/>
                    <a:pt x="6981709" y="1643857"/>
                  </a:cubicBezTo>
                  <a:cubicBezTo>
                    <a:pt x="6981709" y="1664461"/>
                    <a:pt x="6966428" y="1681164"/>
                    <a:pt x="6947577" y="1681164"/>
                  </a:cubicBezTo>
                  <a:cubicBezTo>
                    <a:pt x="6928726" y="1681164"/>
                    <a:pt x="6913445" y="1664461"/>
                    <a:pt x="6913445" y="1643857"/>
                  </a:cubicBezTo>
                  <a:cubicBezTo>
                    <a:pt x="6913445" y="1623253"/>
                    <a:pt x="6928726" y="1606550"/>
                    <a:pt x="6947577" y="1606550"/>
                  </a:cubicBezTo>
                  <a:close/>
                  <a:moveTo>
                    <a:pt x="6861852" y="1606550"/>
                  </a:moveTo>
                  <a:cubicBezTo>
                    <a:pt x="6880703" y="1606550"/>
                    <a:pt x="6895984" y="1623253"/>
                    <a:pt x="6895984" y="1643857"/>
                  </a:cubicBezTo>
                  <a:cubicBezTo>
                    <a:pt x="6895984" y="1664461"/>
                    <a:pt x="6880703" y="1681164"/>
                    <a:pt x="6861852" y="1681164"/>
                  </a:cubicBezTo>
                  <a:cubicBezTo>
                    <a:pt x="6843001" y="1681164"/>
                    <a:pt x="6827720" y="1664461"/>
                    <a:pt x="6827720" y="1643857"/>
                  </a:cubicBezTo>
                  <a:cubicBezTo>
                    <a:pt x="6827720" y="1623253"/>
                    <a:pt x="6843001" y="1606550"/>
                    <a:pt x="6861852" y="1606550"/>
                  </a:cubicBezTo>
                  <a:close/>
                  <a:moveTo>
                    <a:pt x="6776127" y="1606550"/>
                  </a:moveTo>
                  <a:cubicBezTo>
                    <a:pt x="6794978" y="1606550"/>
                    <a:pt x="6810259" y="1623253"/>
                    <a:pt x="6810259" y="1643857"/>
                  </a:cubicBezTo>
                  <a:cubicBezTo>
                    <a:pt x="6810259" y="1664461"/>
                    <a:pt x="6794978" y="1681164"/>
                    <a:pt x="6776127" y="1681164"/>
                  </a:cubicBezTo>
                  <a:cubicBezTo>
                    <a:pt x="6757276" y="1681164"/>
                    <a:pt x="6741995" y="1664461"/>
                    <a:pt x="6741995" y="1643857"/>
                  </a:cubicBezTo>
                  <a:cubicBezTo>
                    <a:pt x="6741995" y="1623253"/>
                    <a:pt x="6757276" y="1606550"/>
                    <a:pt x="6776127" y="1606550"/>
                  </a:cubicBezTo>
                  <a:close/>
                  <a:moveTo>
                    <a:pt x="6691195" y="1606550"/>
                  </a:moveTo>
                  <a:cubicBezTo>
                    <a:pt x="6710484" y="1606550"/>
                    <a:pt x="6726120" y="1623253"/>
                    <a:pt x="6726120" y="1643857"/>
                  </a:cubicBezTo>
                  <a:cubicBezTo>
                    <a:pt x="6726120" y="1664461"/>
                    <a:pt x="6710484" y="1681164"/>
                    <a:pt x="6691195" y="1681164"/>
                  </a:cubicBezTo>
                  <a:cubicBezTo>
                    <a:pt x="6671906" y="1681164"/>
                    <a:pt x="6656270" y="1664461"/>
                    <a:pt x="6656270" y="1643857"/>
                  </a:cubicBezTo>
                  <a:cubicBezTo>
                    <a:pt x="6656270" y="1623253"/>
                    <a:pt x="6671906" y="1606550"/>
                    <a:pt x="6691195" y="1606550"/>
                  </a:cubicBezTo>
                  <a:close/>
                  <a:moveTo>
                    <a:pt x="6607852" y="1606550"/>
                  </a:moveTo>
                  <a:cubicBezTo>
                    <a:pt x="6628456" y="1606550"/>
                    <a:pt x="6645159" y="1623253"/>
                    <a:pt x="6645159" y="1643857"/>
                  </a:cubicBezTo>
                  <a:cubicBezTo>
                    <a:pt x="6645159" y="1664461"/>
                    <a:pt x="6628456" y="1681164"/>
                    <a:pt x="6607852" y="1681164"/>
                  </a:cubicBezTo>
                  <a:cubicBezTo>
                    <a:pt x="6587248" y="1681164"/>
                    <a:pt x="6570545" y="1664461"/>
                    <a:pt x="6570545" y="1643857"/>
                  </a:cubicBezTo>
                  <a:cubicBezTo>
                    <a:pt x="6570545" y="1623253"/>
                    <a:pt x="6587248" y="1606550"/>
                    <a:pt x="6607852" y="1606550"/>
                  </a:cubicBezTo>
                  <a:close/>
                  <a:moveTo>
                    <a:pt x="6525302" y="1606550"/>
                  </a:moveTo>
                  <a:cubicBezTo>
                    <a:pt x="6544153" y="1606550"/>
                    <a:pt x="6559434" y="1623253"/>
                    <a:pt x="6559434" y="1643857"/>
                  </a:cubicBezTo>
                  <a:cubicBezTo>
                    <a:pt x="6559434" y="1664461"/>
                    <a:pt x="6544153" y="1681164"/>
                    <a:pt x="6525302" y="1681164"/>
                  </a:cubicBezTo>
                  <a:cubicBezTo>
                    <a:pt x="6506451" y="1681164"/>
                    <a:pt x="6491170" y="1664461"/>
                    <a:pt x="6491170" y="1643857"/>
                  </a:cubicBezTo>
                  <a:cubicBezTo>
                    <a:pt x="6491170" y="1623253"/>
                    <a:pt x="6506451" y="1606550"/>
                    <a:pt x="6525302" y="1606550"/>
                  </a:cubicBezTo>
                  <a:close/>
                  <a:moveTo>
                    <a:pt x="6439577" y="1606550"/>
                  </a:moveTo>
                  <a:cubicBezTo>
                    <a:pt x="6458428" y="1606550"/>
                    <a:pt x="6473709" y="1623253"/>
                    <a:pt x="6473709" y="1643857"/>
                  </a:cubicBezTo>
                  <a:cubicBezTo>
                    <a:pt x="6473709" y="1664461"/>
                    <a:pt x="6458428" y="1681164"/>
                    <a:pt x="6439577" y="1681164"/>
                  </a:cubicBezTo>
                  <a:cubicBezTo>
                    <a:pt x="6420726" y="1681164"/>
                    <a:pt x="6405445" y="1664461"/>
                    <a:pt x="6405445" y="1643857"/>
                  </a:cubicBezTo>
                  <a:cubicBezTo>
                    <a:pt x="6405445" y="1623253"/>
                    <a:pt x="6420726" y="1606550"/>
                    <a:pt x="6439577" y="1606550"/>
                  </a:cubicBezTo>
                  <a:close/>
                  <a:moveTo>
                    <a:pt x="6353852" y="1606550"/>
                  </a:moveTo>
                  <a:cubicBezTo>
                    <a:pt x="6372703" y="1606550"/>
                    <a:pt x="6387984" y="1623253"/>
                    <a:pt x="6387984" y="1643857"/>
                  </a:cubicBezTo>
                  <a:cubicBezTo>
                    <a:pt x="6387984" y="1664461"/>
                    <a:pt x="6372703" y="1681164"/>
                    <a:pt x="6353852" y="1681164"/>
                  </a:cubicBezTo>
                  <a:cubicBezTo>
                    <a:pt x="6335001" y="1681164"/>
                    <a:pt x="6319720" y="1664461"/>
                    <a:pt x="6319720" y="1643857"/>
                  </a:cubicBezTo>
                  <a:cubicBezTo>
                    <a:pt x="6319720" y="1623253"/>
                    <a:pt x="6335001" y="1606550"/>
                    <a:pt x="6353852" y="1606550"/>
                  </a:cubicBezTo>
                  <a:close/>
                  <a:moveTo>
                    <a:pt x="6268920" y="1606550"/>
                  </a:moveTo>
                  <a:cubicBezTo>
                    <a:pt x="6288209" y="1606550"/>
                    <a:pt x="6303845" y="1623253"/>
                    <a:pt x="6303845" y="1643857"/>
                  </a:cubicBezTo>
                  <a:cubicBezTo>
                    <a:pt x="6303845" y="1664461"/>
                    <a:pt x="6288209" y="1681164"/>
                    <a:pt x="6268920" y="1681164"/>
                  </a:cubicBezTo>
                  <a:cubicBezTo>
                    <a:pt x="6249631" y="1681164"/>
                    <a:pt x="6233995" y="1664461"/>
                    <a:pt x="6233995" y="1643857"/>
                  </a:cubicBezTo>
                  <a:cubicBezTo>
                    <a:pt x="6233995" y="1623253"/>
                    <a:pt x="6249631" y="1606550"/>
                    <a:pt x="6268920" y="1606550"/>
                  </a:cubicBezTo>
                  <a:close/>
                  <a:moveTo>
                    <a:pt x="6188752" y="1606550"/>
                  </a:moveTo>
                  <a:cubicBezTo>
                    <a:pt x="6207603" y="1606550"/>
                    <a:pt x="6222884" y="1623253"/>
                    <a:pt x="6222884" y="1643857"/>
                  </a:cubicBezTo>
                  <a:cubicBezTo>
                    <a:pt x="6222884" y="1664461"/>
                    <a:pt x="6207603" y="1681164"/>
                    <a:pt x="6188752" y="1681164"/>
                  </a:cubicBezTo>
                  <a:cubicBezTo>
                    <a:pt x="6169901" y="1681164"/>
                    <a:pt x="6154620" y="1664461"/>
                    <a:pt x="6154620" y="1643857"/>
                  </a:cubicBezTo>
                  <a:cubicBezTo>
                    <a:pt x="6154620" y="1623253"/>
                    <a:pt x="6169901" y="1606550"/>
                    <a:pt x="6188752" y="1606550"/>
                  </a:cubicBezTo>
                  <a:close/>
                  <a:moveTo>
                    <a:pt x="6103027" y="1606550"/>
                  </a:moveTo>
                  <a:cubicBezTo>
                    <a:pt x="6121878" y="1606550"/>
                    <a:pt x="6137159" y="1623253"/>
                    <a:pt x="6137159" y="1643857"/>
                  </a:cubicBezTo>
                  <a:cubicBezTo>
                    <a:pt x="6137159" y="1664461"/>
                    <a:pt x="6121878" y="1681164"/>
                    <a:pt x="6103027" y="1681164"/>
                  </a:cubicBezTo>
                  <a:cubicBezTo>
                    <a:pt x="6084176" y="1681164"/>
                    <a:pt x="6068895" y="1664461"/>
                    <a:pt x="6068895" y="1643857"/>
                  </a:cubicBezTo>
                  <a:cubicBezTo>
                    <a:pt x="6068895" y="1623253"/>
                    <a:pt x="6084176" y="1606550"/>
                    <a:pt x="6103027" y="1606550"/>
                  </a:cubicBezTo>
                  <a:close/>
                  <a:moveTo>
                    <a:pt x="6017302" y="1606550"/>
                  </a:moveTo>
                  <a:cubicBezTo>
                    <a:pt x="6036153" y="1606550"/>
                    <a:pt x="6051434" y="1623253"/>
                    <a:pt x="6051434" y="1643857"/>
                  </a:cubicBezTo>
                  <a:cubicBezTo>
                    <a:pt x="6051434" y="1664461"/>
                    <a:pt x="6036153" y="1681164"/>
                    <a:pt x="6017302" y="1681164"/>
                  </a:cubicBezTo>
                  <a:cubicBezTo>
                    <a:pt x="5998451" y="1681164"/>
                    <a:pt x="5983170" y="1664461"/>
                    <a:pt x="5983170" y="1643857"/>
                  </a:cubicBezTo>
                  <a:cubicBezTo>
                    <a:pt x="5983170" y="1623253"/>
                    <a:pt x="5998451" y="1606550"/>
                    <a:pt x="6017302" y="1606550"/>
                  </a:cubicBezTo>
                  <a:close/>
                  <a:moveTo>
                    <a:pt x="5932370" y="1606550"/>
                  </a:moveTo>
                  <a:cubicBezTo>
                    <a:pt x="5951659" y="1606550"/>
                    <a:pt x="5967295" y="1623253"/>
                    <a:pt x="5967295" y="1643857"/>
                  </a:cubicBezTo>
                  <a:cubicBezTo>
                    <a:pt x="5967295" y="1664461"/>
                    <a:pt x="5951659" y="1681164"/>
                    <a:pt x="5932370" y="1681164"/>
                  </a:cubicBezTo>
                  <a:cubicBezTo>
                    <a:pt x="5913081" y="1681164"/>
                    <a:pt x="5897445" y="1664461"/>
                    <a:pt x="5897445" y="1643857"/>
                  </a:cubicBezTo>
                  <a:cubicBezTo>
                    <a:pt x="5897445" y="1623253"/>
                    <a:pt x="5913081" y="1606550"/>
                    <a:pt x="5932370" y="1606550"/>
                  </a:cubicBezTo>
                  <a:close/>
                  <a:moveTo>
                    <a:pt x="5849821" y="1606550"/>
                  </a:moveTo>
                  <a:cubicBezTo>
                    <a:pt x="5869987" y="1606550"/>
                    <a:pt x="5886334" y="1623253"/>
                    <a:pt x="5886334" y="1643857"/>
                  </a:cubicBezTo>
                  <a:cubicBezTo>
                    <a:pt x="5886334" y="1664461"/>
                    <a:pt x="5869987" y="1681164"/>
                    <a:pt x="5849821" y="1681164"/>
                  </a:cubicBezTo>
                  <a:cubicBezTo>
                    <a:pt x="5829655" y="1681164"/>
                    <a:pt x="5813308" y="1664461"/>
                    <a:pt x="5813308" y="1643857"/>
                  </a:cubicBezTo>
                  <a:cubicBezTo>
                    <a:pt x="5813308" y="1623253"/>
                    <a:pt x="5829655" y="1606550"/>
                    <a:pt x="5849821" y="1606550"/>
                  </a:cubicBezTo>
                  <a:close/>
                  <a:moveTo>
                    <a:pt x="5766477" y="1606550"/>
                  </a:moveTo>
                  <a:cubicBezTo>
                    <a:pt x="5785328" y="1606550"/>
                    <a:pt x="5800609" y="1623253"/>
                    <a:pt x="5800609" y="1643857"/>
                  </a:cubicBezTo>
                  <a:cubicBezTo>
                    <a:pt x="5800609" y="1664461"/>
                    <a:pt x="5785328" y="1681164"/>
                    <a:pt x="5766477" y="1681164"/>
                  </a:cubicBezTo>
                  <a:cubicBezTo>
                    <a:pt x="5747626" y="1681164"/>
                    <a:pt x="5732345" y="1664461"/>
                    <a:pt x="5732345" y="1643857"/>
                  </a:cubicBezTo>
                  <a:cubicBezTo>
                    <a:pt x="5732345" y="1623253"/>
                    <a:pt x="5747626" y="1606550"/>
                    <a:pt x="5766477" y="1606550"/>
                  </a:cubicBezTo>
                  <a:close/>
                  <a:moveTo>
                    <a:pt x="5680752" y="1606550"/>
                  </a:moveTo>
                  <a:cubicBezTo>
                    <a:pt x="5699603" y="1606550"/>
                    <a:pt x="5714884" y="1623253"/>
                    <a:pt x="5714884" y="1643857"/>
                  </a:cubicBezTo>
                  <a:cubicBezTo>
                    <a:pt x="5714884" y="1664461"/>
                    <a:pt x="5699603" y="1681164"/>
                    <a:pt x="5680752" y="1681164"/>
                  </a:cubicBezTo>
                  <a:cubicBezTo>
                    <a:pt x="5661901" y="1681164"/>
                    <a:pt x="5646620" y="1664461"/>
                    <a:pt x="5646620" y="1643857"/>
                  </a:cubicBezTo>
                  <a:cubicBezTo>
                    <a:pt x="5646620" y="1623253"/>
                    <a:pt x="5661901" y="1606550"/>
                    <a:pt x="5680752" y="1606550"/>
                  </a:cubicBezTo>
                  <a:close/>
                  <a:moveTo>
                    <a:pt x="5595820" y="1606550"/>
                  </a:moveTo>
                  <a:cubicBezTo>
                    <a:pt x="5615109" y="1606550"/>
                    <a:pt x="5630745" y="1623253"/>
                    <a:pt x="5630745" y="1643857"/>
                  </a:cubicBezTo>
                  <a:cubicBezTo>
                    <a:pt x="5630745" y="1664461"/>
                    <a:pt x="5615109" y="1681164"/>
                    <a:pt x="5595820" y="1681164"/>
                  </a:cubicBezTo>
                  <a:cubicBezTo>
                    <a:pt x="5576531" y="1681164"/>
                    <a:pt x="5560895" y="1664461"/>
                    <a:pt x="5560895" y="1643857"/>
                  </a:cubicBezTo>
                  <a:cubicBezTo>
                    <a:pt x="5560895" y="1623253"/>
                    <a:pt x="5576531" y="1606550"/>
                    <a:pt x="5595820" y="1606550"/>
                  </a:cubicBezTo>
                  <a:close/>
                  <a:moveTo>
                    <a:pt x="5510095" y="1606550"/>
                  </a:moveTo>
                  <a:cubicBezTo>
                    <a:pt x="5529384" y="1606550"/>
                    <a:pt x="5545020" y="1623253"/>
                    <a:pt x="5545020" y="1643857"/>
                  </a:cubicBezTo>
                  <a:cubicBezTo>
                    <a:pt x="5545020" y="1664461"/>
                    <a:pt x="5529384" y="1681164"/>
                    <a:pt x="5510095" y="1681164"/>
                  </a:cubicBezTo>
                  <a:cubicBezTo>
                    <a:pt x="5490806" y="1681164"/>
                    <a:pt x="5475170" y="1664461"/>
                    <a:pt x="5475170" y="1643857"/>
                  </a:cubicBezTo>
                  <a:cubicBezTo>
                    <a:pt x="5475170" y="1623253"/>
                    <a:pt x="5490806" y="1606550"/>
                    <a:pt x="5510095" y="1606550"/>
                  </a:cubicBezTo>
                  <a:close/>
                  <a:moveTo>
                    <a:pt x="5429927" y="1606550"/>
                  </a:moveTo>
                  <a:cubicBezTo>
                    <a:pt x="5448778" y="1606550"/>
                    <a:pt x="5464059" y="1623253"/>
                    <a:pt x="5464059" y="1643857"/>
                  </a:cubicBezTo>
                  <a:cubicBezTo>
                    <a:pt x="5464059" y="1664461"/>
                    <a:pt x="5448778" y="1681164"/>
                    <a:pt x="5429927" y="1681164"/>
                  </a:cubicBezTo>
                  <a:cubicBezTo>
                    <a:pt x="5411076" y="1681164"/>
                    <a:pt x="5395795" y="1664461"/>
                    <a:pt x="5395795" y="1643857"/>
                  </a:cubicBezTo>
                  <a:cubicBezTo>
                    <a:pt x="5395795" y="1623253"/>
                    <a:pt x="5411076" y="1606550"/>
                    <a:pt x="5429927" y="1606550"/>
                  </a:cubicBezTo>
                  <a:close/>
                  <a:moveTo>
                    <a:pt x="5344202" y="1606550"/>
                  </a:moveTo>
                  <a:cubicBezTo>
                    <a:pt x="5363053" y="1606550"/>
                    <a:pt x="5378334" y="1623253"/>
                    <a:pt x="5378334" y="1643857"/>
                  </a:cubicBezTo>
                  <a:cubicBezTo>
                    <a:pt x="5378334" y="1664461"/>
                    <a:pt x="5363053" y="1681164"/>
                    <a:pt x="5344202" y="1681164"/>
                  </a:cubicBezTo>
                  <a:cubicBezTo>
                    <a:pt x="5325351" y="1681164"/>
                    <a:pt x="5310070" y="1664461"/>
                    <a:pt x="5310070" y="1643857"/>
                  </a:cubicBezTo>
                  <a:cubicBezTo>
                    <a:pt x="5310070" y="1623253"/>
                    <a:pt x="5325351" y="1606550"/>
                    <a:pt x="5344202" y="1606550"/>
                  </a:cubicBezTo>
                  <a:close/>
                  <a:moveTo>
                    <a:pt x="5258477" y="1606550"/>
                  </a:moveTo>
                  <a:cubicBezTo>
                    <a:pt x="5277328" y="1606550"/>
                    <a:pt x="5292609" y="1623253"/>
                    <a:pt x="5292609" y="1643857"/>
                  </a:cubicBezTo>
                  <a:cubicBezTo>
                    <a:pt x="5292609" y="1664461"/>
                    <a:pt x="5277328" y="1681164"/>
                    <a:pt x="5258477" y="1681164"/>
                  </a:cubicBezTo>
                  <a:cubicBezTo>
                    <a:pt x="5239626" y="1681164"/>
                    <a:pt x="5224345" y="1664461"/>
                    <a:pt x="5224345" y="1643857"/>
                  </a:cubicBezTo>
                  <a:cubicBezTo>
                    <a:pt x="5224345" y="1623253"/>
                    <a:pt x="5239626" y="1606550"/>
                    <a:pt x="5258477" y="1606550"/>
                  </a:cubicBezTo>
                  <a:close/>
                  <a:moveTo>
                    <a:pt x="4921927" y="1606550"/>
                  </a:moveTo>
                  <a:cubicBezTo>
                    <a:pt x="4940778" y="1606550"/>
                    <a:pt x="4956059" y="1623253"/>
                    <a:pt x="4956059" y="1643857"/>
                  </a:cubicBezTo>
                  <a:cubicBezTo>
                    <a:pt x="4956059" y="1664461"/>
                    <a:pt x="4940778" y="1681164"/>
                    <a:pt x="4921927" y="1681164"/>
                  </a:cubicBezTo>
                  <a:cubicBezTo>
                    <a:pt x="4903076" y="1681164"/>
                    <a:pt x="4887795" y="1664461"/>
                    <a:pt x="4887795" y="1643857"/>
                  </a:cubicBezTo>
                  <a:cubicBezTo>
                    <a:pt x="4887795" y="1623253"/>
                    <a:pt x="4903076" y="1606550"/>
                    <a:pt x="4921927" y="1606550"/>
                  </a:cubicBezTo>
                  <a:close/>
                  <a:moveTo>
                    <a:pt x="4752065" y="1606550"/>
                  </a:moveTo>
                  <a:cubicBezTo>
                    <a:pt x="4770916" y="1606550"/>
                    <a:pt x="4786197" y="1623253"/>
                    <a:pt x="4786197" y="1643857"/>
                  </a:cubicBezTo>
                  <a:cubicBezTo>
                    <a:pt x="4786197" y="1664461"/>
                    <a:pt x="4770916" y="1681164"/>
                    <a:pt x="4752065" y="1681164"/>
                  </a:cubicBezTo>
                  <a:cubicBezTo>
                    <a:pt x="4733214" y="1681164"/>
                    <a:pt x="4717933" y="1664461"/>
                    <a:pt x="4717933" y="1643857"/>
                  </a:cubicBezTo>
                  <a:cubicBezTo>
                    <a:pt x="4717933" y="1623253"/>
                    <a:pt x="4733214" y="1606550"/>
                    <a:pt x="4752065" y="1606550"/>
                  </a:cubicBezTo>
                  <a:close/>
                  <a:moveTo>
                    <a:pt x="3405070" y="1606550"/>
                  </a:moveTo>
                  <a:cubicBezTo>
                    <a:pt x="3424359" y="1606550"/>
                    <a:pt x="3439995" y="1623253"/>
                    <a:pt x="3439995" y="1643857"/>
                  </a:cubicBezTo>
                  <a:cubicBezTo>
                    <a:pt x="3439995" y="1664461"/>
                    <a:pt x="3424359" y="1681164"/>
                    <a:pt x="3405070" y="1681164"/>
                  </a:cubicBezTo>
                  <a:cubicBezTo>
                    <a:pt x="3385781" y="1681164"/>
                    <a:pt x="3370145" y="1664461"/>
                    <a:pt x="3370145" y="1643857"/>
                  </a:cubicBezTo>
                  <a:cubicBezTo>
                    <a:pt x="3370145" y="1623253"/>
                    <a:pt x="3385781" y="1606550"/>
                    <a:pt x="3405070" y="1606550"/>
                  </a:cubicBezTo>
                  <a:close/>
                  <a:moveTo>
                    <a:pt x="3320139" y="1606550"/>
                  </a:moveTo>
                  <a:cubicBezTo>
                    <a:pt x="3338990" y="1606550"/>
                    <a:pt x="3354271" y="1623253"/>
                    <a:pt x="3354271" y="1643857"/>
                  </a:cubicBezTo>
                  <a:cubicBezTo>
                    <a:pt x="3354271" y="1664461"/>
                    <a:pt x="3338990" y="1681164"/>
                    <a:pt x="3320139" y="1681164"/>
                  </a:cubicBezTo>
                  <a:cubicBezTo>
                    <a:pt x="3301288" y="1681164"/>
                    <a:pt x="3286007" y="1664461"/>
                    <a:pt x="3286007" y="1643857"/>
                  </a:cubicBezTo>
                  <a:cubicBezTo>
                    <a:pt x="3286007" y="1623253"/>
                    <a:pt x="3301288" y="1606550"/>
                    <a:pt x="3320139" y="1606550"/>
                  </a:cubicBezTo>
                  <a:close/>
                  <a:moveTo>
                    <a:pt x="3234414" y="1606550"/>
                  </a:moveTo>
                  <a:cubicBezTo>
                    <a:pt x="3253265" y="1606550"/>
                    <a:pt x="3268546" y="1623253"/>
                    <a:pt x="3268546" y="1643857"/>
                  </a:cubicBezTo>
                  <a:cubicBezTo>
                    <a:pt x="3268546" y="1664461"/>
                    <a:pt x="3253265" y="1681164"/>
                    <a:pt x="3234414" y="1681164"/>
                  </a:cubicBezTo>
                  <a:cubicBezTo>
                    <a:pt x="3215563" y="1681164"/>
                    <a:pt x="3200282" y="1664461"/>
                    <a:pt x="3200282" y="1643857"/>
                  </a:cubicBezTo>
                  <a:cubicBezTo>
                    <a:pt x="3200282" y="1623253"/>
                    <a:pt x="3215563" y="1606550"/>
                    <a:pt x="3234414" y="1606550"/>
                  </a:cubicBezTo>
                  <a:close/>
                  <a:moveTo>
                    <a:pt x="3153452" y="1606550"/>
                  </a:moveTo>
                  <a:cubicBezTo>
                    <a:pt x="3172303" y="1606550"/>
                    <a:pt x="3187584" y="1623253"/>
                    <a:pt x="3187584" y="1643857"/>
                  </a:cubicBezTo>
                  <a:cubicBezTo>
                    <a:pt x="3187584" y="1664461"/>
                    <a:pt x="3172303" y="1681164"/>
                    <a:pt x="3153452" y="1681164"/>
                  </a:cubicBezTo>
                  <a:cubicBezTo>
                    <a:pt x="3134601" y="1681164"/>
                    <a:pt x="3119320" y="1664461"/>
                    <a:pt x="3119320" y="1643857"/>
                  </a:cubicBezTo>
                  <a:cubicBezTo>
                    <a:pt x="3119320" y="1623253"/>
                    <a:pt x="3134601" y="1606550"/>
                    <a:pt x="3153452" y="1606550"/>
                  </a:cubicBezTo>
                  <a:close/>
                  <a:moveTo>
                    <a:pt x="3068520" y="1606550"/>
                  </a:moveTo>
                  <a:cubicBezTo>
                    <a:pt x="3087809" y="1606550"/>
                    <a:pt x="3103445" y="1623253"/>
                    <a:pt x="3103445" y="1643857"/>
                  </a:cubicBezTo>
                  <a:cubicBezTo>
                    <a:pt x="3103445" y="1664461"/>
                    <a:pt x="3087809" y="1681164"/>
                    <a:pt x="3068520" y="1681164"/>
                  </a:cubicBezTo>
                  <a:cubicBezTo>
                    <a:pt x="3049231" y="1681164"/>
                    <a:pt x="3033595" y="1664461"/>
                    <a:pt x="3033595" y="1643857"/>
                  </a:cubicBezTo>
                  <a:cubicBezTo>
                    <a:pt x="3033595" y="1623253"/>
                    <a:pt x="3049231" y="1606550"/>
                    <a:pt x="3068520" y="1606550"/>
                  </a:cubicBezTo>
                  <a:close/>
                  <a:moveTo>
                    <a:pt x="2983589" y="1606550"/>
                  </a:moveTo>
                  <a:cubicBezTo>
                    <a:pt x="3002440" y="1606550"/>
                    <a:pt x="3017721" y="1623253"/>
                    <a:pt x="3017721" y="1643857"/>
                  </a:cubicBezTo>
                  <a:cubicBezTo>
                    <a:pt x="3017721" y="1664461"/>
                    <a:pt x="3002440" y="1681164"/>
                    <a:pt x="2983589" y="1681164"/>
                  </a:cubicBezTo>
                  <a:cubicBezTo>
                    <a:pt x="2964738" y="1681164"/>
                    <a:pt x="2949457" y="1664461"/>
                    <a:pt x="2949457" y="1643857"/>
                  </a:cubicBezTo>
                  <a:cubicBezTo>
                    <a:pt x="2949457" y="1623253"/>
                    <a:pt x="2964738" y="1606550"/>
                    <a:pt x="2983589" y="1606550"/>
                  </a:cubicBezTo>
                  <a:close/>
                  <a:moveTo>
                    <a:pt x="2897864" y="1606550"/>
                  </a:moveTo>
                  <a:cubicBezTo>
                    <a:pt x="2916715" y="1606550"/>
                    <a:pt x="2931996" y="1623253"/>
                    <a:pt x="2931996" y="1643857"/>
                  </a:cubicBezTo>
                  <a:cubicBezTo>
                    <a:pt x="2931996" y="1664461"/>
                    <a:pt x="2916715" y="1681164"/>
                    <a:pt x="2897864" y="1681164"/>
                  </a:cubicBezTo>
                  <a:cubicBezTo>
                    <a:pt x="2879013" y="1681164"/>
                    <a:pt x="2863732" y="1664461"/>
                    <a:pt x="2863732" y="1643857"/>
                  </a:cubicBezTo>
                  <a:cubicBezTo>
                    <a:pt x="2863732" y="1623253"/>
                    <a:pt x="2879013" y="1606550"/>
                    <a:pt x="2897864" y="1606550"/>
                  </a:cubicBezTo>
                  <a:close/>
                  <a:moveTo>
                    <a:pt x="2814520" y="1606550"/>
                  </a:moveTo>
                  <a:cubicBezTo>
                    <a:pt x="2834686" y="1606550"/>
                    <a:pt x="2851033" y="1623253"/>
                    <a:pt x="2851033" y="1643857"/>
                  </a:cubicBezTo>
                  <a:cubicBezTo>
                    <a:pt x="2851033" y="1664461"/>
                    <a:pt x="2834686" y="1681164"/>
                    <a:pt x="2814520" y="1681164"/>
                  </a:cubicBezTo>
                  <a:cubicBezTo>
                    <a:pt x="2794354" y="1681164"/>
                    <a:pt x="2778007" y="1664461"/>
                    <a:pt x="2778007" y="1643857"/>
                  </a:cubicBezTo>
                  <a:cubicBezTo>
                    <a:pt x="2778007" y="1623253"/>
                    <a:pt x="2794354" y="1606550"/>
                    <a:pt x="2814520" y="1606550"/>
                  </a:cubicBezTo>
                  <a:close/>
                  <a:moveTo>
                    <a:pt x="2646410" y="1606550"/>
                  </a:moveTo>
                  <a:cubicBezTo>
                    <a:pt x="2665696" y="1606550"/>
                    <a:pt x="2681334" y="1623253"/>
                    <a:pt x="2681334" y="1643857"/>
                  </a:cubicBezTo>
                  <a:cubicBezTo>
                    <a:pt x="2681334" y="1664461"/>
                    <a:pt x="2665696" y="1681164"/>
                    <a:pt x="2646410" y="1681164"/>
                  </a:cubicBezTo>
                  <a:cubicBezTo>
                    <a:pt x="2627123" y="1681164"/>
                    <a:pt x="2611483" y="1664461"/>
                    <a:pt x="2611483" y="1643857"/>
                  </a:cubicBezTo>
                  <a:cubicBezTo>
                    <a:pt x="2611483" y="1623253"/>
                    <a:pt x="2627123" y="1606550"/>
                    <a:pt x="2646410" y="1606550"/>
                  </a:cubicBezTo>
                  <a:close/>
                  <a:moveTo>
                    <a:pt x="2561479" y="1606550"/>
                  </a:moveTo>
                  <a:cubicBezTo>
                    <a:pt x="2580330" y="1606550"/>
                    <a:pt x="2595609" y="1623253"/>
                    <a:pt x="2595609" y="1643857"/>
                  </a:cubicBezTo>
                  <a:cubicBezTo>
                    <a:pt x="2595609" y="1664461"/>
                    <a:pt x="2580330" y="1681164"/>
                    <a:pt x="2561479" y="1681164"/>
                  </a:cubicBezTo>
                  <a:cubicBezTo>
                    <a:pt x="2542628" y="1681164"/>
                    <a:pt x="2527342" y="1664461"/>
                    <a:pt x="2527342" y="1643857"/>
                  </a:cubicBezTo>
                  <a:cubicBezTo>
                    <a:pt x="2527342" y="1623253"/>
                    <a:pt x="2542628" y="1606550"/>
                    <a:pt x="2561479" y="1606550"/>
                  </a:cubicBezTo>
                  <a:close/>
                  <a:moveTo>
                    <a:pt x="2309856" y="1606550"/>
                  </a:moveTo>
                  <a:cubicBezTo>
                    <a:pt x="2329141" y="1606550"/>
                    <a:pt x="2344781" y="1623253"/>
                    <a:pt x="2344781" y="1643857"/>
                  </a:cubicBezTo>
                  <a:cubicBezTo>
                    <a:pt x="2344781" y="1664461"/>
                    <a:pt x="2329141" y="1681164"/>
                    <a:pt x="2309856" y="1681164"/>
                  </a:cubicBezTo>
                  <a:cubicBezTo>
                    <a:pt x="2290564" y="1681164"/>
                    <a:pt x="2274920" y="1664461"/>
                    <a:pt x="2274920" y="1643857"/>
                  </a:cubicBezTo>
                  <a:cubicBezTo>
                    <a:pt x="2274920" y="1623253"/>
                    <a:pt x="2290564" y="1606550"/>
                    <a:pt x="2309856" y="1606550"/>
                  </a:cubicBezTo>
                  <a:close/>
                  <a:moveTo>
                    <a:pt x="2139044" y="1606550"/>
                  </a:moveTo>
                  <a:cubicBezTo>
                    <a:pt x="2157894" y="1606550"/>
                    <a:pt x="2173176" y="1623253"/>
                    <a:pt x="2173176" y="1643857"/>
                  </a:cubicBezTo>
                  <a:cubicBezTo>
                    <a:pt x="2173176" y="1664461"/>
                    <a:pt x="2157894" y="1681164"/>
                    <a:pt x="2139044" y="1681164"/>
                  </a:cubicBezTo>
                  <a:cubicBezTo>
                    <a:pt x="2120193" y="1681164"/>
                    <a:pt x="2104912" y="1664461"/>
                    <a:pt x="2104912" y="1643857"/>
                  </a:cubicBezTo>
                  <a:cubicBezTo>
                    <a:pt x="2104912" y="1623253"/>
                    <a:pt x="2120193" y="1606550"/>
                    <a:pt x="2139044" y="1606550"/>
                  </a:cubicBezTo>
                  <a:close/>
                  <a:moveTo>
                    <a:pt x="2055700" y="1606550"/>
                  </a:moveTo>
                  <a:cubicBezTo>
                    <a:pt x="2075866" y="1606550"/>
                    <a:pt x="2092213" y="1623253"/>
                    <a:pt x="2092213" y="1643857"/>
                  </a:cubicBezTo>
                  <a:cubicBezTo>
                    <a:pt x="2092213" y="1664461"/>
                    <a:pt x="2075866" y="1681164"/>
                    <a:pt x="2055700" y="1681164"/>
                  </a:cubicBezTo>
                  <a:cubicBezTo>
                    <a:pt x="2035534" y="1681164"/>
                    <a:pt x="2019187" y="1664461"/>
                    <a:pt x="2019187" y="1643857"/>
                  </a:cubicBezTo>
                  <a:cubicBezTo>
                    <a:pt x="2019187" y="1623253"/>
                    <a:pt x="2035534" y="1606550"/>
                    <a:pt x="2055700" y="1606550"/>
                  </a:cubicBezTo>
                  <a:close/>
                  <a:moveTo>
                    <a:pt x="1973150" y="1606550"/>
                  </a:moveTo>
                  <a:cubicBezTo>
                    <a:pt x="1992440" y="1606550"/>
                    <a:pt x="2008075" y="1623253"/>
                    <a:pt x="2008075" y="1643857"/>
                  </a:cubicBezTo>
                  <a:cubicBezTo>
                    <a:pt x="2008075" y="1664461"/>
                    <a:pt x="1992440" y="1681164"/>
                    <a:pt x="1973150" y="1681164"/>
                  </a:cubicBezTo>
                  <a:cubicBezTo>
                    <a:pt x="1953861" y="1681164"/>
                    <a:pt x="1938226" y="1664461"/>
                    <a:pt x="1938226" y="1643857"/>
                  </a:cubicBezTo>
                  <a:cubicBezTo>
                    <a:pt x="1938226" y="1623253"/>
                    <a:pt x="1953861" y="1606550"/>
                    <a:pt x="1973150" y="1606550"/>
                  </a:cubicBezTo>
                  <a:close/>
                  <a:moveTo>
                    <a:pt x="1888219" y="1606550"/>
                  </a:moveTo>
                  <a:cubicBezTo>
                    <a:pt x="1907070" y="1606550"/>
                    <a:pt x="1922352" y="1623253"/>
                    <a:pt x="1922352" y="1643857"/>
                  </a:cubicBezTo>
                  <a:cubicBezTo>
                    <a:pt x="1922352" y="1664461"/>
                    <a:pt x="1907070" y="1681164"/>
                    <a:pt x="1888219" y="1681164"/>
                  </a:cubicBezTo>
                  <a:cubicBezTo>
                    <a:pt x="1869369" y="1681164"/>
                    <a:pt x="1854088" y="1664461"/>
                    <a:pt x="1854088" y="1643857"/>
                  </a:cubicBezTo>
                  <a:cubicBezTo>
                    <a:pt x="1854088" y="1623253"/>
                    <a:pt x="1869369" y="1606550"/>
                    <a:pt x="1888219" y="1606550"/>
                  </a:cubicBezTo>
                  <a:close/>
                  <a:moveTo>
                    <a:pt x="1802495" y="1606550"/>
                  </a:moveTo>
                  <a:cubicBezTo>
                    <a:pt x="1821346" y="1606550"/>
                    <a:pt x="1836627" y="1623253"/>
                    <a:pt x="1836627" y="1643857"/>
                  </a:cubicBezTo>
                  <a:cubicBezTo>
                    <a:pt x="1836627" y="1664461"/>
                    <a:pt x="1821346" y="1681164"/>
                    <a:pt x="1802495" y="1681164"/>
                  </a:cubicBezTo>
                  <a:cubicBezTo>
                    <a:pt x="1783644" y="1681164"/>
                    <a:pt x="1768363" y="1664461"/>
                    <a:pt x="1768363" y="1643857"/>
                  </a:cubicBezTo>
                  <a:cubicBezTo>
                    <a:pt x="1768363" y="1623253"/>
                    <a:pt x="1783644" y="1606550"/>
                    <a:pt x="1802495" y="1606550"/>
                  </a:cubicBezTo>
                  <a:close/>
                  <a:moveTo>
                    <a:pt x="1719151" y="1606550"/>
                  </a:moveTo>
                  <a:cubicBezTo>
                    <a:pt x="1739317" y="1606550"/>
                    <a:pt x="1755664" y="1623253"/>
                    <a:pt x="1755664" y="1643857"/>
                  </a:cubicBezTo>
                  <a:cubicBezTo>
                    <a:pt x="1755664" y="1664461"/>
                    <a:pt x="1739317" y="1681164"/>
                    <a:pt x="1719151" y="1681164"/>
                  </a:cubicBezTo>
                  <a:cubicBezTo>
                    <a:pt x="1698985" y="1681164"/>
                    <a:pt x="1682638" y="1664461"/>
                    <a:pt x="1682638" y="1643857"/>
                  </a:cubicBezTo>
                  <a:cubicBezTo>
                    <a:pt x="1682638" y="1623253"/>
                    <a:pt x="1698985" y="1606550"/>
                    <a:pt x="1719151" y="1606550"/>
                  </a:cubicBezTo>
                  <a:close/>
                  <a:moveTo>
                    <a:pt x="1636608" y="1606550"/>
                  </a:moveTo>
                  <a:cubicBezTo>
                    <a:pt x="1655898" y="1606550"/>
                    <a:pt x="1671533" y="1623253"/>
                    <a:pt x="1671533" y="1643857"/>
                  </a:cubicBezTo>
                  <a:cubicBezTo>
                    <a:pt x="1671533" y="1664461"/>
                    <a:pt x="1655898" y="1681164"/>
                    <a:pt x="1636608" y="1681164"/>
                  </a:cubicBezTo>
                  <a:cubicBezTo>
                    <a:pt x="1617319" y="1681164"/>
                    <a:pt x="1601683" y="1664461"/>
                    <a:pt x="1601683" y="1643857"/>
                  </a:cubicBezTo>
                  <a:cubicBezTo>
                    <a:pt x="1601683" y="1623253"/>
                    <a:pt x="1617319" y="1606550"/>
                    <a:pt x="1636608" y="1606550"/>
                  </a:cubicBezTo>
                  <a:close/>
                  <a:moveTo>
                    <a:pt x="1551677" y="1606550"/>
                  </a:moveTo>
                  <a:cubicBezTo>
                    <a:pt x="1570528" y="1606550"/>
                    <a:pt x="1585810" y="1623253"/>
                    <a:pt x="1585810" y="1643857"/>
                  </a:cubicBezTo>
                  <a:cubicBezTo>
                    <a:pt x="1585810" y="1664461"/>
                    <a:pt x="1570528" y="1681164"/>
                    <a:pt x="1551677" y="1681164"/>
                  </a:cubicBezTo>
                  <a:cubicBezTo>
                    <a:pt x="1532826" y="1681164"/>
                    <a:pt x="1517545" y="1664461"/>
                    <a:pt x="1517545" y="1643857"/>
                  </a:cubicBezTo>
                  <a:cubicBezTo>
                    <a:pt x="1517545" y="1623253"/>
                    <a:pt x="1532826" y="1606550"/>
                    <a:pt x="1551677" y="1606550"/>
                  </a:cubicBezTo>
                  <a:close/>
                  <a:moveTo>
                    <a:pt x="1466114" y="1606550"/>
                  </a:moveTo>
                  <a:cubicBezTo>
                    <a:pt x="1484965" y="1606550"/>
                    <a:pt x="1500247" y="1623253"/>
                    <a:pt x="1500247" y="1643857"/>
                  </a:cubicBezTo>
                  <a:cubicBezTo>
                    <a:pt x="1500247" y="1664461"/>
                    <a:pt x="1484965" y="1681164"/>
                    <a:pt x="1466114" y="1681164"/>
                  </a:cubicBezTo>
                  <a:cubicBezTo>
                    <a:pt x="1447265" y="1681164"/>
                    <a:pt x="1431983" y="1664461"/>
                    <a:pt x="1431983" y="1643857"/>
                  </a:cubicBezTo>
                  <a:cubicBezTo>
                    <a:pt x="1431983" y="1623253"/>
                    <a:pt x="1447265" y="1606550"/>
                    <a:pt x="1466114" y="1606550"/>
                  </a:cubicBezTo>
                  <a:close/>
                  <a:moveTo>
                    <a:pt x="9474877" y="1527175"/>
                  </a:moveTo>
                  <a:cubicBezTo>
                    <a:pt x="9493728" y="1527175"/>
                    <a:pt x="9509009" y="1542456"/>
                    <a:pt x="9509009" y="1561307"/>
                  </a:cubicBezTo>
                  <a:cubicBezTo>
                    <a:pt x="9509009" y="1580158"/>
                    <a:pt x="9493728" y="1595439"/>
                    <a:pt x="9474877" y="1595439"/>
                  </a:cubicBezTo>
                  <a:cubicBezTo>
                    <a:pt x="9456026" y="1595439"/>
                    <a:pt x="9440745" y="1580158"/>
                    <a:pt x="9440745" y="1561307"/>
                  </a:cubicBezTo>
                  <a:cubicBezTo>
                    <a:pt x="9440745" y="1542456"/>
                    <a:pt x="9456026" y="1527175"/>
                    <a:pt x="9474877" y="1527175"/>
                  </a:cubicBezTo>
                  <a:close/>
                  <a:moveTo>
                    <a:pt x="9138327" y="1527175"/>
                  </a:moveTo>
                  <a:cubicBezTo>
                    <a:pt x="9157178" y="1527175"/>
                    <a:pt x="9172459" y="1542456"/>
                    <a:pt x="9172459" y="1561307"/>
                  </a:cubicBezTo>
                  <a:cubicBezTo>
                    <a:pt x="9172459" y="1580158"/>
                    <a:pt x="9157178" y="1595439"/>
                    <a:pt x="9138327" y="1595439"/>
                  </a:cubicBezTo>
                  <a:cubicBezTo>
                    <a:pt x="9119476" y="1595439"/>
                    <a:pt x="9104195" y="1580158"/>
                    <a:pt x="9104195" y="1561307"/>
                  </a:cubicBezTo>
                  <a:cubicBezTo>
                    <a:pt x="9104195" y="1542456"/>
                    <a:pt x="9119476" y="1527175"/>
                    <a:pt x="9138327" y="1527175"/>
                  </a:cubicBezTo>
                  <a:close/>
                  <a:moveTo>
                    <a:pt x="9052602" y="1527175"/>
                  </a:moveTo>
                  <a:cubicBezTo>
                    <a:pt x="9071453" y="1527175"/>
                    <a:pt x="9086734" y="1542456"/>
                    <a:pt x="9086734" y="1561307"/>
                  </a:cubicBezTo>
                  <a:cubicBezTo>
                    <a:pt x="9086734" y="1580158"/>
                    <a:pt x="9071453" y="1595439"/>
                    <a:pt x="9052602" y="1595439"/>
                  </a:cubicBezTo>
                  <a:cubicBezTo>
                    <a:pt x="9033751" y="1595439"/>
                    <a:pt x="9018470" y="1580158"/>
                    <a:pt x="9018470" y="1561307"/>
                  </a:cubicBezTo>
                  <a:cubicBezTo>
                    <a:pt x="9018470" y="1542456"/>
                    <a:pt x="9033751" y="1527175"/>
                    <a:pt x="9052602" y="1527175"/>
                  </a:cubicBezTo>
                  <a:close/>
                  <a:moveTo>
                    <a:pt x="8966877" y="1527175"/>
                  </a:moveTo>
                  <a:cubicBezTo>
                    <a:pt x="8985728" y="1527175"/>
                    <a:pt x="9001009" y="1542456"/>
                    <a:pt x="9001009" y="1561307"/>
                  </a:cubicBezTo>
                  <a:cubicBezTo>
                    <a:pt x="9001009" y="1580158"/>
                    <a:pt x="8985728" y="1595439"/>
                    <a:pt x="8966877" y="1595439"/>
                  </a:cubicBezTo>
                  <a:cubicBezTo>
                    <a:pt x="8948026" y="1595439"/>
                    <a:pt x="8932745" y="1580158"/>
                    <a:pt x="8932745" y="1561307"/>
                  </a:cubicBezTo>
                  <a:cubicBezTo>
                    <a:pt x="8932745" y="1542456"/>
                    <a:pt x="8948026" y="1527175"/>
                    <a:pt x="8966877" y="1527175"/>
                  </a:cubicBezTo>
                  <a:close/>
                  <a:moveTo>
                    <a:pt x="8884327" y="1527175"/>
                  </a:moveTo>
                  <a:cubicBezTo>
                    <a:pt x="8904931" y="1527175"/>
                    <a:pt x="8921634" y="1542456"/>
                    <a:pt x="8921634" y="1561307"/>
                  </a:cubicBezTo>
                  <a:cubicBezTo>
                    <a:pt x="8921634" y="1580158"/>
                    <a:pt x="8904931" y="1595439"/>
                    <a:pt x="8884327" y="1595439"/>
                  </a:cubicBezTo>
                  <a:cubicBezTo>
                    <a:pt x="8863723" y="1595439"/>
                    <a:pt x="8847020" y="1580158"/>
                    <a:pt x="8847020" y="1561307"/>
                  </a:cubicBezTo>
                  <a:cubicBezTo>
                    <a:pt x="8847020" y="1542456"/>
                    <a:pt x="8863723" y="1527175"/>
                    <a:pt x="8884327" y="1527175"/>
                  </a:cubicBezTo>
                  <a:close/>
                  <a:moveTo>
                    <a:pt x="8801777" y="1527175"/>
                  </a:moveTo>
                  <a:cubicBezTo>
                    <a:pt x="8820628" y="1527175"/>
                    <a:pt x="8835909" y="1542456"/>
                    <a:pt x="8835909" y="1561307"/>
                  </a:cubicBezTo>
                  <a:cubicBezTo>
                    <a:pt x="8835909" y="1580158"/>
                    <a:pt x="8820628" y="1595439"/>
                    <a:pt x="8801777" y="1595439"/>
                  </a:cubicBezTo>
                  <a:cubicBezTo>
                    <a:pt x="8782926" y="1595439"/>
                    <a:pt x="8767645" y="1580158"/>
                    <a:pt x="8767645" y="1561307"/>
                  </a:cubicBezTo>
                  <a:cubicBezTo>
                    <a:pt x="8767645" y="1542456"/>
                    <a:pt x="8782926" y="1527175"/>
                    <a:pt x="8801777" y="1527175"/>
                  </a:cubicBezTo>
                  <a:close/>
                  <a:moveTo>
                    <a:pt x="8716052" y="1527175"/>
                  </a:moveTo>
                  <a:cubicBezTo>
                    <a:pt x="8734903" y="1527175"/>
                    <a:pt x="8750184" y="1542456"/>
                    <a:pt x="8750184" y="1561307"/>
                  </a:cubicBezTo>
                  <a:cubicBezTo>
                    <a:pt x="8750184" y="1580158"/>
                    <a:pt x="8734903" y="1595439"/>
                    <a:pt x="8716052" y="1595439"/>
                  </a:cubicBezTo>
                  <a:cubicBezTo>
                    <a:pt x="8697201" y="1595439"/>
                    <a:pt x="8681920" y="1580158"/>
                    <a:pt x="8681920" y="1561307"/>
                  </a:cubicBezTo>
                  <a:cubicBezTo>
                    <a:pt x="8681920" y="1542456"/>
                    <a:pt x="8697201" y="1527175"/>
                    <a:pt x="8716052" y="1527175"/>
                  </a:cubicBezTo>
                  <a:close/>
                  <a:moveTo>
                    <a:pt x="8630327" y="1527175"/>
                  </a:moveTo>
                  <a:cubicBezTo>
                    <a:pt x="8649178" y="1527175"/>
                    <a:pt x="8664459" y="1542456"/>
                    <a:pt x="8664459" y="1561307"/>
                  </a:cubicBezTo>
                  <a:cubicBezTo>
                    <a:pt x="8664459" y="1580158"/>
                    <a:pt x="8649178" y="1595439"/>
                    <a:pt x="8630327" y="1595439"/>
                  </a:cubicBezTo>
                  <a:cubicBezTo>
                    <a:pt x="8611476" y="1595439"/>
                    <a:pt x="8596195" y="1580158"/>
                    <a:pt x="8596195" y="1561307"/>
                  </a:cubicBezTo>
                  <a:cubicBezTo>
                    <a:pt x="8596195" y="1542456"/>
                    <a:pt x="8611476" y="1527175"/>
                    <a:pt x="8630327" y="1527175"/>
                  </a:cubicBezTo>
                  <a:close/>
                  <a:moveTo>
                    <a:pt x="8544602" y="1527175"/>
                  </a:moveTo>
                  <a:cubicBezTo>
                    <a:pt x="8563453" y="1527175"/>
                    <a:pt x="8578734" y="1542456"/>
                    <a:pt x="8578734" y="1561307"/>
                  </a:cubicBezTo>
                  <a:cubicBezTo>
                    <a:pt x="8578734" y="1580158"/>
                    <a:pt x="8563453" y="1595439"/>
                    <a:pt x="8544602" y="1595439"/>
                  </a:cubicBezTo>
                  <a:cubicBezTo>
                    <a:pt x="8525751" y="1595439"/>
                    <a:pt x="8510470" y="1580158"/>
                    <a:pt x="8510470" y="1561307"/>
                  </a:cubicBezTo>
                  <a:cubicBezTo>
                    <a:pt x="8510470" y="1542456"/>
                    <a:pt x="8525751" y="1527175"/>
                    <a:pt x="8544602" y="1527175"/>
                  </a:cubicBezTo>
                  <a:close/>
                  <a:moveTo>
                    <a:pt x="8465227" y="1527175"/>
                  </a:moveTo>
                  <a:cubicBezTo>
                    <a:pt x="8484078" y="1527175"/>
                    <a:pt x="8499359" y="1542456"/>
                    <a:pt x="8499359" y="1561307"/>
                  </a:cubicBezTo>
                  <a:cubicBezTo>
                    <a:pt x="8499359" y="1580158"/>
                    <a:pt x="8484078" y="1595439"/>
                    <a:pt x="8465227" y="1595439"/>
                  </a:cubicBezTo>
                  <a:cubicBezTo>
                    <a:pt x="8446376" y="1595439"/>
                    <a:pt x="8431095" y="1580158"/>
                    <a:pt x="8431095" y="1561307"/>
                  </a:cubicBezTo>
                  <a:cubicBezTo>
                    <a:pt x="8431095" y="1542456"/>
                    <a:pt x="8446376" y="1527175"/>
                    <a:pt x="8465227" y="1527175"/>
                  </a:cubicBezTo>
                  <a:close/>
                  <a:moveTo>
                    <a:pt x="8379502" y="1527175"/>
                  </a:moveTo>
                  <a:cubicBezTo>
                    <a:pt x="8398353" y="1527175"/>
                    <a:pt x="8413634" y="1542456"/>
                    <a:pt x="8413634" y="1561307"/>
                  </a:cubicBezTo>
                  <a:cubicBezTo>
                    <a:pt x="8413634" y="1580158"/>
                    <a:pt x="8398353" y="1595439"/>
                    <a:pt x="8379502" y="1595439"/>
                  </a:cubicBezTo>
                  <a:cubicBezTo>
                    <a:pt x="8360651" y="1595439"/>
                    <a:pt x="8345370" y="1580158"/>
                    <a:pt x="8345370" y="1561307"/>
                  </a:cubicBezTo>
                  <a:cubicBezTo>
                    <a:pt x="8345370" y="1542456"/>
                    <a:pt x="8360651" y="1527175"/>
                    <a:pt x="8379502" y="1527175"/>
                  </a:cubicBezTo>
                  <a:close/>
                  <a:moveTo>
                    <a:pt x="8293777" y="1527175"/>
                  </a:moveTo>
                  <a:cubicBezTo>
                    <a:pt x="8312628" y="1527175"/>
                    <a:pt x="8327909" y="1542456"/>
                    <a:pt x="8327909" y="1561307"/>
                  </a:cubicBezTo>
                  <a:cubicBezTo>
                    <a:pt x="8327909" y="1580158"/>
                    <a:pt x="8312628" y="1595439"/>
                    <a:pt x="8293777" y="1595439"/>
                  </a:cubicBezTo>
                  <a:cubicBezTo>
                    <a:pt x="8274926" y="1595439"/>
                    <a:pt x="8259645" y="1580158"/>
                    <a:pt x="8259645" y="1561307"/>
                  </a:cubicBezTo>
                  <a:cubicBezTo>
                    <a:pt x="8259645" y="1542456"/>
                    <a:pt x="8274926" y="1527175"/>
                    <a:pt x="8293777" y="1527175"/>
                  </a:cubicBezTo>
                  <a:close/>
                  <a:moveTo>
                    <a:pt x="8208052" y="1527175"/>
                  </a:moveTo>
                  <a:cubicBezTo>
                    <a:pt x="8226903" y="1527175"/>
                    <a:pt x="8242184" y="1542456"/>
                    <a:pt x="8242184" y="1561307"/>
                  </a:cubicBezTo>
                  <a:cubicBezTo>
                    <a:pt x="8242184" y="1580158"/>
                    <a:pt x="8226903" y="1595439"/>
                    <a:pt x="8208052" y="1595439"/>
                  </a:cubicBezTo>
                  <a:cubicBezTo>
                    <a:pt x="8189201" y="1595439"/>
                    <a:pt x="8173920" y="1580158"/>
                    <a:pt x="8173920" y="1561307"/>
                  </a:cubicBezTo>
                  <a:cubicBezTo>
                    <a:pt x="8173920" y="1542456"/>
                    <a:pt x="8189201" y="1527175"/>
                    <a:pt x="8208052" y="1527175"/>
                  </a:cubicBezTo>
                  <a:close/>
                  <a:moveTo>
                    <a:pt x="8125502" y="1527175"/>
                  </a:moveTo>
                  <a:cubicBezTo>
                    <a:pt x="8146106" y="1527175"/>
                    <a:pt x="8162809" y="1542456"/>
                    <a:pt x="8162809" y="1561307"/>
                  </a:cubicBezTo>
                  <a:cubicBezTo>
                    <a:pt x="8162809" y="1580158"/>
                    <a:pt x="8146106" y="1595439"/>
                    <a:pt x="8125502" y="1595439"/>
                  </a:cubicBezTo>
                  <a:cubicBezTo>
                    <a:pt x="8104898" y="1595439"/>
                    <a:pt x="8088195" y="1580158"/>
                    <a:pt x="8088195" y="1561307"/>
                  </a:cubicBezTo>
                  <a:cubicBezTo>
                    <a:pt x="8088195" y="1542456"/>
                    <a:pt x="8104898" y="1527175"/>
                    <a:pt x="8125502" y="1527175"/>
                  </a:cubicBezTo>
                  <a:close/>
                  <a:moveTo>
                    <a:pt x="7871502" y="1527175"/>
                  </a:moveTo>
                  <a:cubicBezTo>
                    <a:pt x="7890353" y="1527175"/>
                    <a:pt x="7905634" y="1542456"/>
                    <a:pt x="7905634" y="1561307"/>
                  </a:cubicBezTo>
                  <a:cubicBezTo>
                    <a:pt x="7905634" y="1580158"/>
                    <a:pt x="7890353" y="1595439"/>
                    <a:pt x="7871502" y="1595439"/>
                  </a:cubicBezTo>
                  <a:cubicBezTo>
                    <a:pt x="7852651" y="1595439"/>
                    <a:pt x="7837370" y="1580158"/>
                    <a:pt x="7837370" y="1561307"/>
                  </a:cubicBezTo>
                  <a:cubicBezTo>
                    <a:pt x="7837370" y="1542456"/>
                    <a:pt x="7852651" y="1527175"/>
                    <a:pt x="7871502" y="1527175"/>
                  </a:cubicBezTo>
                  <a:close/>
                  <a:moveTo>
                    <a:pt x="7785777" y="1527175"/>
                  </a:moveTo>
                  <a:cubicBezTo>
                    <a:pt x="7804628" y="1527175"/>
                    <a:pt x="7819909" y="1542456"/>
                    <a:pt x="7819909" y="1561307"/>
                  </a:cubicBezTo>
                  <a:cubicBezTo>
                    <a:pt x="7819909" y="1580158"/>
                    <a:pt x="7804628" y="1595439"/>
                    <a:pt x="7785777" y="1595439"/>
                  </a:cubicBezTo>
                  <a:cubicBezTo>
                    <a:pt x="7766926" y="1595439"/>
                    <a:pt x="7751645" y="1580158"/>
                    <a:pt x="7751645" y="1561307"/>
                  </a:cubicBezTo>
                  <a:cubicBezTo>
                    <a:pt x="7751645" y="1542456"/>
                    <a:pt x="7766926" y="1527175"/>
                    <a:pt x="7785777" y="1527175"/>
                  </a:cubicBezTo>
                  <a:close/>
                  <a:moveTo>
                    <a:pt x="7706402" y="1527175"/>
                  </a:moveTo>
                  <a:cubicBezTo>
                    <a:pt x="7725253" y="1527175"/>
                    <a:pt x="7740534" y="1542456"/>
                    <a:pt x="7740534" y="1561307"/>
                  </a:cubicBezTo>
                  <a:cubicBezTo>
                    <a:pt x="7740534" y="1580158"/>
                    <a:pt x="7725253" y="1595439"/>
                    <a:pt x="7706402" y="1595439"/>
                  </a:cubicBezTo>
                  <a:cubicBezTo>
                    <a:pt x="7687551" y="1595439"/>
                    <a:pt x="7672270" y="1580158"/>
                    <a:pt x="7672270" y="1561307"/>
                  </a:cubicBezTo>
                  <a:cubicBezTo>
                    <a:pt x="7672270" y="1542456"/>
                    <a:pt x="7687551" y="1527175"/>
                    <a:pt x="7706402" y="1527175"/>
                  </a:cubicBezTo>
                  <a:close/>
                  <a:moveTo>
                    <a:pt x="7620677" y="1527175"/>
                  </a:moveTo>
                  <a:cubicBezTo>
                    <a:pt x="7639528" y="1527175"/>
                    <a:pt x="7654809" y="1542456"/>
                    <a:pt x="7654809" y="1561307"/>
                  </a:cubicBezTo>
                  <a:cubicBezTo>
                    <a:pt x="7654809" y="1580158"/>
                    <a:pt x="7639528" y="1595439"/>
                    <a:pt x="7620677" y="1595439"/>
                  </a:cubicBezTo>
                  <a:cubicBezTo>
                    <a:pt x="7601826" y="1595439"/>
                    <a:pt x="7586545" y="1580158"/>
                    <a:pt x="7586545" y="1561307"/>
                  </a:cubicBezTo>
                  <a:cubicBezTo>
                    <a:pt x="7586545" y="1542456"/>
                    <a:pt x="7601826" y="1527175"/>
                    <a:pt x="7620677" y="1527175"/>
                  </a:cubicBezTo>
                  <a:close/>
                  <a:moveTo>
                    <a:pt x="7534952" y="1527175"/>
                  </a:moveTo>
                  <a:cubicBezTo>
                    <a:pt x="7553803" y="1527175"/>
                    <a:pt x="7569084" y="1542456"/>
                    <a:pt x="7569084" y="1561307"/>
                  </a:cubicBezTo>
                  <a:cubicBezTo>
                    <a:pt x="7569084" y="1580158"/>
                    <a:pt x="7553803" y="1595439"/>
                    <a:pt x="7534952" y="1595439"/>
                  </a:cubicBezTo>
                  <a:cubicBezTo>
                    <a:pt x="7516101" y="1595439"/>
                    <a:pt x="7500820" y="1580158"/>
                    <a:pt x="7500820" y="1561307"/>
                  </a:cubicBezTo>
                  <a:cubicBezTo>
                    <a:pt x="7500820" y="1542456"/>
                    <a:pt x="7516101" y="1527175"/>
                    <a:pt x="7534952" y="1527175"/>
                  </a:cubicBezTo>
                  <a:close/>
                  <a:moveTo>
                    <a:pt x="7449227" y="1527175"/>
                  </a:moveTo>
                  <a:cubicBezTo>
                    <a:pt x="7468078" y="1527175"/>
                    <a:pt x="7483359" y="1542456"/>
                    <a:pt x="7483359" y="1561307"/>
                  </a:cubicBezTo>
                  <a:cubicBezTo>
                    <a:pt x="7483359" y="1580158"/>
                    <a:pt x="7468078" y="1595439"/>
                    <a:pt x="7449227" y="1595439"/>
                  </a:cubicBezTo>
                  <a:cubicBezTo>
                    <a:pt x="7430376" y="1595439"/>
                    <a:pt x="7415095" y="1580158"/>
                    <a:pt x="7415095" y="1561307"/>
                  </a:cubicBezTo>
                  <a:cubicBezTo>
                    <a:pt x="7415095" y="1542456"/>
                    <a:pt x="7430376" y="1527175"/>
                    <a:pt x="7449227" y="1527175"/>
                  </a:cubicBezTo>
                  <a:close/>
                  <a:moveTo>
                    <a:pt x="7366677" y="1527175"/>
                  </a:moveTo>
                  <a:cubicBezTo>
                    <a:pt x="7387281" y="1527175"/>
                    <a:pt x="7403984" y="1542456"/>
                    <a:pt x="7403984" y="1561307"/>
                  </a:cubicBezTo>
                  <a:cubicBezTo>
                    <a:pt x="7403984" y="1580158"/>
                    <a:pt x="7387281" y="1595439"/>
                    <a:pt x="7366677" y="1595439"/>
                  </a:cubicBezTo>
                  <a:cubicBezTo>
                    <a:pt x="7346073" y="1595439"/>
                    <a:pt x="7329370" y="1580158"/>
                    <a:pt x="7329370" y="1561307"/>
                  </a:cubicBezTo>
                  <a:cubicBezTo>
                    <a:pt x="7329370" y="1542456"/>
                    <a:pt x="7346073" y="1527175"/>
                    <a:pt x="7366677" y="1527175"/>
                  </a:cubicBezTo>
                  <a:close/>
                  <a:moveTo>
                    <a:pt x="7284127" y="1527175"/>
                  </a:moveTo>
                  <a:cubicBezTo>
                    <a:pt x="7302978" y="1527175"/>
                    <a:pt x="7318259" y="1542456"/>
                    <a:pt x="7318259" y="1561307"/>
                  </a:cubicBezTo>
                  <a:cubicBezTo>
                    <a:pt x="7318259" y="1580158"/>
                    <a:pt x="7302978" y="1595439"/>
                    <a:pt x="7284127" y="1595439"/>
                  </a:cubicBezTo>
                  <a:cubicBezTo>
                    <a:pt x="7265276" y="1595439"/>
                    <a:pt x="7249995" y="1580158"/>
                    <a:pt x="7249995" y="1561307"/>
                  </a:cubicBezTo>
                  <a:cubicBezTo>
                    <a:pt x="7249995" y="1542456"/>
                    <a:pt x="7265276" y="1527175"/>
                    <a:pt x="7284127" y="1527175"/>
                  </a:cubicBezTo>
                  <a:close/>
                  <a:moveTo>
                    <a:pt x="7198402" y="1527175"/>
                  </a:moveTo>
                  <a:cubicBezTo>
                    <a:pt x="7217253" y="1527175"/>
                    <a:pt x="7232534" y="1542456"/>
                    <a:pt x="7232534" y="1561307"/>
                  </a:cubicBezTo>
                  <a:cubicBezTo>
                    <a:pt x="7232534" y="1580158"/>
                    <a:pt x="7217253" y="1595439"/>
                    <a:pt x="7198402" y="1595439"/>
                  </a:cubicBezTo>
                  <a:cubicBezTo>
                    <a:pt x="7179551" y="1595439"/>
                    <a:pt x="7164270" y="1580158"/>
                    <a:pt x="7164270" y="1561307"/>
                  </a:cubicBezTo>
                  <a:cubicBezTo>
                    <a:pt x="7164270" y="1542456"/>
                    <a:pt x="7179551" y="1527175"/>
                    <a:pt x="7198402" y="1527175"/>
                  </a:cubicBezTo>
                  <a:close/>
                  <a:moveTo>
                    <a:pt x="7112677" y="1527175"/>
                  </a:moveTo>
                  <a:cubicBezTo>
                    <a:pt x="7131528" y="1527175"/>
                    <a:pt x="7146809" y="1542456"/>
                    <a:pt x="7146809" y="1561307"/>
                  </a:cubicBezTo>
                  <a:cubicBezTo>
                    <a:pt x="7146809" y="1580158"/>
                    <a:pt x="7131528" y="1595439"/>
                    <a:pt x="7112677" y="1595439"/>
                  </a:cubicBezTo>
                  <a:cubicBezTo>
                    <a:pt x="7093826" y="1595439"/>
                    <a:pt x="7078545" y="1580158"/>
                    <a:pt x="7078545" y="1561307"/>
                  </a:cubicBezTo>
                  <a:cubicBezTo>
                    <a:pt x="7078545" y="1542456"/>
                    <a:pt x="7093826" y="1527175"/>
                    <a:pt x="7112677" y="1527175"/>
                  </a:cubicBezTo>
                  <a:close/>
                  <a:moveTo>
                    <a:pt x="7027745" y="1527175"/>
                  </a:moveTo>
                  <a:cubicBezTo>
                    <a:pt x="7047034" y="1527175"/>
                    <a:pt x="7062670" y="1542456"/>
                    <a:pt x="7062670" y="1561307"/>
                  </a:cubicBezTo>
                  <a:cubicBezTo>
                    <a:pt x="7062670" y="1580158"/>
                    <a:pt x="7047034" y="1595439"/>
                    <a:pt x="7027745" y="1595439"/>
                  </a:cubicBezTo>
                  <a:cubicBezTo>
                    <a:pt x="7008456" y="1595439"/>
                    <a:pt x="6992820" y="1580158"/>
                    <a:pt x="6992820" y="1561307"/>
                  </a:cubicBezTo>
                  <a:cubicBezTo>
                    <a:pt x="6992820" y="1542456"/>
                    <a:pt x="7008456" y="1527175"/>
                    <a:pt x="7027745" y="1527175"/>
                  </a:cubicBezTo>
                  <a:close/>
                  <a:moveTo>
                    <a:pt x="6947577" y="1527175"/>
                  </a:moveTo>
                  <a:cubicBezTo>
                    <a:pt x="6966428" y="1527175"/>
                    <a:pt x="6981709" y="1542456"/>
                    <a:pt x="6981709" y="1561307"/>
                  </a:cubicBezTo>
                  <a:cubicBezTo>
                    <a:pt x="6981709" y="1580158"/>
                    <a:pt x="6966428" y="1595439"/>
                    <a:pt x="6947577" y="1595439"/>
                  </a:cubicBezTo>
                  <a:cubicBezTo>
                    <a:pt x="6928726" y="1595439"/>
                    <a:pt x="6913445" y="1580158"/>
                    <a:pt x="6913445" y="1561307"/>
                  </a:cubicBezTo>
                  <a:cubicBezTo>
                    <a:pt x="6913445" y="1542456"/>
                    <a:pt x="6928726" y="1527175"/>
                    <a:pt x="6947577" y="1527175"/>
                  </a:cubicBezTo>
                  <a:close/>
                  <a:moveTo>
                    <a:pt x="6861852" y="1527175"/>
                  </a:moveTo>
                  <a:cubicBezTo>
                    <a:pt x="6880703" y="1527175"/>
                    <a:pt x="6895984" y="1542456"/>
                    <a:pt x="6895984" y="1561307"/>
                  </a:cubicBezTo>
                  <a:cubicBezTo>
                    <a:pt x="6895984" y="1580158"/>
                    <a:pt x="6880703" y="1595439"/>
                    <a:pt x="6861852" y="1595439"/>
                  </a:cubicBezTo>
                  <a:cubicBezTo>
                    <a:pt x="6843001" y="1595439"/>
                    <a:pt x="6827720" y="1580158"/>
                    <a:pt x="6827720" y="1561307"/>
                  </a:cubicBezTo>
                  <a:cubicBezTo>
                    <a:pt x="6827720" y="1542456"/>
                    <a:pt x="6843001" y="1527175"/>
                    <a:pt x="6861852" y="1527175"/>
                  </a:cubicBezTo>
                  <a:close/>
                  <a:moveTo>
                    <a:pt x="6776127" y="1527175"/>
                  </a:moveTo>
                  <a:cubicBezTo>
                    <a:pt x="6794978" y="1527175"/>
                    <a:pt x="6810259" y="1542456"/>
                    <a:pt x="6810259" y="1561307"/>
                  </a:cubicBezTo>
                  <a:cubicBezTo>
                    <a:pt x="6810259" y="1580158"/>
                    <a:pt x="6794978" y="1595439"/>
                    <a:pt x="6776127" y="1595439"/>
                  </a:cubicBezTo>
                  <a:cubicBezTo>
                    <a:pt x="6757276" y="1595439"/>
                    <a:pt x="6741995" y="1580158"/>
                    <a:pt x="6741995" y="1561307"/>
                  </a:cubicBezTo>
                  <a:cubicBezTo>
                    <a:pt x="6741995" y="1542456"/>
                    <a:pt x="6757276" y="1527175"/>
                    <a:pt x="6776127" y="1527175"/>
                  </a:cubicBezTo>
                  <a:close/>
                  <a:moveTo>
                    <a:pt x="6691195" y="1527175"/>
                  </a:moveTo>
                  <a:cubicBezTo>
                    <a:pt x="6710484" y="1527175"/>
                    <a:pt x="6726120" y="1542456"/>
                    <a:pt x="6726120" y="1561307"/>
                  </a:cubicBezTo>
                  <a:cubicBezTo>
                    <a:pt x="6726120" y="1580158"/>
                    <a:pt x="6710484" y="1595439"/>
                    <a:pt x="6691195" y="1595439"/>
                  </a:cubicBezTo>
                  <a:cubicBezTo>
                    <a:pt x="6671906" y="1595439"/>
                    <a:pt x="6656270" y="1580158"/>
                    <a:pt x="6656270" y="1561307"/>
                  </a:cubicBezTo>
                  <a:cubicBezTo>
                    <a:pt x="6656270" y="1542456"/>
                    <a:pt x="6671906" y="1527175"/>
                    <a:pt x="6691195" y="1527175"/>
                  </a:cubicBezTo>
                  <a:close/>
                  <a:moveTo>
                    <a:pt x="6607852" y="1527175"/>
                  </a:moveTo>
                  <a:cubicBezTo>
                    <a:pt x="6628456" y="1527175"/>
                    <a:pt x="6645159" y="1542456"/>
                    <a:pt x="6645159" y="1561307"/>
                  </a:cubicBezTo>
                  <a:cubicBezTo>
                    <a:pt x="6645159" y="1580158"/>
                    <a:pt x="6628456" y="1595439"/>
                    <a:pt x="6607852" y="1595439"/>
                  </a:cubicBezTo>
                  <a:cubicBezTo>
                    <a:pt x="6587248" y="1595439"/>
                    <a:pt x="6570545" y="1580158"/>
                    <a:pt x="6570545" y="1561307"/>
                  </a:cubicBezTo>
                  <a:cubicBezTo>
                    <a:pt x="6570545" y="1542456"/>
                    <a:pt x="6587248" y="1527175"/>
                    <a:pt x="6607852" y="1527175"/>
                  </a:cubicBezTo>
                  <a:close/>
                  <a:moveTo>
                    <a:pt x="6525302" y="1527175"/>
                  </a:moveTo>
                  <a:cubicBezTo>
                    <a:pt x="6544153" y="1527175"/>
                    <a:pt x="6559434" y="1542456"/>
                    <a:pt x="6559434" y="1561307"/>
                  </a:cubicBezTo>
                  <a:cubicBezTo>
                    <a:pt x="6559434" y="1580158"/>
                    <a:pt x="6544153" y="1595439"/>
                    <a:pt x="6525302" y="1595439"/>
                  </a:cubicBezTo>
                  <a:cubicBezTo>
                    <a:pt x="6506451" y="1595439"/>
                    <a:pt x="6491170" y="1580158"/>
                    <a:pt x="6491170" y="1561307"/>
                  </a:cubicBezTo>
                  <a:cubicBezTo>
                    <a:pt x="6491170" y="1542456"/>
                    <a:pt x="6506451" y="1527175"/>
                    <a:pt x="6525302" y="1527175"/>
                  </a:cubicBezTo>
                  <a:close/>
                  <a:moveTo>
                    <a:pt x="6439577" y="1527175"/>
                  </a:moveTo>
                  <a:cubicBezTo>
                    <a:pt x="6458428" y="1527175"/>
                    <a:pt x="6473709" y="1542456"/>
                    <a:pt x="6473709" y="1561307"/>
                  </a:cubicBezTo>
                  <a:cubicBezTo>
                    <a:pt x="6473709" y="1580158"/>
                    <a:pt x="6458428" y="1595439"/>
                    <a:pt x="6439577" y="1595439"/>
                  </a:cubicBezTo>
                  <a:cubicBezTo>
                    <a:pt x="6420726" y="1595439"/>
                    <a:pt x="6405445" y="1580158"/>
                    <a:pt x="6405445" y="1561307"/>
                  </a:cubicBezTo>
                  <a:cubicBezTo>
                    <a:pt x="6405445" y="1542456"/>
                    <a:pt x="6420726" y="1527175"/>
                    <a:pt x="6439577" y="1527175"/>
                  </a:cubicBezTo>
                  <a:close/>
                  <a:moveTo>
                    <a:pt x="6353852" y="1527175"/>
                  </a:moveTo>
                  <a:cubicBezTo>
                    <a:pt x="6372703" y="1527175"/>
                    <a:pt x="6387984" y="1542456"/>
                    <a:pt x="6387984" y="1561307"/>
                  </a:cubicBezTo>
                  <a:cubicBezTo>
                    <a:pt x="6387984" y="1580158"/>
                    <a:pt x="6372703" y="1595439"/>
                    <a:pt x="6353852" y="1595439"/>
                  </a:cubicBezTo>
                  <a:cubicBezTo>
                    <a:pt x="6335001" y="1595439"/>
                    <a:pt x="6319720" y="1580158"/>
                    <a:pt x="6319720" y="1561307"/>
                  </a:cubicBezTo>
                  <a:cubicBezTo>
                    <a:pt x="6319720" y="1542456"/>
                    <a:pt x="6335001" y="1527175"/>
                    <a:pt x="6353852" y="1527175"/>
                  </a:cubicBezTo>
                  <a:close/>
                  <a:moveTo>
                    <a:pt x="6268920" y="1527175"/>
                  </a:moveTo>
                  <a:cubicBezTo>
                    <a:pt x="6288209" y="1527175"/>
                    <a:pt x="6303845" y="1542456"/>
                    <a:pt x="6303845" y="1561307"/>
                  </a:cubicBezTo>
                  <a:cubicBezTo>
                    <a:pt x="6303845" y="1580158"/>
                    <a:pt x="6288209" y="1595439"/>
                    <a:pt x="6268920" y="1595439"/>
                  </a:cubicBezTo>
                  <a:cubicBezTo>
                    <a:pt x="6249631" y="1595439"/>
                    <a:pt x="6233995" y="1580158"/>
                    <a:pt x="6233995" y="1561307"/>
                  </a:cubicBezTo>
                  <a:cubicBezTo>
                    <a:pt x="6233995" y="1542456"/>
                    <a:pt x="6249631" y="1527175"/>
                    <a:pt x="6268920" y="1527175"/>
                  </a:cubicBezTo>
                  <a:close/>
                  <a:moveTo>
                    <a:pt x="6188752" y="1527175"/>
                  </a:moveTo>
                  <a:cubicBezTo>
                    <a:pt x="6207603" y="1527175"/>
                    <a:pt x="6222884" y="1542456"/>
                    <a:pt x="6222884" y="1561307"/>
                  </a:cubicBezTo>
                  <a:cubicBezTo>
                    <a:pt x="6222884" y="1580158"/>
                    <a:pt x="6207603" y="1595439"/>
                    <a:pt x="6188752" y="1595439"/>
                  </a:cubicBezTo>
                  <a:cubicBezTo>
                    <a:pt x="6169901" y="1595439"/>
                    <a:pt x="6154620" y="1580158"/>
                    <a:pt x="6154620" y="1561307"/>
                  </a:cubicBezTo>
                  <a:cubicBezTo>
                    <a:pt x="6154620" y="1542456"/>
                    <a:pt x="6169901" y="1527175"/>
                    <a:pt x="6188752" y="1527175"/>
                  </a:cubicBezTo>
                  <a:close/>
                  <a:moveTo>
                    <a:pt x="6103027" y="1527175"/>
                  </a:moveTo>
                  <a:cubicBezTo>
                    <a:pt x="6121878" y="1527175"/>
                    <a:pt x="6137159" y="1542456"/>
                    <a:pt x="6137159" y="1561307"/>
                  </a:cubicBezTo>
                  <a:cubicBezTo>
                    <a:pt x="6137159" y="1580158"/>
                    <a:pt x="6121878" y="1595439"/>
                    <a:pt x="6103027" y="1595439"/>
                  </a:cubicBezTo>
                  <a:cubicBezTo>
                    <a:pt x="6084176" y="1595439"/>
                    <a:pt x="6068895" y="1580158"/>
                    <a:pt x="6068895" y="1561307"/>
                  </a:cubicBezTo>
                  <a:cubicBezTo>
                    <a:pt x="6068895" y="1542456"/>
                    <a:pt x="6084176" y="1527175"/>
                    <a:pt x="6103027" y="1527175"/>
                  </a:cubicBezTo>
                  <a:close/>
                  <a:moveTo>
                    <a:pt x="6017302" y="1527175"/>
                  </a:moveTo>
                  <a:cubicBezTo>
                    <a:pt x="6036153" y="1527175"/>
                    <a:pt x="6051434" y="1542456"/>
                    <a:pt x="6051434" y="1561307"/>
                  </a:cubicBezTo>
                  <a:cubicBezTo>
                    <a:pt x="6051434" y="1580158"/>
                    <a:pt x="6036153" y="1595439"/>
                    <a:pt x="6017302" y="1595439"/>
                  </a:cubicBezTo>
                  <a:cubicBezTo>
                    <a:pt x="5998451" y="1595439"/>
                    <a:pt x="5983170" y="1580158"/>
                    <a:pt x="5983170" y="1561307"/>
                  </a:cubicBezTo>
                  <a:cubicBezTo>
                    <a:pt x="5983170" y="1542456"/>
                    <a:pt x="5998451" y="1527175"/>
                    <a:pt x="6017302" y="1527175"/>
                  </a:cubicBezTo>
                  <a:close/>
                  <a:moveTo>
                    <a:pt x="5932370" y="1527175"/>
                  </a:moveTo>
                  <a:cubicBezTo>
                    <a:pt x="5951659" y="1527175"/>
                    <a:pt x="5967295" y="1542456"/>
                    <a:pt x="5967295" y="1561307"/>
                  </a:cubicBezTo>
                  <a:cubicBezTo>
                    <a:pt x="5967295" y="1580158"/>
                    <a:pt x="5951659" y="1595439"/>
                    <a:pt x="5932370" y="1595439"/>
                  </a:cubicBezTo>
                  <a:cubicBezTo>
                    <a:pt x="5913081" y="1595439"/>
                    <a:pt x="5897445" y="1580158"/>
                    <a:pt x="5897445" y="1561307"/>
                  </a:cubicBezTo>
                  <a:cubicBezTo>
                    <a:pt x="5897445" y="1542456"/>
                    <a:pt x="5913081" y="1527175"/>
                    <a:pt x="5932370" y="1527175"/>
                  </a:cubicBezTo>
                  <a:close/>
                  <a:moveTo>
                    <a:pt x="5849821" y="1527175"/>
                  </a:moveTo>
                  <a:cubicBezTo>
                    <a:pt x="5869987" y="1527175"/>
                    <a:pt x="5886334" y="1542456"/>
                    <a:pt x="5886334" y="1561307"/>
                  </a:cubicBezTo>
                  <a:cubicBezTo>
                    <a:pt x="5886334" y="1580158"/>
                    <a:pt x="5869987" y="1595439"/>
                    <a:pt x="5849821" y="1595439"/>
                  </a:cubicBezTo>
                  <a:cubicBezTo>
                    <a:pt x="5829655" y="1595439"/>
                    <a:pt x="5813308" y="1580158"/>
                    <a:pt x="5813308" y="1561307"/>
                  </a:cubicBezTo>
                  <a:cubicBezTo>
                    <a:pt x="5813308" y="1542456"/>
                    <a:pt x="5829655" y="1527175"/>
                    <a:pt x="5849821" y="1527175"/>
                  </a:cubicBezTo>
                  <a:close/>
                  <a:moveTo>
                    <a:pt x="5766477" y="1527175"/>
                  </a:moveTo>
                  <a:cubicBezTo>
                    <a:pt x="5785328" y="1527175"/>
                    <a:pt x="5800609" y="1542456"/>
                    <a:pt x="5800609" y="1561307"/>
                  </a:cubicBezTo>
                  <a:cubicBezTo>
                    <a:pt x="5800609" y="1580158"/>
                    <a:pt x="5785328" y="1595439"/>
                    <a:pt x="5766477" y="1595439"/>
                  </a:cubicBezTo>
                  <a:cubicBezTo>
                    <a:pt x="5747626" y="1595439"/>
                    <a:pt x="5732345" y="1580158"/>
                    <a:pt x="5732345" y="1561307"/>
                  </a:cubicBezTo>
                  <a:cubicBezTo>
                    <a:pt x="5732345" y="1542456"/>
                    <a:pt x="5747626" y="1527175"/>
                    <a:pt x="5766477" y="1527175"/>
                  </a:cubicBezTo>
                  <a:close/>
                  <a:moveTo>
                    <a:pt x="5680752" y="1527175"/>
                  </a:moveTo>
                  <a:cubicBezTo>
                    <a:pt x="5699603" y="1527175"/>
                    <a:pt x="5714884" y="1542456"/>
                    <a:pt x="5714884" y="1561307"/>
                  </a:cubicBezTo>
                  <a:cubicBezTo>
                    <a:pt x="5714884" y="1580158"/>
                    <a:pt x="5699603" y="1595439"/>
                    <a:pt x="5680752" y="1595439"/>
                  </a:cubicBezTo>
                  <a:cubicBezTo>
                    <a:pt x="5661901" y="1595439"/>
                    <a:pt x="5646620" y="1580158"/>
                    <a:pt x="5646620" y="1561307"/>
                  </a:cubicBezTo>
                  <a:cubicBezTo>
                    <a:pt x="5646620" y="1542456"/>
                    <a:pt x="5661901" y="1527175"/>
                    <a:pt x="5680752" y="1527175"/>
                  </a:cubicBezTo>
                  <a:close/>
                  <a:moveTo>
                    <a:pt x="5595820" y="1527175"/>
                  </a:moveTo>
                  <a:cubicBezTo>
                    <a:pt x="5615109" y="1527175"/>
                    <a:pt x="5630745" y="1542456"/>
                    <a:pt x="5630745" y="1561307"/>
                  </a:cubicBezTo>
                  <a:cubicBezTo>
                    <a:pt x="5630745" y="1580158"/>
                    <a:pt x="5615109" y="1595439"/>
                    <a:pt x="5595820" y="1595439"/>
                  </a:cubicBezTo>
                  <a:cubicBezTo>
                    <a:pt x="5576531" y="1595439"/>
                    <a:pt x="5560895" y="1580158"/>
                    <a:pt x="5560895" y="1561307"/>
                  </a:cubicBezTo>
                  <a:cubicBezTo>
                    <a:pt x="5560895" y="1542456"/>
                    <a:pt x="5576531" y="1527175"/>
                    <a:pt x="5595820" y="1527175"/>
                  </a:cubicBezTo>
                  <a:close/>
                  <a:moveTo>
                    <a:pt x="5258477" y="1527175"/>
                  </a:moveTo>
                  <a:cubicBezTo>
                    <a:pt x="5277328" y="1527175"/>
                    <a:pt x="5292609" y="1542456"/>
                    <a:pt x="5292609" y="1561307"/>
                  </a:cubicBezTo>
                  <a:cubicBezTo>
                    <a:pt x="5292609" y="1580158"/>
                    <a:pt x="5277328" y="1595439"/>
                    <a:pt x="5258477" y="1595439"/>
                  </a:cubicBezTo>
                  <a:cubicBezTo>
                    <a:pt x="5239626" y="1595439"/>
                    <a:pt x="5224345" y="1580158"/>
                    <a:pt x="5224345" y="1561307"/>
                  </a:cubicBezTo>
                  <a:cubicBezTo>
                    <a:pt x="5224345" y="1542456"/>
                    <a:pt x="5239626" y="1527175"/>
                    <a:pt x="5258477" y="1527175"/>
                  </a:cubicBezTo>
                  <a:close/>
                  <a:moveTo>
                    <a:pt x="4921927" y="1527175"/>
                  </a:moveTo>
                  <a:cubicBezTo>
                    <a:pt x="4940778" y="1527175"/>
                    <a:pt x="4956059" y="1542456"/>
                    <a:pt x="4956059" y="1561307"/>
                  </a:cubicBezTo>
                  <a:cubicBezTo>
                    <a:pt x="4956059" y="1580158"/>
                    <a:pt x="4940778" y="1595439"/>
                    <a:pt x="4921927" y="1595439"/>
                  </a:cubicBezTo>
                  <a:cubicBezTo>
                    <a:pt x="4903076" y="1595439"/>
                    <a:pt x="4887795" y="1580158"/>
                    <a:pt x="4887795" y="1561307"/>
                  </a:cubicBezTo>
                  <a:cubicBezTo>
                    <a:pt x="4887795" y="1542456"/>
                    <a:pt x="4903076" y="1527175"/>
                    <a:pt x="4921927" y="1527175"/>
                  </a:cubicBezTo>
                  <a:close/>
                  <a:moveTo>
                    <a:pt x="3320139" y="1527175"/>
                  </a:moveTo>
                  <a:cubicBezTo>
                    <a:pt x="3338990" y="1527175"/>
                    <a:pt x="3354271" y="1542456"/>
                    <a:pt x="3354271" y="1561307"/>
                  </a:cubicBezTo>
                  <a:cubicBezTo>
                    <a:pt x="3354271" y="1580158"/>
                    <a:pt x="3338990" y="1595439"/>
                    <a:pt x="3320139" y="1595439"/>
                  </a:cubicBezTo>
                  <a:cubicBezTo>
                    <a:pt x="3301288" y="1595439"/>
                    <a:pt x="3286007" y="1580158"/>
                    <a:pt x="3286007" y="1561307"/>
                  </a:cubicBezTo>
                  <a:cubicBezTo>
                    <a:pt x="3286007" y="1542456"/>
                    <a:pt x="3301288" y="1527175"/>
                    <a:pt x="3320139" y="1527175"/>
                  </a:cubicBezTo>
                  <a:close/>
                  <a:moveTo>
                    <a:pt x="3234414" y="1527175"/>
                  </a:moveTo>
                  <a:cubicBezTo>
                    <a:pt x="3253265" y="1527175"/>
                    <a:pt x="3268546" y="1542456"/>
                    <a:pt x="3268546" y="1561307"/>
                  </a:cubicBezTo>
                  <a:cubicBezTo>
                    <a:pt x="3268546" y="1580158"/>
                    <a:pt x="3253265" y="1595439"/>
                    <a:pt x="3234414" y="1595439"/>
                  </a:cubicBezTo>
                  <a:cubicBezTo>
                    <a:pt x="3215563" y="1595439"/>
                    <a:pt x="3200282" y="1580158"/>
                    <a:pt x="3200282" y="1561307"/>
                  </a:cubicBezTo>
                  <a:cubicBezTo>
                    <a:pt x="3200282" y="1542456"/>
                    <a:pt x="3215563" y="1527175"/>
                    <a:pt x="3234414" y="1527175"/>
                  </a:cubicBezTo>
                  <a:close/>
                  <a:moveTo>
                    <a:pt x="3153452" y="1527175"/>
                  </a:moveTo>
                  <a:cubicBezTo>
                    <a:pt x="3172303" y="1527175"/>
                    <a:pt x="3187584" y="1542456"/>
                    <a:pt x="3187584" y="1561307"/>
                  </a:cubicBezTo>
                  <a:cubicBezTo>
                    <a:pt x="3187584" y="1580158"/>
                    <a:pt x="3172303" y="1595439"/>
                    <a:pt x="3153452" y="1595439"/>
                  </a:cubicBezTo>
                  <a:cubicBezTo>
                    <a:pt x="3134601" y="1595439"/>
                    <a:pt x="3119320" y="1580158"/>
                    <a:pt x="3119320" y="1561307"/>
                  </a:cubicBezTo>
                  <a:cubicBezTo>
                    <a:pt x="3119320" y="1542456"/>
                    <a:pt x="3134601" y="1527175"/>
                    <a:pt x="3153452" y="1527175"/>
                  </a:cubicBezTo>
                  <a:close/>
                  <a:moveTo>
                    <a:pt x="3068520" y="1527175"/>
                  </a:moveTo>
                  <a:cubicBezTo>
                    <a:pt x="3087809" y="1527175"/>
                    <a:pt x="3103445" y="1542456"/>
                    <a:pt x="3103445" y="1561307"/>
                  </a:cubicBezTo>
                  <a:cubicBezTo>
                    <a:pt x="3103445" y="1580158"/>
                    <a:pt x="3087809" y="1595439"/>
                    <a:pt x="3068520" y="1595439"/>
                  </a:cubicBezTo>
                  <a:cubicBezTo>
                    <a:pt x="3049231" y="1595439"/>
                    <a:pt x="3033595" y="1580158"/>
                    <a:pt x="3033595" y="1561307"/>
                  </a:cubicBezTo>
                  <a:cubicBezTo>
                    <a:pt x="3033595" y="1542456"/>
                    <a:pt x="3049231" y="1527175"/>
                    <a:pt x="3068520" y="1527175"/>
                  </a:cubicBezTo>
                  <a:close/>
                  <a:moveTo>
                    <a:pt x="2983589" y="1527175"/>
                  </a:moveTo>
                  <a:cubicBezTo>
                    <a:pt x="3002440" y="1527175"/>
                    <a:pt x="3017721" y="1542456"/>
                    <a:pt x="3017721" y="1561307"/>
                  </a:cubicBezTo>
                  <a:cubicBezTo>
                    <a:pt x="3017721" y="1580158"/>
                    <a:pt x="3002440" y="1595439"/>
                    <a:pt x="2983589" y="1595439"/>
                  </a:cubicBezTo>
                  <a:cubicBezTo>
                    <a:pt x="2964738" y="1595439"/>
                    <a:pt x="2949457" y="1580158"/>
                    <a:pt x="2949457" y="1561307"/>
                  </a:cubicBezTo>
                  <a:cubicBezTo>
                    <a:pt x="2949457" y="1542456"/>
                    <a:pt x="2964738" y="1527175"/>
                    <a:pt x="2983589" y="1527175"/>
                  </a:cubicBezTo>
                  <a:close/>
                  <a:moveTo>
                    <a:pt x="2897864" y="1527175"/>
                  </a:moveTo>
                  <a:cubicBezTo>
                    <a:pt x="2916715" y="1527175"/>
                    <a:pt x="2931996" y="1542456"/>
                    <a:pt x="2931996" y="1561307"/>
                  </a:cubicBezTo>
                  <a:cubicBezTo>
                    <a:pt x="2931996" y="1580158"/>
                    <a:pt x="2916715" y="1595439"/>
                    <a:pt x="2897864" y="1595439"/>
                  </a:cubicBezTo>
                  <a:cubicBezTo>
                    <a:pt x="2879013" y="1595439"/>
                    <a:pt x="2863732" y="1580158"/>
                    <a:pt x="2863732" y="1561307"/>
                  </a:cubicBezTo>
                  <a:cubicBezTo>
                    <a:pt x="2863732" y="1542456"/>
                    <a:pt x="2879013" y="1527175"/>
                    <a:pt x="2897864" y="1527175"/>
                  </a:cubicBezTo>
                  <a:close/>
                  <a:moveTo>
                    <a:pt x="2814520" y="1527175"/>
                  </a:moveTo>
                  <a:cubicBezTo>
                    <a:pt x="2834686" y="1527175"/>
                    <a:pt x="2851033" y="1542456"/>
                    <a:pt x="2851033" y="1561307"/>
                  </a:cubicBezTo>
                  <a:cubicBezTo>
                    <a:pt x="2851033" y="1580158"/>
                    <a:pt x="2834686" y="1595439"/>
                    <a:pt x="2814520" y="1595439"/>
                  </a:cubicBezTo>
                  <a:cubicBezTo>
                    <a:pt x="2794354" y="1595439"/>
                    <a:pt x="2778007" y="1580158"/>
                    <a:pt x="2778007" y="1561307"/>
                  </a:cubicBezTo>
                  <a:cubicBezTo>
                    <a:pt x="2778007" y="1542456"/>
                    <a:pt x="2794354" y="1527175"/>
                    <a:pt x="2814520" y="1527175"/>
                  </a:cubicBezTo>
                  <a:close/>
                  <a:moveTo>
                    <a:pt x="2646410" y="1527175"/>
                  </a:moveTo>
                  <a:cubicBezTo>
                    <a:pt x="2665696" y="1527175"/>
                    <a:pt x="2681334" y="1542456"/>
                    <a:pt x="2681334" y="1561307"/>
                  </a:cubicBezTo>
                  <a:cubicBezTo>
                    <a:pt x="2681334" y="1580158"/>
                    <a:pt x="2665696" y="1595439"/>
                    <a:pt x="2646410" y="1595439"/>
                  </a:cubicBezTo>
                  <a:cubicBezTo>
                    <a:pt x="2627123" y="1595439"/>
                    <a:pt x="2611483" y="1580158"/>
                    <a:pt x="2611483" y="1561307"/>
                  </a:cubicBezTo>
                  <a:cubicBezTo>
                    <a:pt x="2611483" y="1542456"/>
                    <a:pt x="2627123" y="1527175"/>
                    <a:pt x="2646410" y="1527175"/>
                  </a:cubicBezTo>
                  <a:close/>
                  <a:moveTo>
                    <a:pt x="2561479" y="1527175"/>
                  </a:moveTo>
                  <a:cubicBezTo>
                    <a:pt x="2580330" y="1527175"/>
                    <a:pt x="2595609" y="1542456"/>
                    <a:pt x="2595609" y="1561307"/>
                  </a:cubicBezTo>
                  <a:cubicBezTo>
                    <a:pt x="2595609" y="1580158"/>
                    <a:pt x="2580330" y="1595439"/>
                    <a:pt x="2561479" y="1595439"/>
                  </a:cubicBezTo>
                  <a:cubicBezTo>
                    <a:pt x="2542628" y="1595439"/>
                    <a:pt x="2527342" y="1580158"/>
                    <a:pt x="2527342" y="1561307"/>
                  </a:cubicBezTo>
                  <a:cubicBezTo>
                    <a:pt x="2527342" y="1542456"/>
                    <a:pt x="2542628" y="1527175"/>
                    <a:pt x="2561479" y="1527175"/>
                  </a:cubicBezTo>
                  <a:close/>
                  <a:moveTo>
                    <a:pt x="2475754" y="1527175"/>
                  </a:moveTo>
                  <a:cubicBezTo>
                    <a:pt x="2494608" y="1527175"/>
                    <a:pt x="2509883" y="1542456"/>
                    <a:pt x="2509883" y="1561307"/>
                  </a:cubicBezTo>
                  <a:cubicBezTo>
                    <a:pt x="2509883" y="1580158"/>
                    <a:pt x="2494608" y="1595439"/>
                    <a:pt x="2475754" y="1595439"/>
                  </a:cubicBezTo>
                  <a:cubicBezTo>
                    <a:pt x="2456900" y="1595439"/>
                    <a:pt x="2441619" y="1580158"/>
                    <a:pt x="2441619" y="1561307"/>
                  </a:cubicBezTo>
                  <a:cubicBezTo>
                    <a:pt x="2441619" y="1542456"/>
                    <a:pt x="2456900" y="1527175"/>
                    <a:pt x="2475754" y="1527175"/>
                  </a:cubicBezTo>
                  <a:close/>
                  <a:moveTo>
                    <a:pt x="2394790" y="1527175"/>
                  </a:moveTo>
                  <a:cubicBezTo>
                    <a:pt x="2413638" y="1527175"/>
                    <a:pt x="2428919" y="1542456"/>
                    <a:pt x="2428919" y="1561307"/>
                  </a:cubicBezTo>
                  <a:cubicBezTo>
                    <a:pt x="2428919" y="1580158"/>
                    <a:pt x="2413638" y="1595439"/>
                    <a:pt x="2394790" y="1595439"/>
                  </a:cubicBezTo>
                  <a:cubicBezTo>
                    <a:pt x="2375933" y="1595439"/>
                    <a:pt x="2360656" y="1580158"/>
                    <a:pt x="2360656" y="1561307"/>
                  </a:cubicBezTo>
                  <a:cubicBezTo>
                    <a:pt x="2360656" y="1542456"/>
                    <a:pt x="2375933" y="1527175"/>
                    <a:pt x="2394790" y="1527175"/>
                  </a:cubicBezTo>
                  <a:close/>
                  <a:moveTo>
                    <a:pt x="2309856" y="1527175"/>
                  </a:moveTo>
                  <a:cubicBezTo>
                    <a:pt x="2329141" y="1527175"/>
                    <a:pt x="2344781" y="1542456"/>
                    <a:pt x="2344781" y="1561307"/>
                  </a:cubicBezTo>
                  <a:cubicBezTo>
                    <a:pt x="2344781" y="1580158"/>
                    <a:pt x="2329141" y="1595439"/>
                    <a:pt x="2309856" y="1595439"/>
                  </a:cubicBezTo>
                  <a:cubicBezTo>
                    <a:pt x="2290564" y="1595439"/>
                    <a:pt x="2274920" y="1580158"/>
                    <a:pt x="2274920" y="1561307"/>
                  </a:cubicBezTo>
                  <a:cubicBezTo>
                    <a:pt x="2274920" y="1542456"/>
                    <a:pt x="2290564" y="1527175"/>
                    <a:pt x="2309856" y="1527175"/>
                  </a:cubicBezTo>
                  <a:close/>
                  <a:moveTo>
                    <a:pt x="2139049" y="1527175"/>
                  </a:moveTo>
                  <a:cubicBezTo>
                    <a:pt x="2157900" y="1527175"/>
                    <a:pt x="2173182" y="1542456"/>
                    <a:pt x="2173182" y="1561307"/>
                  </a:cubicBezTo>
                  <a:cubicBezTo>
                    <a:pt x="2173182" y="1580158"/>
                    <a:pt x="2157900" y="1595439"/>
                    <a:pt x="2139049" y="1595439"/>
                  </a:cubicBezTo>
                  <a:cubicBezTo>
                    <a:pt x="2120198" y="1595439"/>
                    <a:pt x="2104917" y="1580158"/>
                    <a:pt x="2104917" y="1561307"/>
                  </a:cubicBezTo>
                  <a:cubicBezTo>
                    <a:pt x="2104917" y="1542456"/>
                    <a:pt x="2120198" y="1527175"/>
                    <a:pt x="2139049" y="1527175"/>
                  </a:cubicBezTo>
                  <a:close/>
                  <a:moveTo>
                    <a:pt x="2055706" y="1527175"/>
                  </a:moveTo>
                  <a:cubicBezTo>
                    <a:pt x="2075871" y="1527175"/>
                    <a:pt x="2092218" y="1542456"/>
                    <a:pt x="2092218" y="1561307"/>
                  </a:cubicBezTo>
                  <a:cubicBezTo>
                    <a:pt x="2092218" y="1580158"/>
                    <a:pt x="2075871" y="1595439"/>
                    <a:pt x="2055706" y="1595439"/>
                  </a:cubicBezTo>
                  <a:cubicBezTo>
                    <a:pt x="2035539" y="1595439"/>
                    <a:pt x="2019193" y="1580158"/>
                    <a:pt x="2019193" y="1561307"/>
                  </a:cubicBezTo>
                  <a:cubicBezTo>
                    <a:pt x="2019193" y="1542456"/>
                    <a:pt x="2035539" y="1527175"/>
                    <a:pt x="2055706" y="1527175"/>
                  </a:cubicBezTo>
                  <a:close/>
                  <a:moveTo>
                    <a:pt x="1973156" y="1527175"/>
                  </a:moveTo>
                  <a:cubicBezTo>
                    <a:pt x="1992445" y="1527175"/>
                    <a:pt x="2008081" y="1542456"/>
                    <a:pt x="2008081" y="1561307"/>
                  </a:cubicBezTo>
                  <a:cubicBezTo>
                    <a:pt x="2008081" y="1580158"/>
                    <a:pt x="1992445" y="1595439"/>
                    <a:pt x="1973156" y="1595439"/>
                  </a:cubicBezTo>
                  <a:cubicBezTo>
                    <a:pt x="1953868" y="1595439"/>
                    <a:pt x="1938231" y="1580158"/>
                    <a:pt x="1938231" y="1561307"/>
                  </a:cubicBezTo>
                  <a:cubicBezTo>
                    <a:pt x="1938231" y="1542456"/>
                    <a:pt x="1953868" y="1527175"/>
                    <a:pt x="1973156" y="1527175"/>
                  </a:cubicBezTo>
                  <a:close/>
                  <a:moveTo>
                    <a:pt x="1888226" y="1527175"/>
                  </a:moveTo>
                  <a:cubicBezTo>
                    <a:pt x="1907077" y="1527175"/>
                    <a:pt x="1922358" y="1542456"/>
                    <a:pt x="1922358" y="1561307"/>
                  </a:cubicBezTo>
                  <a:cubicBezTo>
                    <a:pt x="1922358" y="1580158"/>
                    <a:pt x="1907077" y="1595439"/>
                    <a:pt x="1888226" y="1595439"/>
                  </a:cubicBezTo>
                  <a:cubicBezTo>
                    <a:pt x="1869375" y="1595439"/>
                    <a:pt x="1854094" y="1580158"/>
                    <a:pt x="1854094" y="1561307"/>
                  </a:cubicBezTo>
                  <a:cubicBezTo>
                    <a:pt x="1854094" y="1542456"/>
                    <a:pt x="1869375" y="1527175"/>
                    <a:pt x="1888226" y="1527175"/>
                  </a:cubicBezTo>
                  <a:close/>
                  <a:moveTo>
                    <a:pt x="1802501" y="1527175"/>
                  </a:moveTo>
                  <a:cubicBezTo>
                    <a:pt x="1821352" y="1527175"/>
                    <a:pt x="1836634" y="1542456"/>
                    <a:pt x="1836634" y="1561307"/>
                  </a:cubicBezTo>
                  <a:cubicBezTo>
                    <a:pt x="1836634" y="1580158"/>
                    <a:pt x="1821352" y="1595439"/>
                    <a:pt x="1802501" y="1595439"/>
                  </a:cubicBezTo>
                  <a:cubicBezTo>
                    <a:pt x="1783651" y="1595439"/>
                    <a:pt x="1768370" y="1580158"/>
                    <a:pt x="1768370" y="1561307"/>
                  </a:cubicBezTo>
                  <a:cubicBezTo>
                    <a:pt x="1768370" y="1542456"/>
                    <a:pt x="1783651" y="1527175"/>
                    <a:pt x="1802501" y="1527175"/>
                  </a:cubicBezTo>
                  <a:close/>
                  <a:moveTo>
                    <a:pt x="1719157" y="1527175"/>
                  </a:moveTo>
                  <a:cubicBezTo>
                    <a:pt x="1739324" y="1527175"/>
                    <a:pt x="1755671" y="1542456"/>
                    <a:pt x="1755671" y="1561307"/>
                  </a:cubicBezTo>
                  <a:cubicBezTo>
                    <a:pt x="1755671" y="1580158"/>
                    <a:pt x="1739324" y="1595439"/>
                    <a:pt x="1719157" y="1595439"/>
                  </a:cubicBezTo>
                  <a:cubicBezTo>
                    <a:pt x="1698992" y="1595439"/>
                    <a:pt x="1682645" y="1580158"/>
                    <a:pt x="1682645" y="1561307"/>
                  </a:cubicBezTo>
                  <a:cubicBezTo>
                    <a:pt x="1682645" y="1542456"/>
                    <a:pt x="1698992" y="1527175"/>
                    <a:pt x="1719157" y="1527175"/>
                  </a:cubicBezTo>
                  <a:close/>
                  <a:moveTo>
                    <a:pt x="1636608" y="1527175"/>
                  </a:moveTo>
                  <a:cubicBezTo>
                    <a:pt x="1655897" y="1527175"/>
                    <a:pt x="1671533" y="1542456"/>
                    <a:pt x="1671533" y="1561307"/>
                  </a:cubicBezTo>
                  <a:cubicBezTo>
                    <a:pt x="1671533" y="1580158"/>
                    <a:pt x="1655897" y="1595439"/>
                    <a:pt x="1636608" y="1595439"/>
                  </a:cubicBezTo>
                  <a:cubicBezTo>
                    <a:pt x="1617319" y="1595439"/>
                    <a:pt x="1601683" y="1580158"/>
                    <a:pt x="1601683" y="1561307"/>
                  </a:cubicBezTo>
                  <a:cubicBezTo>
                    <a:pt x="1601683" y="1542456"/>
                    <a:pt x="1617319" y="1527175"/>
                    <a:pt x="1636608" y="1527175"/>
                  </a:cubicBezTo>
                  <a:close/>
                  <a:moveTo>
                    <a:pt x="1551677" y="1527175"/>
                  </a:moveTo>
                  <a:cubicBezTo>
                    <a:pt x="1570528" y="1527175"/>
                    <a:pt x="1585810" y="1542456"/>
                    <a:pt x="1585810" y="1561307"/>
                  </a:cubicBezTo>
                  <a:cubicBezTo>
                    <a:pt x="1585810" y="1580158"/>
                    <a:pt x="1570528" y="1595439"/>
                    <a:pt x="1551677" y="1595439"/>
                  </a:cubicBezTo>
                  <a:cubicBezTo>
                    <a:pt x="1532826" y="1595439"/>
                    <a:pt x="1517545" y="1580158"/>
                    <a:pt x="1517545" y="1561307"/>
                  </a:cubicBezTo>
                  <a:cubicBezTo>
                    <a:pt x="1517545" y="1542456"/>
                    <a:pt x="1532826" y="1527175"/>
                    <a:pt x="1551677" y="1527175"/>
                  </a:cubicBezTo>
                  <a:close/>
                  <a:moveTo>
                    <a:pt x="1466114" y="1527175"/>
                  </a:moveTo>
                  <a:cubicBezTo>
                    <a:pt x="1484965" y="1527175"/>
                    <a:pt x="1500247" y="1542456"/>
                    <a:pt x="1500247" y="1561307"/>
                  </a:cubicBezTo>
                  <a:cubicBezTo>
                    <a:pt x="1500247" y="1580158"/>
                    <a:pt x="1484965" y="1595439"/>
                    <a:pt x="1466114" y="1595439"/>
                  </a:cubicBezTo>
                  <a:cubicBezTo>
                    <a:pt x="1447265" y="1595439"/>
                    <a:pt x="1431983" y="1580158"/>
                    <a:pt x="1431983" y="1561307"/>
                  </a:cubicBezTo>
                  <a:cubicBezTo>
                    <a:pt x="1431983" y="1542456"/>
                    <a:pt x="1447265" y="1527175"/>
                    <a:pt x="1466114" y="1527175"/>
                  </a:cubicBezTo>
                  <a:close/>
                  <a:moveTo>
                    <a:pt x="9138327" y="1441450"/>
                  </a:moveTo>
                  <a:cubicBezTo>
                    <a:pt x="9157178" y="1441450"/>
                    <a:pt x="9172459" y="1456731"/>
                    <a:pt x="9172459" y="1475582"/>
                  </a:cubicBezTo>
                  <a:cubicBezTo>
                    <a:pt x="9172459" y="1494433"/>
                    <a:pt x="9157178" y="1509714"/>
                    <a:pt x="9138327" y="1509714"/>
                  </a:cubicBezTo>
                  <a:cubicBezTo>
                    <a:pt x="9119476" y="1509714"/>
                    <a:pt x="9104195" y="1494433"/>
                    <a:pt x="9104195" y="1475582"/>
                  </a:cubicBezTo>
                  <a:cubicBezTo>
                    <a:pt x="9104195" y="1456731"/>
                    <a:pt x="9119476" y="1441450"/>
                    <a:pt x="9138327" y="1441450"/>
                  </a:cubicBezTo>
                  <a:close/>
                  <a:moveTo>
                    <a:pt x="8966877" y="1441450"/>
                  </a:moveTo>
                  <a:cubicBezTo>
                    <a:pt x="8985728" y="1441450"/>
                    <a:pt x="9001009" y="1456731"/>
                    <a:pt x="9001009" y="1475582"/>
                  </a:cubicBezTo>
                  <a:cubicBezTo>
                    <a:pt x="9001009" y="1494433"/>
                    <a:pt x="8985728" y="1509714"/>
                    <a:pt x="8966877" y="1509714"/>
                  </a:cubicBezTo>
                  <a:cubicBezTo>
                    <a:pt x="8948026" y="1509714"/>
                    <a:pt x="8932745" y="1494433"/>
                    <a:pt x="8932745" y="1475582"/>
                  </a:cubicBezTo>
                  <a:cubicBezTo>
                    <a:pt x="8932745" y="1456731"/>
                    <a:pt x="8948026" y="1441450"/>
                    <a:pt x="8966877" y="1441450"/>
                  </a:cubicBezTo>
                  <a:close/>
                  <a:moveTo>
                    <a:pt x="8884327" y="1441450"/>
                  </a:moveTo>
                  <a:cubicBezTo>
                    <a:pt x="8904931" y="1441450"/>
                    <a:pt x="8921634" y="1456731"/>
                    <a:pt x="8921634" y="1475582"/>
                  </a:cubicBezTo>
                  <a:cubicBezTo>
                    <a:pt x="8921634" y="1494433"/>
                    <a:pt x="8904931" y="1509714"/>
                    <a:pt x="8884327" y="1509714"/>
                  </a:cubicBezTo>
                  <a:cubicBezTo>
                    <a:pt x="8863723" y="1509714"/>
                    <a:pt x="8847020" y="1494433"/>
                    <a:pt x="8847020" y="1475582"/>
                  </a:cubicBezTo>
                  <a:cubicBezTo>
                    <a:pt x="8847020" y="1456731"/>
                    <a:pt x="8863723" y="1441450"/>
                    <a:pt x="8884327" y="1441450"/>
                  </a:cubicBezTo>
                  <a:close/>
                  <a:moveTo>
                    <a:pt x="8801777" y="1441450"/>
                  </a:moveTo>
                  <a:cubicBezTo>
                    <a:pt x="8820628" y="1441450"/>
                    <a:pt x="8835909" y="1456731"/>
                    <a:pt x="8835909" y="1475582"/>
                  </a:cubicBezTo>
                  <a:cubicBezTo>
                    <a:pt x="8835909" y="1494433"/>
                    <a:pt x="8820628" y="1509714"/>
                    <a:pt x="8801777" y="1509714"/>
                  </a:cubicBezTo>
                  <a:cubicBezTo>
                    <a:pt x="8782926" y="1509714"/>
                    <a:pt x="8767645" y="1494433"/>
                    <a:pt x="8767645" y="1475582"/>
                  </a:cubicBezTo>
                  <a:cubicBezTo>
                    <a:pt x="8767645" y="1456731"/>
                    <a:pt x="8782926" y="1441450"/>
                    <a:pt x="8801777" y="1441450"/>
                  </a:cubicBezTo>
                  <a:close/>
                  <a:moveTo>
                    <a:pt x="8716052" y="1441450"/>
                  </a:moveTo>
                  <a:cubicBezTo>
                    <a:pt x="8734903" y="1441450"/>
                    <a:pt x="8750184" y="1456731"/>
                    <a:pt x="8750184" y="1475582"/>
                  </a:cubicBezTo>
                  <a:cubicBezTo>
                    <a:pt x="8750184" y="1494433"/>
                    <a:pt x="8734903" y="1509714"/>
                    <a:pt x="8716052" y="1509714"/>
                  </a:cubicBezTo>
                  <a:cubicBezTo>
                    <a:pt x="8697201" y="1509714"/>
                    <a:pt x="8681920" y="1494433"/>
                    <a:pt x="8681920" y="1475582"/>
                  </a:cubicBezTo>
                  <a:cubicBezTo>
                    <a:pt x="8681920" y="1456731"/>
                    <a:pt x="8697201" y="1441450"/>
                    <a:pt x="8716052" y="1441450"/>
                  </a:cubicBezTo>
                  <a:close/>
                  <a:moveTo>
                    <a:pt x="8630327" y="1441450"/>
                  </a:moveTo>
                  <a:cubicBezTo>
                    <a:pt x="8649178" y="1441450"/>
                    <a:pt x="8664459" y="1456731"/>
                    <a:pt x="8664459" y="1475582"/>
                  </a:cubicBezTo>
                  <a:cubicBezTo>
                    <a:pt x="8664459" y="1494433"/>
                    <a:pt x="8649178" y="1509714"/>
                    <a:pt x="8630327" y="1509714"/>
                  </a:cubicBezTo>
                  <a:cubicBezTo>
                    <a:pt x="8611476" y="1509714"/>
                    <a:pt x="8596195" y="1494433"/>
                    <a:pt x="8596195" y="1475582"/>
                  </a:cubicBezTo>
                  <a:cubicBezTo>
                    <a:pt x="8596195" y="1456731"/>
                    <a:pt x="8611476" y="1441450"/>
                    <a:pt x="8630327" y="1441450"/>
                  </a:cubicBezTo>
                  <a:close/>
                  <a:moveTo>
                    <a:pt x="8544602" y="1441450"/>
                  </a:moveTo>
                  <a:cubicBezTo>
                    <a:pt x="8563453" y="1441450"/>
                    <a:pt x="8578734" y="1456731"/>
                    <a:pt x="8578734" y="1475582"/>
                  </a:cubicBezTo>
                  <a:cubicBezTo>
                    <a:pt x="8578734" y="1494433"/>
                    <a:pt x="8563453" y="1509714"/>
                    <a:pt x="8544602" y="1509714"/>
                  </a:cubicBezTo>
                  <a:cubicBezTo>
                    <a:pt x="8525751" y="1509714"/>
                    <a:pt x="8510470" y="1494433"/>
                    <a:pt x="8510470" y="1475582"/>
                  </a:cubicBezTo>
                  <a:cubicBezTo>
                    <a:pt x="8510470" y="1456731"/>
                    <a:pt x="8525751" y="1441450"/>
                    <a:pt x="8544602" y="1441450"/>
                  </a:cubicBezTo>
                  <a:close/>
                  <a:moveTo>
                    <a:pt x="8465227" y="1441450"/>
                  </a:moveTo>
                  <a:cubicBezTo>
                    <a:pt x="8484078" y="1441450"/>
                    <a:pt x="8499359" y="1456731"/>
                    <a:pt x="8499359" y="1475582"/>
                  </a:cubicBezTo>
                  <a:cubicBezTo>
                    <a:pt x="8499359" y="1494433"/>
                    <a:pt x="8484078" y="1509714"/>
                    <a:pt x="8465227" y="1509714"/>
                  </a:cubicBezTo>
                  <a:cubicBezTo>
                    <a:pt x="8446376" y="1509714"/>
                    <a:pt x="8431095" y="1494433"/>
                    <a:pt x="8431095" y="1475582"/>
                  </a:cubicBezTo>
                  <a:cubicBezTo>
                    <a:pt x="8431095" y="1456731"/>
                    <a:pt x="8446376" y="1441450"/>
                    <a:pt x="8465227" y="1441450"/>
                  </a:cubicBezTo>
                  <a:close/>
                  <a:moveTo>
                    <a:pt x="8379502" y="1441450"/>
                  </a:moveTo>
                  <a:cubicBezTo>
                    <a:pt x="8398353" y="1441450"/>
                    <a:pt x="8413634" y="1456731"/>
                    <a:pt x="8413634" y="1475582"/>
                  </a:cubicBezTo>
                  <a:cubicBezTo>
                    <a:pt x="8413634" y="1494433"/>
                    <a:pt x="8398353" y="1509714"/>
                    <a:pt x="8379502" y="1509714"/>
                  </a:cubicBezTo>
                  <a:cubicBezTo>
                    <a:pt x="8360651" y="1509714"/>
                    <a:pt x="8345370" y="1494433"/>
                    <a:pt x="8345370" y="1475582"/>
                  </a:cubicBezTo>
                  <a:cubicBezTo>
                    <a:pt x="8345370" y="1456731"/>
                    <a:pt x="8360651" y="1441450"/>
                    <a:pt x="8379502" y="1441450"/>
                  </a:cubicBezTo>
                  <a:close/>
                  <a:moveTo>
                    <a:pt x="8293777" y="1441450"/>
                  </a:moveTo>
                  <a:cubicBezTo>
                    <a:pt x="8312628" y="1441450"/>
                    <a:pt x="8327909" y="1456731"/>
                    <a:pt x="8327909" y="1475582"/>
                  </a:cubicBezTo>
                  <a:cubicBezTo>
                    <a:pt x="8327909" y="1494433"/>
                    <a:pt x="8312628" y="1509714"/>
                    <a:pt x="8293777" y="1509714"/>
                  </a:cubicBezTo>
                  <a:cubicBezTo>
                    <a:pt x="8274926" y="1509714"/>
                    <a:pt x="8259645" y="1494433"/>
                    <a:pt x="8259645" y="1475582"/>
                  </a:cubicBezTo>
                  <a:cubicBezTo>
                    <a:pt x="8259645" y="1456731"/>
                    <a:pt x="8274926" y="1441450"/>
                    <a:pt x="8293777" y="1441450"/>
                  </a:cubicBezTo>
                  <a:close/>
                  <a:moveTo>
                    <a:pt x="8208052" y="1441450"/>
                  </a:moveTo>
                  <a:cubicBezTo>
                    <a:pt x="8226903" y="1441450"/>
                    <a:pt x="8242184" y="1456731"/>
                    <a:pt x="8242184" y="1475582"/>
                  </a:cubicBezTo>
                  <a:cubicBezTo>
                    <a:pt x="8242184" y="1494433"/>
                    <a:pt x="8226903" y="1509714"/>
                    <a:pt x="8208052" y="1509714"/>
                  </a:cubicBezTo>
                  <a:cubicBezTo>
                    <a:pt x="8189201" y="1509714"/>
                    <a:pt x="8173920" y="1494433"/>
                    <a:pt x="8173920" y="1475582"/>
                  </a:cubicBezTo>
                  <a:cubicBezTo>
                    <a:pt x="8173920" y="1456731"/>
                    <a:pt x="8189201" y="1441450"/>
                    <a:pt x="8208052" y="1441450"/>
                  </a:cubicBezTo>
                  <a:close/>
                  <a:moveTo>
                    <a:pt x="8125502" y="1441450"/>
                  </a:moveTo>
                  <a:cubicBezTo>
                    <a:pt x="8146106" y="1441450"/>
                    <a:pt x="8162809" y="1456731"/>
                    <a:pt x="8162809" y="1475582"/>
                  </a:cubicBezTo>
                  <a:cubicBezTo>
                    <a:pt x="8162809" y="1494433"/>
                    <a:pt x="8146106" y="1509714"/>
                    <a:pt x="8125502" y="1509714"/>
                  </a:cubicBezTo>
                  <a:cubicBezTo>
                    <a:pt x="8104898" y="1509714"/>
                    <a:pt x="8088195" y="1494433"/>
                    <a:pt x="8088195" y="1475582"/>
                  </a:cubicBezTo>
                  <a:cubicBezTo>
                    <a:pt x="8088195" y="1456731"/>
                    <a:pt x="8104898" y="1441450"/>
                    <a:pt x="8125502" y="1441450"/>
                  </a:cubicBezTo>
                  <a:close/>
                  <a:moveTo>
                    <a:pt x="7957227" y="1441450"/>
                  </a:moveTo>
                  <a:cubicBezTo>
                    <a:pt x="7976078" y="1441450"/>
                    <a:pt x="7991359" y="1456731"/>
                    <a:pt x="7991359" y="1475582"/>
                  </a:cubicBezTo>
                  <a:cubicBezTo>
                    <a:pt x="7991359" y="1494433"/>
                    <a:pt x="7976078" y="1509714"/>
                    <a:pt x="7957227" y="1509714"/>
                  </a:cubicBezTo>
                  <a:cubicBezTo>
                    <a:pt x="7938376" y="1509714"/>
                    <a:pt x="7923095" y="1494433"/>
                    <a:pt x="7923095" y="1475582"/>
                  </a:cubicBezTo>
                  <a:cubicBezTo>
                    <a:pt x="7923095" y="1456731"/>
                    <a:pt x="7938376" y="1441450"/>
                    <a:pt x="7957227" y="1441450"/>
                  </a:cubicBezTo>
                  <a:close/>
                  <a:moveTo>
                    <a:pt x="7871502" y="1441450"/>
                  </a:moveTo>
                  <a:cubicBezTo>
                    <a:pt x="7890353" y="1441450"/>
                    <a:pt x="7905634" y="1456731"/>
                    <a:pt x="7905634" y="1475582"/>
                  </a:cubicBezTo>
                  <a:cubicBezTo>
                    <a:pt x="7905634" y="1494433"/>
                    <a:pt x="7890353" y="1509714"/>
                    <a:pt x="7871502" y="1509714"/>
                  </a:cubicBezTo>
                  <a:cubicBezTo>
                    <a:pt x="7852651" y="1509714"/>
                    <a:pt x="7837370" y="1494433"/>
                    <a:pt x="7837370" y="1475582"/>
                  </a:cubicBezTo>
                  <a:cubicBezTo>
                    <a:pt x="7837370" y="1456731"/>
                    <a:pt x="7852651" y="1441450"/>
                    <a:pt x="7871502" y="1441450"/>
                  </a:cubicBezTo>
                  <a:close/>
                  <a:moveTo>
                    <a:pt x="7785777" y="1441450"/>
                  </a:moveTo>
                  <a:cubicBezTo>
                    <a:pt x="7804628" y="1441450"/>
                    <a:pt x="7819909" y="1456731"/>
                    <a:pt x="7819909" y="1475582"/>
                  </a:cubicBezTo>
                  <a:cubicBezTo>
                    <a:pt x="7819909" y="1494433"/>
                    <a:pt x="7804628" y="1509714"/>
                    <a:pt x="7785777" y="1509714"/>
                  </a:cubicBezTo>
                  <a:cubicBezTo>
                    <a:pt x="7766926" y="1509714"/>
                    <a:pt x="7751645" y="1494433"/>
                    <a:pt x="7751645" y="1475582"/>
                  </a:cubicBezTo>
                  <a:cubicBezTo>
                    <a:pt x="7751645" y="1456731"/>
                    <a:pt x="7766926" y="1441450"/>
                    <a:pt x="7785777" y="1441450"/>
                  </a:cubicBezTo>
                  <a:close/>
                  <a:moveTo>
                    <a:pt x="7706402" y="1441450"/>
                  </a:moveTo>
                  <a:cubicBezTo>
                    <a:pt x="7725253" y="1441450"/>
                    <a:pt x="7740534" y="1456731"/>
                    <a:pt x="7740534" y="1475582"/>
                  </a:cubicBezTo>
                  <a:cubicBezTo>
                    <a:pt x="7740534" y="1494433"/>
                    <a:pt x="7725253" y="1509714"/>
                    <a:pt x="7706402" y="1509714"/>
                  </a:cubicBezTo>
                  <a:cubicBezTo>
                    <a:pt x="7687551" y="1509714"/>
                    <a:pt x="7672270" y="1494433"/>
                    <a:pt x="7672270" y="1475582"/>
                  </a:cubicBezTo>
                  <a:cubicBezTo>
                    <a:pt x="7672270" y="1456731"/>
                    <a:pt x="7687551" y="1441450"/>
                    <a:pt x="7706402" y="1441450"/>
                  </a:cubicBezTo>
                  <a:close/>
                  <a:moveTo>
                    <a:pt x="7620677" y="1441450"/>
                  </a:moveTo>
                  <a:cubicBezTo>
                    <a:pt x="7639528" y="1441450"/>
                    <a:pt x="7654809" y="1456731"/>
                    <a:pt x="7654809" y="1475582"/>
                  </a:cubicBezTo>
                  <a:cubicBezTo>
                    <a:pt x="7654809" y="1494433"/>
                    <a:pt x="7639528" y="1509714"/>
                    <a:pt x="7620677" y="1509714"/>
                  </a:cubicBezTo>
                  <a:cubicBezTo>
                    <a:pt x="7601826" y="1509714"/>
                    <a:pt x="7586545" y="1494433"/>
                    <a:pt x="7586545" y="1475582"/>
                  </a:cubicBezTo>
                  <a:cubicBezTo>
                    <a:pt x="7586545" y="1456731"/>
                    <a:pt x="7601826" y="1441450"/>
                    <a:pt x="7620677" y="1441450"/>
                  </a:cubicBezTo>
                  <a:close/>
                  <a:moveTo>
                    <a:pt x="7534952" y="1441450"/>
                  </a:moveTo>
                  <a:cubicBezTo>
                    <a:pt x="7553803" y="1441450"/>
                    <a:pt x="7569084" y="1456731"/>
                    <a:pt x="7569084" y="1475582"/>
                  </a:cubicBezTo>
                  <a:cubicBezTo>
                    <a:pt x="7569084" y="1494433"/>
                    <a:pt x="7553803" y="1509714"/>
                    <a:pt x="7534952" y="1509714"/>
                  </a:cubicBezTo>
                  <a:cubicBezTo>
                    <a:pt x="7516101" y="1509714"/>
                    <a:pt x="7500820" y="1494433"/>
                    <a:pt x="7500820" y="1475582"/>
                  </a:cubicBezTo>
                  <a:cubicBezTo>
                    <a:pt x="7500820" y="1456731"/>
                    <a:pt x="7516101" y="1441450"/>
                    <a:pt x="7534952" y="1441450"/>
                  </a:cubicBezTo>
                  <a:close/>
                  <a:moveTo>
                    <a:pt x="7449227" y="1441450"/>
                  </a:moveTo>
                  <a:cubicBezTo>
                    <a:pt x="7468078" y="1441450"/>
                    <a:pt x="7483359" y="1456731"/>
                    <a:pt x="7483359" y="1475582"/>
                  </a:cubicBezTo>
                  <a:cubicBezTo>
                    <a:pt x="7483359" y="1494433"/>
                    <a:pt x="7468078" y="1509714"/>
                    <a:pt x="7449227" y="1509714"/>
                  </a:cubicBezTo>
                  <a:cubicBezTo>
                    <a:pt x="7430376" y="1509714"/>
                    <a:pt x="7415095" y="1494433"/>
                    <a:pt x="7415095" y="1475582"/>
                  </a:cubicBezTo>
                  <a:cubicBezTo>
                    <a:pt x="7415095" y="1456731"/>
                    <a:pt x="7430376" y="1441450"/>
                    <a:pt x="7449227" y="1441450"/>
                  </a:cubicBezTo>
                  <a:close/>
                  <a:moveTo>
                    <a:pt x="7366677" y="1441450"/>
                  </a:moveTo>
                  <a:cubicBezTo>
                    <a:pt x="7387281" y="1441450"/>
                    <a:pt x="7403984" y="1456731"/>
                    <a:pt x="7403984" y="1475582"/>
                  </a:cubicBezTo>
                  <a:cubicBezTo>
                    <a:pt x="7403984" y="1494433"/>
                    <a:pt x="7387281" y="1509714"/>
                    <a:pt x="7366677" y="1509714"/>
                  </a:cubicBezTo>
                  <a:cubicBezTo>
                    <a:pt x="7346073" y="1509714"/>
                    <a:pt x="7329370" y="1494433"/>
                    <a:pt x="7329370" y="1475582"/>
                  </a:cubicBezTo>
                  <a:cubicBezTo>
                    <a:pt x="7329370" y="1456731"/>
                    <a:pt x="7346073" y="1441450"/>
                    <a:pt x="7366677" y="1441450"/>
                  </a:cubicBezTo>
                  <a:close/>
                  <a:moveTo>
                    <a:pt x="7284127" y="1441450"/>
                  </a:moveTo>
                  <a:cubicBezTo>
                    <a:pt x="7302978" y="1441450"/>
                    <a:pt x="7318259" y="1456731"/>
                    <a:pt x="7318259" y="1475582"/>
                  </a:cubicBezTo>
                  <a:cubicBezTo>
                    <a:pt x="7318259" y="1494433"/>
                    <a:pt x="7302978" y="1509714"/>
                    <a:pt x="7284127" y="1509714"/>
                  </a:cubicBezTo>
                  <a:cubicBezTo>
                    <a:pt x="7265276" y="1509714"/>
                    <a:pt x="7249995" y="1494433"/>
                    <a:pt x="7249995" y="1475582"/>
                  </a:cubicBezTo>
                  <a:cubicBezTo>
                    <a:pt x="7249995" y="1456731"/>
                    <a:pt x="7265276" y="1441450"/>
                    <a:pt x="7284127" y="1441450"/>
                  </a:cubicBezTo>
                  <a:close/>
                  <a:moveTo>
                    <a:pt x="7198402" y="1441450"/>
                  </a:moveTo>
                  <a:cubicBezTo>
                    <a:pt x="7217253" y="1441450"/>
                    <a:pt x="7232534" y="1456731"/>
                    <a:pt x="7232534" y="1475582"/>
                  </a:cubicBezTo>
                  <a:cubicBezTo>
                    <a:pt x="7232534" y="1494433"/>
                    <a:pt x="7217253" y="1509714"/>
                    <a:pt x="7198402" y="1509714"/>
                  </a:cubicBezTo>
                  <a:cubicBezTo>
                    <a:pt x="7179551" y="1509714"/>
                    <a:pt x="7164270" y="1494433"/>
                    <a:pt x="7164270" y="1475582"/>
                  </a:cubicBezTo>
                  <a:cubicBezTo>
                    <a:pt x="7164270" y="1456731"/>
                    <a:pt x="7179551" y="1441450"/>
                    <a:pt x="7198402" y="1441450"/>
                  </a:cubicBezTo>
                  <a:close/>
                  <a:moveTo>
                    <a:pt x="7112677" y="1441450"/>
                  </a:moveTo>
                  <a:cubicBezTo>
                    <a:pt x="7131528" y="1441450"/>
                    <a:pt x="7146809" y="1456731"/>
                    <a:pt x="7146809" y="1475582"/>
                  </a:cubicBezTo>
                  <a:cubicBezTo>
                    <a:pt x="7146809" y="1494433"/>
                    <a:pt x="7131528" y="1509714"/>
                    <a:pt x="7112677" y="1509714"/>
                  </a:cubicBezTo>
                  <a:cubicBezTo>
                    <a:pt x="7093826" y="1509714"/>
                    <a:pt x="7078545" y="1494433"/>
                    <a:pt x="7078545" y="1475582"/>
                  </a:cubicBezTo>
                  <a:cubicBezTo>
                    <a:pt x="7078545" y="1456731"/>
                    <a:pt x="7093826" y="1441450"/>
                    <a:pt x="7112677" y="1441450"/>
                  </a:cubicBezTo>
                  <a:close/>
                  <a:moveTo>
                    <a:pt x="7027745" y="1441450"/>
                  </a:moveTo>
                  <a:cubicBezTo>
                    <a:pt x="7047034" y="1441450"/>
                    <a:pt x="7062670" y="1456731"/>
                    <a:pt x="7062670" y="1475582"/>
                  </a:cubicBezTo>
                  <a:cubicBezTo>
                    <a:pt x="7062670" y="1494433"/>
                    <a:pt x="7047034" y="1509714"/>
                    <a:pt x="7027745" y="1509714"/>
                  </a:cubicBezTo>
                  <a:cubicBezTo>
                    <a:pt x="7008456" y="1509714"/>
                    <a:pt x="6992820" y="1494433"/>
                    <a:pt x="6992820" y="1475582"/>
                  </a:cubicBezTo>
                  <a:cubicBezTo>
                    <a:pt x="6992820" y="1456731"/>
                    <a:pt x="7008456" y="1441450"/>
                    <a:pt x="7027745" y="1441450"/>
                  </a:cubicBezTo>
                  <a:close/>
                  <a:moveTo>
                    <a:pt x="6947577" y="1441450"/>
                  </a:moveTo>
                  <a:cubicBezTo>
                    <a:pt x="6966428" y="1441450"/>
                    <a:pt x="6981709" y="1456731"/>
                    <a:pt x="6981709" y="1475582"/>
                  </a:cubicBezTo>
                  <a:cubicBezTo>
                    <a:pt x="6981709" y="1494433"/>
                    <a:pt x="6966428" y="1509714"/>
                    <a:pt x="6947577" y="1509714"/>
                  </a:cubicBezTo>
                  <a:cubicBezTo>
                    <a:pt x="6928726" y="1509714"/>
                    <a:pt x="6913445" y="1494433"/>
                    <a:pt x="6913445" y="1475582"/>
                  </a:cubicBezTo>
                  <a:cubicBezTo>
                    <a:pt x="6913445" y="1456731"/>
                    <a:pt x="6928726" y="1441450"/>
                    <a:pt x="6947577" y="1441450"/>
                  </a:cubicBezTo>
                  <a:close/>
                  <a:moveTo>
                    <a:pt x="6861852" y="1441450"/>
                  </a:moveTo>
                  <a:cubicBezTo>
                    <a:pt x="6880703" y="1441450"/>
                    <a:pt x="6895984" y="1456731"/>
                    <a:pt x="6895984" y="1475582"/>
                  </a:cubicBezTo>
                  <a:cubicBezTo>
                    <a:pt x="6895984" y="1494433"/>
                    <a:pt x="6880703" y="1509714"/>
                    <a:pt x="6861852" y="1509714"/>
                  </a:cubicBezTo>
                  <a:cubicBezTo>
                    <a:pt x="6843001" y="1509714"/>
                    <a:pt x="6827720" y="1494433"/>
                    <a:pt x="6827720" y="1475582"/>
                  </a:cubicBezTo>
                  <a:cubicBezTo>
                    <a:pt x="6827720" y="1456731"/>
                    <a:pt x="6843001" y="1441450"/>
                    <a:pt x="6861852" y="1441450"/>
                  </a:cubicBezTo>
                  <a:close/>
                  <a:moveTo>
                    <a:pt x="6776127" y="1441450"/>
                  </a:moveTo>
                  <a:cubicBezTo>
                    <a:pt x="6794978" y="1441450"/>
                    <a:pt x="6810259" y="1456731"/>
                    <a:pt x="6810259" y="1475582"/>
                  </a:cubicBezTo>
                  <a:cubicBezTo>
                    <a:pt x="6810259" y="1494433"/>
                    <a:pt x="6794978" y="1509714"/>
                    <a:pt x="6776127" y="1509714"/>
                  </a:cubicBezTo>
                  <a:cubicBezTo>
                    <a:pt x="6757276" y="1509714"/>
                    <a:pt x="6741995" y="1494433"/>
                    <a:pt x="6741995" y="1475582"/>
                  </a:cubicBezTo>
                  <a:cubicBezTo>
                    <a:pt x="6741995" y="1456731"/>
                    <a:pt x="6757276" y="1441450"/>
                    <a:pt x="6776127" y="1441450"/>
                  </a:cubicBezTo>
                  <a:close/>
                  <a:moveTo>
                    <a:pt x="6691195" y="1441450"/>
                  </a:moveTo>
                  <a:cubicBezTo>
                    <a:pt x="6710484" y="1441450"/>
                    <a:pt x="6726120" y="1456731"/>
                    <a:pt x="6726120" y="1475582"/>
                  </a:cubicBezTo>
                  <a:cubicBezTo>
                    <a:pt x="6726120" y="1494433"/>
                    <a:pt x="6710484" y="1509714"/>
                    <a:pt x="6691195" y="1509714"/>
                  </a:cubicBezTo>
                  <a:cubicBezTo>
                    <a:pt x="6671906" y="1509714"/>
                    <a:pt x="6656270" y="1494433"/>
                    <a:pt x="6656270" y="1475582"/>
                  </a:cubicBezTo>
                  <a:cubicBezTo>
                    <a:pt x="6656270" y="1456731"/>
                    <a:pt x="6671906" y="1441450"/>
                    <a:pt x="6691195" y="1441450"/>
                  </a:cubicBezTo>
                  <a:close/>
                  <a:moveTo>
                    <a:pt x="6607852" y="1441450"/>
                  </a:moveTo>
                  <a:cubicBezTo>
                    <a:pt x="6628456" y="1441450"/>
                    <a:pt x="6645159" y="1456731"/>
                    <a:pt x="6645159" y="1475582"/>
                  </a:cubicBezTo>
                  <a:cubicBezTo>
                    <a:pt x="6645159" y="1494433"/>
                    <a:pt x="6628456" y="1509714"/>
                    <a:pt x="6607852" y="1509714"/>
                  </a:cubicBezTo>
                  <a:cubicBezTo>
                    <a:pt x="6587248" y="1509714"/>
                    <a:pt x="6570545" y="1494433"/>
                    <a:pt x="6570545" y="1475582"/>
                  </a:cubicBezTo>
                  <a:cubicBezTo>
                    <a:pt x="6570545" y="1456731"/>
                    <a:pt x="6587248" y="1441450"/>
                    <a:pt x="6607852" y="1441450"/>
                  </a:cubicBezTo>
                  <a:close/>
                  <a:moveTo>
                    <a:pt x="6525302" y="1441450"/>
                  </a:moveTo>
                  <a:cubicBezTo>
                    <a:pt x="6544153" y="1441450"/>
                    <a:pt x="6559434" y="1456731"/>
                    <a:pt x="6559434" y="1475582"/>
                  </a:cubicBezTo>
                  <a:cubicBezTo>
                    <a:pt x="6559434" y="1494433"/>
                    <a:pt x="6544153" y="1509714"/>
                    <a:pt x="6525302" y="1509714"/>
                  </a:cubicBezTo>
                  <a:cubicBezTo>
                    <a:pt x="6506451" y="1509714"/>
                    <a:pt x="6491170" y="1494433"/>
                    <a:pt x="6491170" y="1475582"/>
                  </a:cubicBezTo>
                  <a:cubicBezTo>
                    <a:pt x="6491170" y="1456731"/>
                    <a:pt x="6506451" y="1441450"/>
                    <a:pt x="6525302" y="1441450"/>
                  </a:cubicBezTo>
                  <a:close/>
                  <a:moveTo>
                    <a:pt x="6439577" y="1441450"/>
                  </a:moveTo>
                  <a:cubicBezTo>
                    <a:pt x="6458428" y="1441450"/>
                    <a:pt x="6473709" y="1456731"/>
                    <a:pt x="6473709" y="1475582"/>
                  </a:cubicBezTo>
                  <a:cubicBezTo>
                    <a:pt x="6473709" y="1494433"/>
                    <a:pt x="6458428" y="1509714"/>
                    <a:pt x="6439577" y="1509714"/>
                  </a:cubicBezTo>
                  <a:cubicBezTo>
                    <a:pt x="6420726" y="1509714"/>
                    <a:pt x="6405445" y="1494433"/>
                    <a:pt x="6405445" y="1475582"/>
                  </a:cubicBezTo>
                  <a:cubicBezTo>
                    <a:pt x="6405445" y="1456731"/>
                    <a:pt x="6420726" y="1441450"/>
                    <a:pt x="6439577" y="1441450"/>
                  </a:cubicBezTo>
                  <a:close/>
                  <a:moveTo>
                    <a:pt x="6353852" y="1441450"/>
                  </a:moveTo>
                  <a:cubicBezTo>
                    <a:pt x="6372703" y="1441450"/>
                    <a:pt x="6387984" y="1456731"/>
                    <a:pt x="6387984" y="1475582"/>
                  </a:cubicBezTo>
                  <a:cubicBezTo>
                    <a:pt x="6387984" y="1494433"/>
                    <a:pt x="6372703" y="1509714"/>
                    <a:pt x="6353852" y="1509714"/>
                  </a:cubicBezTo>
                  <a:cubicBezTo>
                    <a:pt x="6335001" y="1509714"/>
                    <a:pt x="6319720" y="1494433"/>
                    <a:pt x="6319720" y="1475582"/>
                  </a:cubicBezTo>
                  <a:cubicBezTo>
                    <a:pt x="6319720" y="1456731"/>
                    <a:pt x="6335001" y="1441450"/>
                    <a:pt x="6353852" y="1441450"/>
                  </a:cubicBezTo>
                  <a:close/>
                  <a:moveTo>
                    <a:pt x="6268920" y="1441450"/>
                  </a:moveTo>
                  <a:cubicBezTo>
                    <a:pt x="6288209" y="1441450"/>
                    <a:pt x="6303845" y="1456731"/>
                    <a:pt x="6303845" y="1475582"/>
                  </a:cubicBezTo>
                  <a:cubicBezTo>
                    <a:pt x="6303845" y="1494433"/>
                    <a:pt x="6288209" y="1509714"/>
                    <a:pt x="6268920" y="1509714"/>
                  </a:cubicBezTo>
                  <a:cubicBezTo>
                    <a:pt x="6249631" y="1509714"/>
                    <a:pt x="6233995" y="1494433"/>
                    <a:pt x="6233995" y="1475582"/>
                  </a:cubicBezTo>
                  <a:cubicBezTo>
                    <a:pt x="6233995" y="1456731"/>
                    <a:pt x="6249631" y="1441450"/>
                    <a:pt x="6268920" y="1441450"/>
                  </a:cubicBezTo>
                  <a:close/>
                  <a:moveTo>
                    <a:pt x="6188752" y="1441450"/>
                  </a:moveTo>
                  <a:cubicBezTo>
                    <a:pt x="6207603" y="1441450"/>
                    <a:pt x="6222884" y="1456731"/>
                    <a:pt x="6222884" y="1475582"/>
                  </a:cubicBezTo>
                  <a:cubicBezTo>
                    <a:pt x="6222884" y="1494433"/>
                    <a:pt x="6207603" y="1509714"/>
                    <a:pt x="6188752" y="1509714"/>
                  </a:cubicBezTo>
                  <a:cubicBezTo>
                    <a:pt x="6169901" y="1509714"/>
                    <a:pt x="6154620" y="1494433"/>
                    <a:pt x="6154620" y="1475582"/>
                  </a:cubicBezTo>
                  <a:cubicBezTo>
                    <a:pt x="6154620" y="1456731"/>
                    <a:pt x="6169901" y="1441450"/>
                    <a:pt x="6188752" y="1441450"/>
                  </a:cubicBezTo>
                  <a:close/>
                  <a:moveTo>
                    <a:pt x="6103027" y="1441450"/>
                  </a:moveTo>
                  <a:cubicBezTo>
                    <a:pt x="6121878" y="1441450"/>
                    <a:pt x="6137159" y="1456731"/>
                    <a:pt x="6137159" y="1475582"/>
                  </a:cubicBezTo>
                  <a:cubicBezTo>
                    <a:pt x="6137159" y="1494433"/>
                    <a:pt x="6121878" y="1509714"/>
                    <a:pt x="6103027" y="1509714"/>
                  </a:cubicBezTo>
                  <a:cubicBezTo>
                    <a:pt x="6084176" y="1509714"/>
                    <a:pt x="6068895" y="1494433"/>
                    <a:pt x="6068895" y="1475582"/>
                  </a:cubicBezTo>
                  <a:cubicBezTo>
                    <a:pt x="6068895" y="1456731"/>
                    <a:pt x="6084176" y="1441450"/>
                    <a:pt x="6103027" y="1441450"/>
                  </a:cubicBezTo>
                  <a:close/>
                  <a:moveTo>
                    <a:pt x="6017302" y="1441450"/>
                  </a:moveTo>
                  <a:cubicBezTo>
                    <a:pt x="6036153" y="1441450"/>
                    <a:pt x="6051434" y="1456731"/>
                    <a:pt x="6051434" y="1475582"/>
                  </a:cubicBezTo>
                  <a:cubicBezTo>
                    <a:pt x="6051434" y="1494433"/>
                    <a:pt x="6036153" y="1509714"/>
                    <a:pt x="6017302" y="1509714"/>
                  </a:cubicBezTo>
                  <a:cubicBezTo>
                    <a:pt x="5998451" y="1509714"/>
                    <a:pt x="5983170" y="1494433"/>
                    <a:pt x="5983170" y="1475582"/>
                  </a:cubicBezTo>
                  <a:cubicBezTo>
                    <a:pt x="5983170" y="1456731"/>
                    <a:pt x="5998451" y="1441450"/>
                    <a:pt x="6017302" y="1441450"/>
                  </a:cubicBezTo>
                  <a:close/>
                  <a:moveTo>
                    <a:pt x="5932370" y="1441450"/>
                  </a:moveTo>
                  <a:cubicBezTo>
                    <a:pt x="5951659" y="1441450"/>
                    <a:pt x="5967295" y="1456731"/>
                    <a:pt x="5967295" y="1475582"/>
                  </a:cubicBezTo>
                  <a:cubicBezTo>
                    <a:pt x="5967295" y="1494433"/>
                    <a:pt x="5951659" y="1509714"/>
                    <a:pt x="5932370" y="1509714"/>
                  </a:cubicBezTo>
                  <a:cubicBezTo>
                    <a:pt x="5913081" y="1509714"/>
                    <a:pt x="5897445" y="1494433"/>
                    <a:pt x="5897445" y="1475582"/>
                  </a:cubicBezTo>
                  <a:cubicBezTo>
                    <a:pt x="5897445" y="1456731"/>
                    <a:pt x="5913081" y="1441450"/>
                    <a:pt x="5932370" y="1441450"/>
                  </a:cubicBezTo>
                  <a:close/>
                  <a:moveTo>
                    <a:pt x="5849821" y="1441450"/>
                  </a:moveTo>
                  <a:cubicBezTo>
                    <a:pt x="5869987" y="1441450"/>
                    <a:pt x="5886334" y="1456731"/>
                    <a:pt x="5886334" y="1475582"/>
                  </a:cubicBezTo>
                  <a:cubicBezTo>
                    <a:pt x="5886334" y="1494433"/>
                    <a:pt x="5869987" y="1509714"/>
                    <a:pt x="5849821" y="1509714"/>
                  </a:cubicBezTo>
                  <a:cubicBezTo>
                    <a:pt x="5829655" y="1509714"/>
                    <a:pt x="5813308" y="1494433"/>
                    <a:pt x="5813308" y="1475582"/>
                  </a:cubicBezTo>
                  <a:cubicBezTo>
                    <a:pt x="5813308" y="1456731"/>
                    <a:pt x="5829655" y="1441450"/>
                    <a:pt x="5849821" y="1441450"/>
                  </a:cubicBezTo>
                  <a:close/>
                  <a:moveTo>
                    <a:pt x="5766477" y="1441450"/>
                  </a:moveTo>
                  <a:cubicBezTo>
                    <a:pt x="5785328" y="1441450"/>
                    <a:pt x="5800609" y="1456731"/>
                    <a:pt x="5800609" y="1475582"/>
                  </a:cubicBezTo>
                  <a:cubicBezTo>
                    <a:pt x="5800609" y="1494433"/>
                    <a:pt x="5785328" y="1509714"/>
                    <a:pt x="5766477" y="1509714"/>
                  </a:cubicBezTo>
                  <a:cubicBezTo>
                    <a:pt x="5747626" y="1509714"/>
                    <a:pt x="5732345" y="1494433"/>
                    <a:pt x="5732345" y="1475582"/>
                  </a:cubicBezTo>
                  <a:cubicBezTo>
                    <a:pt x="5732345" y="1456731"/>
                    <a:pt x="5747626" y="1441450"/>
                    <a:pt x="5766477" y="1441450"/>
                  </a:cubicBezTo>
                  <a:close/>
                  <a:moveTo>
                    <a:pt x="5680752" y="1441450"/>
                  </a:moveTo>
                  <a:cubicBezTo>
                    <a:pt x="5699603" y="1441450"/>
                    <a:pt x="5714884" y="1456731"/>
                    <a:pt x="5714884" y="1475582"/>
                  </a:cubicBezTo>
                  <a:cubicBezTo>
                    <a:pt x="5714884" y="1494433"/>
                    <a:pt x="5699603" y="1509714"/>
                    <a:pt x="5680752" y="1509714"/>
                  </a:cubicBezTo>
                  <a:cubicBezTo>
                    <a:pt x="5661901" y="1509714"/>
                    <a:pt x="5646620" y="1494433"/>
                    <a:pt x="5646620" y="1475582"/>
                  </a:cubicBezTo>
                  <a:cubicBezTo>
                    <a:pt x="5646620" y="1456731"/>
                    <a:pt x="5661901" y="1441450"/>
                    <a:pt x="5680752" y="1441450"/>
                  </a:cubicBezTo>
                  <a:close/>
                  <a:moveTo>
                    <a:pt x="5595820" y="1441450"/>
                  </a:moveTo>
                  <a:cubicBezTo>
                    <a:pt x="5615109" y="1441450"/>
                    <a:pt x="5630745" y="1456731"/>
                    <a:pt x="5630745" y="1475582"/>
                  </a:cubicBezTo>
                  <a:cubicBezTo>
                    <a:pt x="5630745" y="1494433"/>
                    <a:pt x="5615109" y="1509714"/>
                    <a:pt x="5595820" y="1509714"/>
                  </a:cubicBezTo>
                  <a:cubicBezTo>
                    <a:pt x="5576531" y="1509714"/>
                    <a:pt x="5560895" y="1494433"/>
                    <a:pt x="5560895" y="1475582"/>
                  </a:cubicBezTo>
                  <a:cubicBezTo>
                    <a:pt x="5560895" y="1456731"/>
                    <a:pt x="5576531" y="1441450"/>
                    <a:pt x="5595820" y="1441450"/>
                  </a:cubicBezTo>
                  <a:close/>
                  <a:moveTo>
                    <a:pt x="5344202" y="1441450"/>
                  </a:moveTo>
                  <a:cubicBezTo>
                    <a:pt x="5363053" y="1441450"/>
                    <a:pt x="5378334" y="1456731"/>
                    <a:pt x="5378334" y="1475582"/>
                  </a:cubicBezTo>
                  <a:cubicBezTo>
                    <a:pt x="5378334" y="1494433"/>
                    <a:pt x="5363053" y="1509714"/>
                    <a:pt x="5344202" y="1509714"/>
                  </a:cubicBezTo>
                  <a:cubicBezTo>
                    <a:pt x="5325351" y="1509714"/>
                    <a:pt x="5310070" y="1494433"/>
                    <a:pt x="5310070" y="1475582"/>
                  </a:cubicBezTo>
                  <a:cubicBezTo>
                    <a:pt x="5310070" y="1456731"/>
                    <a:pt x="5325351" y="1441450"/>
                    <a:pt x="5344202" y="1441450"/>
                  </a:cubicBezTo>
                  <a:close/>
                  <a:moveTo>
                    <a:pt x="4836995" y="1441450"/>
                  </a:moveTo>
                  <a:cubicBezTo>
                    <a:pt x="4856284" y="1441450"/>
                    <a:pt x="4871920" y="1456731"/>
                    <a:pt x="4871920" y="1475582"/>
                  </a:cubicBezTo>
                  <a:cubicBezTo>
                    <a:pt x="4871920" y="1494433"/>
                    <a:pt x="4856284" y="1509714"/>
                    <a:pt x="4836995" y="1509714"/>
                  </a:cubicBezTo>
                  <a:cubicBezTo>
                    <a:pt x="4817706" y="1509714"/>
                    <a:pt x="4802070" y="1494433"/>
                    <a:pt x="4802070" y="1475582"/>
                  </a:cubicBezTo>
                  <a:cubicBezTo>
                    <a:pt x="4802070" y="1456731"/>
                    <a:pt x="4817706" y="1441450"/>
                    <a:pt x="4836995" y="1441450"/>
                  </a:cubicBezTo>
                  <a:close/>
                  <a:moveTo>
                    <a:pt x="3234414" y="1441450"/>
                  </a:moveTo>
                  <a:cubicBezTo>
                    <a:pt x="3253265" y="1441450"/>
                    <a:pt x="3268546" y="1456731"/>
                    <a:pt x="3268546" y="1475582"/>
                  </a:cubicBezTo>
                  <a:cubicBezTo>
                    <a:pt x="3268546" y="1494433"/>
                    <a:pt x="3253265" y="1509714"/>
                    <a:pt x="3234414" y="1509714"/>
                  </a:cubicBezTo>
                  <a:cubicBezTo>
                    <a:pt x="3215563" y="1509714"/>
                    <a:pt x="3200282" y="1494433"/>
                    <a:pt x="3200282" y="1475582"/>
                  </a:cubicBezTo>
                  <a:cubicBezTo>
                    <a:pt x="3200282" y="1456731"/>
                    <a:pt x="3215563" y="1441450"/>
                    <a:pt x="3234414" y="1441450"/>
                  </a:cubicBezTo>
                  <a:close/>
                  <a:moveTo>
                    <a:pt x="3153452" y="1441450"/>
                  </a:moveTo>
                  <a:cubicBezTo>
                    <a:pt x="3172303" y="1441450"/>
                    <a:pt x="3187584" y="1456731"/>
                    <a:pt x="3187584" y="1475582"/>
                  </a:cubicBezTo>
                  <a:cubicBezTo>
                    <a:pt x="3187584" y="1494433"/>
                    <a:pt x="3172303" y="1509714"/>
                    <a:pt x="3153452" y="1509714"/>
                  </a:cubicBezTo>
                  <a:cubicBezTo>
                    <a:pt x="3134601" y="1509714"/>
                    <a:pt x="3119320" y="1494433"/>
                    <a:pt x="3119320" y="1475582"/>
                  </a:cubicBezTo>
                  <a:cubicBezTo>
                    <a:pt x="3119320" y="1456731"/>
                    <a:pt x="3134601" y="1441450"/>
                    <a:pt x="3153452" y="1441450"/>
                  </a:cubicBezTo>
                  <a:close/>
                  <a:moveTo>
                    <a:pt x="3068520" y="1441450"/>
                  </a:moveTo>
                  <a:cubicBezTo>
                    <a:pt x="3087809" y="1441450"/>
                    <a:pt x="3103445" y="1456731"/>
                    <a:pt x="3103445" y="1475582"/>
                  </a:cubicBezTo>
                  <a:cubicBezTo>
                    <a:pt x="3103445" y="1494433"/>
                    <a:pt x="3087809" y="1509714"/>
                    <a:pt x="3068520" y="1509714"/>
                  </a:cubicBezTo>
                  <a:cubicBezTo>
                    <a:pt x="3049231" y="1509714"/>
                    <a:pt x="3033595" y="1494433"/>
                    <a:pt x="3033595" y="1475582"/>
                  </a:cubicBezTo>
                  <a:cubicBezTo>
                    <a:pt x="3033595" y="1456731"/>
                    <a:pt x="3049231" y="1441450"/>
                    <a:pt x="3068520" y="1441450"/>
                  </a:cubicBezTo>
                  <a:close/>
                  <a:moveTo>
                    <a:pt x="2983589" y="1441450"/>
                  </a:moveTo>
                  <a:cubicBezTo>
                    <a:pt x="3002440" y="1441450"/>
                    <a:pt x="3017721" y="1456731"/>
                    <a:pt x="3017721" y="1475582"/>
                  </a:cubicBezTo>
                  <a:cubicBezTo>
                    <a:pt x="3017721" y="1494433"/>
                    <a:pt x="3002440" y="1509714"/>
                    <a:pt x="2983589" y="1509714"/>
                  </a:cubicBezTo>
                  <a:cubicBezTo>
                    <a:pt x="2964738" y="1509714"/>
                    <a:pt x="2949457" y="1494433"/>
                    <a:pt x="2949457" y="1475582"/>
                  </a:cubicBezTo>
                  <a:cubicBezTo>
                    <a:pt x="2949457" y="1456731"/>
                    <a:pt x="2964738" y="1441450"/>
                    <a:pt x="2983589" y="1441450"/>
                  </a:cubicBezTo>
                  <a:close/>
                  <a:moveTo>
                    <a:pt x="2897864" y="1441450"/>
                  </a:moveTo>
                  <a:cubicBezTo>
                    <a:pt x="2916715" y="1441450"/>
                    <a:pt x="2931996" y="1456731"/>
                    <a:pt x="2931996" y="1475582"/>
                  </a:cubicBezTo>
                  <a:cubicBezTo>
                    <a:pt x="2931996" y="1494433"/>
                    <a:pt x="2916715" y="1509714"/>
                    <a:pt x="2897864" y="1509714"/>
                  </a:cubicBezTo>
                  <a:cubicBezTo>
                    <a:pt x="2879013" y="1509714"/>
                    <a:pt x="2863732" y="1494433"/>
                    <a:pt x="2863732" y="1475582"/>
                  </a:cubicBezTo>
                  <a:cubicBezTo>
                    <a:pt x="2863732" y="1456731"/>
                    <a:pt x="2879013" y="1441450"/>
                    <a:pt x="2897864" y="1441450"/>
                  </a:cubicBezTo>
                  <a:close/>
                  <a:moveTo>
                    <a:pt x="2646410" y="1441450"/>
                  </a:moveTo>
                  <a:cubicBezTo>
                    <a:pt x="2665696" y="1441450"/>
                    <a:pt x="2681334" y="1456731"/>
                    <a:pt x="2681334" y="1475582"/>
                  </a:cubicBezTo>
                  <a:cubicBezTo>
                    <a:pt x="2681334" y="1494433"/>
                    <a:pt x="2665696" y="1509714"/>
                    <a:pt x="2646410" y="1509714"/>
                  </a:cubicBezTo>
                  <a:cubicBezTo>
                    <a:pt x="2627123" y="1509714"/>
                    <a:pt x="2611483" y="1494433"/>
                    <a:pt x="2611483" y="1475582"/>
                  </a:cubicBezTo>
                  <a:cubicBezTo>
                    <a:pt x="2611483" y="1456731"/>
                    <a:pt x="2627123" y="1441450"/>
                    <a:pt x="2646410" y="1441450"/>
                  </a:cubicBezTo>
                  <a:close/>
                  <a:moveTo>
                    <a:pt x="2561479" y="1441450"/>
                  </a:moveTo>
                  <a:cubicBezTo>
                    <a:pt x="2580330" y="1441450"/>
                    <a:pt x="2595609" y="1456731"/>
                    <a:pt x="2595609" y="1475582"/>
                  </a:cubicBezTo>
                  <a:cubicBezTo>
                    <a:pt x="2595609" y="1494433"/>
                    <a:pt x="2580330" y="1509714"/>
                    <a:pt x="2561479" y="1509714"/>
                  </a:cubicBezTo>
                  <a:cubicBezTo>
                    <a:pt x="2542628" y="1509714"/>
                    <a:pt x="2527342" y="1494433"/>
                    <a:pt x="2527342" y="1475582"/>
                  </a:cubicBezTo>
                  <a:cubicBezTo>
                    <a:pt x="2527342" y="1456731"/>
                    <a:pt x="2542628" y="1441450"/>
                    <a:pt x="2561479" y="1441450"/>
                  </a:cubicBezTo>
                  <a:close/>
                  <a:moveTo>
                    <a:pt x="2475754" y="1441450"/>
                  </a:moveTo>
                  <a:cubicBezTo>
                    <a:pt x="2494608" y="1441450"/>
                    <a:pt x="2509883" y="1456731"/>
                    <a:pt x="2509883" y="1475582"/>
                  </a:cubicBezTo>
                  <a:cubicBezTo>
                    <a:pt x="2509883" y="1494433"/>
                    <a:pt x="2494608" y="1509714"/>
                    <a:pt x="2475754" y="1509714"/>
                  </a:cubicBezTo>
                  <a:cubicBezTo>
                    <a:pt x="2456900" y="1509714"/>
                    <a:pt x="2441619" y="1494433"/>
                    <a:pt x="2441619" y="1475582"/>
                  </a:cubicBezTo>
                  <a:cubicBezTo>
                    <a:pt x="2441619" y="1456731"/>
                    <a:pt x="2456900" y="1441450"/>
                    <a:pt x="2475754" y="1441450"/>
                  </a:cubicBezTo>
                  <a:close/>
                  <a:moveTo>
                    <a:pt x="2309856" y="1441450"/>
                  </a:moveTo>
                  <a:cubicBezTo>
                    <a:pt x="2329141" y="1441450"/>
                    <a:pt x="2344781" y="1456731"/>
                    <a:pt x="2344781" y="1475582"/>
                  </a:cubicBezTo>
                  <a:cubicBezTo>
                    <a:pt x="2344781" y="1494433"/>
                    <a:pt x="2329141" y="1509714"/>
                    <a:pt x="2309856" y="1509714"/>
                  </a:cubicBezTo>
                  <a:cubicBezTo>
                    <a:pt x="2290564" y="1509714"/>
                    <a:pt x="2274920" y="1494433"/>
                    <a:pt x="2274920" y="1475582"/>
                  </a:cubicBezTo>
                  <a:cubicBezTo>
                    <a:pt x="2274920" y="1456731"/>
                    <a:pt x="2290564" y="1441450"/>
                    <a:pt x="2309856" y="1441450"/>
                  </a:cubicBezTo>
                  <a:close/>
                  <a:moveTo>
                    <a:pt x="2139049" y="1441450"/>
                  </a:moveTo>
                  <a:cubicBezTo>
                    <a:pt x="2157900" y="1441450"/>
                    <a:pt x="2173180" y="1456731"/>
                    <a:pt x="2173180" y="1475582"/>
                  </a:cubicBezTo>
                  <a:cubicBezTo>
                    <a:pt x="2173180" y="1494433"/>
                    <a:pt x="2157900" y="1509714"/>
                    <a:pt x="2139049" y="1509714"/>
                  </a:cubicBezTo>
                  <a:cubicBezTo>
                    <a:pt x="2120198" y="1509714"/>
                    <a:pt x="2104917" y="1494433"/>
                    <a:pt x="2104917" y="1475582"/>
                  </a:cubicBezTo>
                  <a:cubicBezTo>
                    <a:pt x="2104917" y="1456731"/>
                    <a:pt x="2120198" y="1441450"/>
                    <a:pt x="2139049" y="1441450"/>
                  </a:cubicBezTo>
                  <a:close/>
                  <a:moveTo>
                    <a:pt x="2055705" y="1441450"/>
                  </a:moveTo>
                  <a:cubicBezTo>
                    <a:pt x="2075871" y="1441450"/>
                    <a:pt x="2092218" y="1456731"/>
                    <a:pt x="2092218" y="1475582"/>
                  </a:cubicBezTo>
                  <a:cubicBezTo>
                    <a:pt x="2092218" y="1494433"/>
                    <a:pt x="2075871" y="1509714"/>
                    <a:pt x="2055705" y="1509714"/>
                  </a:cubicBezTo>
                  <a:cubicBezTo>
                    <a:pt x="2035539" y="1509714"/>
                    <a:pt x="2019193" y="1494433"/>
                    <a:pt x="2019193" y="1475582"/>
                  </a:cubicBezTo>
                  <a:cubicBezTo>
                    <a:pt x="2019193" y="1456731"/>
                    <a:pt x="2035539" y="1441450"/>
                    <a:pt x="2055705" y="1441450"/>
                  </a:cubicBezTo>
                  <a:close/>
                  <a:moveTo>
                    <a:pt x="1973155" y="1441450"/>
                  </a:moveTo>
                  <a:cubicBezTo>
                    <a:pt x="1992444" y="1441450"/>
                    <a:pt x="2008080" y="1456731"/>
                    <a:pt x="2008080" y="1475582"/>
                  </a:cubicBezTo>
                  <a:cubicBezTo>
                    <a:pt x="2008080" y="1494433"/>
                    <a:pt x="1992444" y="1509714"/>
                    <a:pt x="1973155" y="1509714"/>
                  </a:cubicBezTo>
                  <a:cubicBezTo>
                    <a:pt x="1953866" y="1509714"/>
                    <a:pt x="1938230" y="1494433"/>
                    <a:pt x="1938230" y="1475582"/>
                  </a:cubicBezTo>
                  <a:cubicBezTo>
                    <a:pt x="1938230" y="1456731"/>
                    <a:pt x="1953866" y="1441450"/>
                    <a:pt x="1973155" y="1441450"/>
                  </a:cubicBezTo>
                  <a:close/>
                  <a:moveTo>
                    <a:pt x="1888224" y="1441450"/>
                  </a:moveTo>
                  <a:cubicBezTo>
                    <a:pt x="1907075" y="1441450"/>
                    <a:pt x="1922356" y="1456731"/>
                    <a:pt x="1922356" y="1475582"/>
                  </a:cubicBezTo>
                  <a:cubicBezTo>
                    <a:pt x="1922356" y="1494433"/>
                    <a:pt x="1907075" y="1509714"/>
                    <a:pt x="1888224" y="1509714"/>
                  </a:cubicBezTo>
                  <a:cubicBezTo>
                    <a:pt x="1869373" y="1509714"/>
                    <a:pt x="1854092" y="1494433"/>
                    <a:pt x="1854092" y="1475582"/>
                  </a:cubicBezTo>
                  <a:cubicBezTo>
                    <a:pt x="1854092" y="1456731"/>
                    <a:pt x="1869373" y="1441450"/>
                    <a:pt x="1888224" y="1441450"/>
                  </a:cubicBezTo>
                  <a:close/>
                  <a:moveTo>
                    <a:pt x="1802499" y="1441450"/>
                  </a:moveTo>
                  <a:cubicBezTo>
                    <a:pt x="1821350" y="1441450"/>
                    <a:pt x="1836631" y="1456731"/>
                    <a:pt x="1836631" y="1475582"/>
                  </a:cubicBezTo>
                  <a:cubicBezTo>
                    <a:pt x="1836631" y="1494433"/>
                    <a:pt x="1821350" y="1509714"/>
                    <a:pt x="1802499" y="1509714"/>
                  </a:cubicBezTo>
                  <a:cubicBezTo>
                    <a:pt x="1783648" y="1509714"/>
                    <a:pt x="1768367" y="1494433"/>
                    <a:pt x="1768367" y="1475582"/>
                  </a:cubicBezTo>
                  <a:cubicBezTo>
                    <a:pt x="1768367" y="1456731"/>
                    <a:pt x="1783648" y="1441450"/>
                    <a:pt x="1802499" y="1441450"/>
                  </a:cubicBezTo>
                  <a:close/>
                  <a:moveTo>
                    <a:pt x="1719155" y="1441450"/>
                  </a:moveTo>
                  <a:cubicBezTo>
                    <a:pt x="1739320" y="1441450"/>
                    <a:pt x="1755668" y="1456731"/>
                    <a:pt x="1755668" y="1475582"/>
                  </a:cubicBezTo>
                  <a:cubicBezTo>
                    <a:pt x="1755668" y="1494433"/>
                    <a:pt x="1739320" y="1509714"/>
                    <a:pt x="1719155" y="1509714"/>
                  </a:cubicBezTo>
                  <a:cubicBezTo>
                    <a:pt x="1698989" y="1509714"/>
                    <a:pt x="1682642" y="1494433"/>
                    <a:pt x="1682642" y="1475582"/>
                  </a:cubicBezTo>
                  <a:cubicBezTo>
                    <a:pt x="1682642" y="1456731"/>
                    <a:pt x="1698989" y="1441450"/>
                    <a:pt x="1719155" y="1441450"/>
                  </a:cubicBezTo>
                  <a:close/>
                  <a:moveTo>
                    <a:pt x="1636604" y="1441450"/>
                  </a:moveTo>
                  <a:cubicBezTo>
                    <a:pt x="1655893" y="1441450"/>
                    <a:pt x="1671530" y="1456731"/>
                    <a:pt x="1671530" y="1475582"/>
                  </a:cubicBezTo>
                  <a:cubicBezTo>
                    <a:pt x="1671530" y="1494433"/>
                    <a:pt x="1655893" y="1509714"/>
                    <a:pt x="1636604" y="1509714"/>
                  </a:cubicBezTo>
                  <a:cubicBezTo>
                    <a:pt x="1617316" y="1509714"/>
                    <a:pt x="1601679" y="1494433"/>
                    <a:pt x="1601679" y="1475582"/>
                  </a:cubicBezTo>
                  <a:cubicBezTo>
                    <a:pt x="1601679" y="1456731"/>
                    <a:pt x="1617316" y="1441450"/>
                    <a:pt x="1636604" y="1441450"/>
                  </a:cubicBezTo>
                  <a:close/>
                  <a:moveTo>
                    <a:pt x="1551677" y="1441450"/>
                  </a:moveTo>
                  <a:cubicBezTo>
                    <a:pt x="1570528" y="1441450"/>
                    <a:pt x="1585810" y="1456731"/>
                    <a:pt x="1585810" y="1475582"/>
                  </a:cubicBezTo>
                  <a:cubicBezTo>
                    <a:pt x="1585810" y="1494433"/>
                    <a:pt x="1570528" y="1509714"/>
                    <a:pt x="1551677" y="1509714"/>
                  </a:cubicBezTo>
                  <a:cubicBezTo>
                    <a:pt x="1532826" y="1509714"/>
                    <a:pt x="1517546" y="1494433"/>
                    <a:pt x="1517546" y="1475582"/>
                  </a:cubicBezTo>
                  <a:cubicBezTo>
                    <a:pt x="1517546" y="1456731"/>
                    <a:pt x="1532826" y="1441450"/>
                    <a:pt x="1551677" y="1441450"/>
                  </a:cubicBezTo>
                  <a:close/>
                  <a:moveTo>
                    <a:pt x="1466114" y="1441450"/>
                  </a:moveTo>
                  <a:cubicBezTo>
                    <a:pt x="1484965" y="1441450"/>
                    <a:pt x="1500247" y="1456731"/>
                    <a:pt x="1500247" y="1475582"/>
                  </a:cubicBezTo>
                  <a:cubicBezTo>
                    <a:pt x="1500247" y="1494433"/>
                    <a:pt x="1484965" y="1509714"/>
                    <a:pt x="1466114" y="1509714"/>
                  </a:cubicBezTo>
                  <a:cubicBezTo>
                    <a:pt x="1447265" y="1509714"/>
                    <a:pt x="1431983" y="1494433"/>
                    <a:pt x="1431983" y="1475582"/>
                  </a:cubicBezTo>
                  <a:cubicBezTo>
                    <a:pt x="1431983" y="1456731"/>
                    <a:pt x="1447265" y="1441450"/>
                    <a:pt x="1466114" y="1441450"/>
                  </a:cubicBezTo>
                  <a:close/>
                  <a:moveTo>
                    <a:pt x="1380392" y="1441450"/>
                  </a:moveTo>
                  <a:cubicBezTo>
                    <a:pt x="1399243" y="1441450"/>
                    <a:pt x="1414522" y="1456731"/>
                    <a:pt x="1414522" y="1475582"/>
                  </a:cubicBezTo>
                  <a:cubicBezTo>
                    <a:pt x="1414522" y="1494433"/>
                    <a:pt x="1399243" y="1509714"/>
                    <a:pt x="1380392" y="1509714"/>
                  </a:cubicBezTo>
                  <a:cubicBezTo>
                    <a:pt x="1361539" y="1509714"/>
                    <a:pt x="1346258" y="1494433"/>
                    <a:pt x="1346258" y="1475582"/>
                  </a:cubicBezTo>
                  <a:cubicBezTo>
                    <a:pt x="1346258" y="1456731"/>
                    <a:pt x="1361539" y="1441450"/>
                    <a:pt x="1380392" y="1441450"/>
                  </a:cubicBezTo>
                  <a:close/>
                  <a:moveTo>
                    <a:pt x="9474877" y="1354138"/>
                  </a:moveTo>
                  <a:cubicBezTo>
                    <a:pt x="9493728" y="1354138"/>
                    <a:pt x="9509009" y="1369774"/>
                    <a:pt x="9509009" y="1389063"/>
                  </a:cubicBezTo>
                  <a:cubicBezTo>
                    <a:pt x="9509009" y="1408352"/>
                    <a:pt x="9493728" y="1423988"/>
                    <a:pt x="9474877" y="1423988"/>
                  </a:cubicBezTo>
                  <a:cubicBezTo>
                    <a:pt x="9456026" y="1423988"/>
                    <a:pt x="9440745" y="1408352"/>
                    <a:pt x="9440745" y="1389063"/>
                  </a:cubicBezTo>
                  <a:cubicBezTo>
                    <a:pt x="9440745" y="1369774"/>
                    <a:pt x="9456026" y="1354138"/>
                    <a:pt x="9474877" y="1354138"/>
                  </a:cubicBezTo>
                  <a:close/>
                  <a:moveTo>
                    <a:pt x="9052602" y="1354138"/>
                  </a:moveTo>
                  <a:cubicBezTo>
                    <a:pt x="9071453" y="1354138"/>
                    <a:pt x="9086734" y="1369774"/>
                    <a:pt x="9086734" y="1389063"/>
                  </a:cubicBezTo>
                  <a:cubicBezTo>
                    <a:pt x="9086734" y="1408352"/>
                    <a:pt x="9071453" y="1423988"/>
                    <a:pt x="9052602" y="1423988"/>
                  </a:cubicBezTo>
                  <a:cubicBezTo>
                    <a:pt x="9033751" y="1423988"/>
                    <a:pt x="9018470" y="1408352"/>
                    <a:pt x="9018470" y="1389063"/>
                  </a:cubicBezTo>
                  <a:cubicBezTo>
                    <a:pt x="9018470" y="1369774"/>
                    <a:pt x="9033751" y="1354138"/>
                    <a:pt x="9052602" y="1354138"/>
                  </a:cubicBezTo>
                  <a:close/>
                  <a:moveTo>
                    <a:pt x="8966877" y="1354138"/>
                  </a:moveTo>
                  <a:cubicBezTo>
                    <a:pt x="8985728" y="1354138"/>
                    <a:pt x="9001009" y="1369774"/>
                    <a:pt x="9001009" y="1389063"/>
                  </a:cubicBezTo>
                  <a:cubicBezTo>
                    <a:pt x="9001009" y="1408352"/>
                    <a:pt x="8985728" y="1423988"/>
                    <a:pt x="8966877" y="1423988"/>
                  </a:cubicBezTo>
                  <a:cubicBezTo>
                    <a:pt x="8948026" y="1423988"/>
                    <a:pt x="8932745" y="1408352"/>
                    <a:pt x="8932745" y="1389063"/>
                  </a:cubicBezTo>
                  <a:cubicBezTo>
                    <a:pt x="8932745" y="1369774"/>
                    <a:pt x="8948026" y="1354138"/>
                    <a:pt x="8966877" y="1354138"/>
                  </a:cubicBezTo>
                  <a:close/>
                  <a:moveTo>
                    <a:pt x="8884327" y="1354138"/>
                  </a:moveTo>
                  <a:cubicBezTo>
                    <a:pt x="8904931" y="1354138"/>
                    <a:pt x="8921634" y="1369774"/>
                    <a:pt x="8921634" y="1389063"/>
                  </a:cubicBezTo>
                  <a:cubicBezTo>
                    <a:pt x="8921634" y="1408352"/>
                    <a:pt x="8904931" y="1423988"/>
                    <a:pt x="8884327" y="1423988"/>
                  </a:cubicBezTo>
                  <a:cubicBezTo>
                    <a:pt x="8863723" y="1423988"/>
                    <a:pt x="8847020" y="1408352"/>
                    <a:pt x="8847020" y="1389063"/>
                  </a:cubicBezTo>
                  <a:cubicBezTo>
                    <a:pt x="8847020" y="1369774"/>
                    <a:pt x="8863723" y="1354138"/>
                    <a:pt x="8884327" y="1354138"/>
                  </a:cubicBezTo>
                  <a:close/>
                  <a:moveTo>
                    <a:pt x="8801777" y="1354138"/>
                  </a:moveTo>
                  <a:cubicBezTo>
                    <a:pt x="8820628" y="1354138"/>
                    <a:pt x="8835909" y="1369774"/>
                    <a:pt x="8835909" y="1389063"/>
                  </a:cubicBezTo>
                  <a:cubicBezTo>
                    <a:pt x="8835909" y="1408352"/>
                    <a:pt x="8820628" y="1423988"/>
                    <a:pt x="8801777" y="1423988"/>
                  </a:cubicBezTo>
                  <a:cubicBezTo>
                    <a:pt x="8782926" y="1423988"/>
                    <a:pt x="8767645" y="1408352"/>
                    <a:pt x="8767645" y="1389063"/>
                  </a:cubicBezTo>
                  <a:cubicBezTo>
                    <a:pt x="8767645" y="1369774"/>
                    <a:pt x="8782926" y="1354138"/>
                    <a:pt x="8801777" y="1354138"/>
                  </a:cubicBezTo>
                  <a:close/>
                  <a:moveTo>
                    <a:pt x="8716052" y="1354138"/>
                  </a:moveTo>
                  <a:cubicBezTo>
                    <a:pt x="8734903" y="1354138"/>
                    <a:pt x="8750184" y="1369774"/>
                    <a:pt x="8750184" y="1389063"/>
                  </a:cubicBezTo>
                  <a:cubicBezTo>
                    <a:pt x="8750184" y="1408352"/>
                    <a:pt x="8734903" y="1423988"/>
                    <a:pt x="8716052" y="1423988"/>
                  </a:cubicBezTo>
                  <a:cubicBezTo>
                    <a:pt x="8697201" y="1423988"/>
                    <a:pt x="8681920" y="1408352"/>
                    <a:pt x="8681920" y="1389063"/>
                  </a:cubicBezTo>
                  <a:cubicBezTo>
                    <a:pt x="8681920" y="1369774"/>
                    <a:pt x="8697201" y="1354138"/>
                    <a:pt x="8716052" y="1354138"/>
                  </a:cubicBezTo>
                  <a:close/>
                  <a:moveTo>
                    <a:pt x="8630327" y="1354138"/>
                  </a:moveTo>
                  <a:cubicBezTo>
                    <a:pt x="8649178" y="1354138"/>
                    <a:pt x="8664459" y="1369774"/>
                    <a:pt x="8664459" y="1389063"/>
                  </a:cubicBezTo>
                  <a:cubicBezTo>
                    <a:pt x="8664459" y="1408352"/>
                    <a:pt x="8649178" y="1423988"/>
                    <a:pt x="8630327" y="1423988"/>
                  </a:cubicBezTo>
                  <a:cubicBezTo>
                    <a:pt x="8611476" y="1423988"/>
                    <a:pt x="8596195" y="1408352"/>
                    <a:pt x="8596195" y="1389063"/>
                  </a:cubicBezTo>
                  <a:cubicBezTo>
                    <a:pt x="8596195" y="1369774"/>
                    <a:pt x="8611476" y="1354138"/>
                    <a:pt x="8630327" y="1354138"/>
                  </a:cubicBezTo>
                  <a:close/>
                  <a:moveTo>
                    <a:pt x="8544602" y="1354138"/>
                  </a:moveTo>
                  <a:cubicBezTo>
                    <a:pt x="8563453" y="1354138"/>
                    <a:pt x="8578734" y="1369774"/>
                    <a:pt x="8578734" y="1389063"/>
                  </a:cubicBezTo>
                  <a:cubicBezTo>
                    <a:pt x="8578734" y="1408352"/>
                    <a:pt x="8563453" y="1423988"/>
                    <a:pt x="8544602" y="1423988"/>
                  </a:cubicBezTo>
                  <a:cubicBezTo>
                    <a:pt x="8525751" y="1423988"/>
                    <a:pt x="8510470" y="1408352"/>
                    <a:pt x="8510470" y="1389063"/>
                  </a:cubicBezTo>
                  <a:cubicBezTo>
                    <a:pt x="8510470" y="1369774"/>
                    <a:pt x="8525751" y="1354138"/>
                    <a:pt x="8544602" y="1354138"/>
                  </a:cubicBezTo>
                  <a:close/>
                  <a:moveTo>
                    <a:pt x="8465227" y="1354138"/>
                  </a:moveTo>
                  <a:cubicBezTo>
                    <a:pt x="8484078" y="1354138"/>
                    <a:pt x="8499359" y="1369774"/>
                    <a:pt x="8499359" y="1389063"/>
                  </a:cubicBezTo>
                  <a:cubicBezTo>
                    <a:pt x="8499359" y="1408352"/>
                    <a:pt x="8484078" y="1423988"/>
                    <a:pt x="8465227" y="1423988"/>
                  </a:cubicBezTo>
                  <a:cubicBezTo>
                    <a:pt x="8446376" y="1423988"/>
                    <a:pt x="8431095" y="1408352"/>
                    <a:pt x="8431095" y="1389063"/>
                  </a:cubicBezTo>
                  <a:cubicBezTo>
                    <a:pt x="8431095" y="1369774"/>
                    <a:pt x="8446376" y="1354138"/>
                    <a:pt x="8465227" y="1354138"/>
                  </a:cubicBezTo>
                  <a:close/>
                  <a:moveTo>
                    <a:pt x="8379502" y="1354138"/>
                  </a:moveTo>
                  <a:cubicBezTo>
                    <a:pt x="8398353" y="1354138"/>
                    <a:pt x="8413634" y="1369774"/>
                    <a:pt x="8413634" y="1389063"/>
                  </a:cubicBezTo>
                  <a:cubicBezTo>
                    <a:pt x="8413634" y="1408352"/>
                    <a:pt x="8398353" y="1423988"/>
                    <a:pt x="8379502" y="1423988"/>
                  </a:cubicBezTo>
                  <a:cubicBezTo>
                    <a:pt x="8360651" y="1423988"/>
                    <a:pt x="8345370" y="1408352"/>
                    <a:pt x="8345370" y="1389063"/>
                  </a:cubicBezTo>
                  <a:cubicBezTo>
                    <a:pt x="8345370" y="1369774"/>
                    <a:pt x="8360651" y="1354138"/>
                    <a:pt x="8379502" y="1354138"/>
                  </a:cubicBezTo>
                  <a:close/>
                  <a:moveTo>
                    <a:pt x="8293777" y="1354138"/>
                  </a:moveTo>
                  <a:cubicBezTo>
                    <a:pt x="8312628" y="1354138"/>
                    <a:pt x="8327909" y="1369774"/>
                    <a:pt x="8327909" y="1389063"/>
                  </a:cubicBezTo>
                  <a:cubicBezTo>
                    <a:pt x="8327909" y="1408352"/>
                    <a:pt x="8312628" y="1423988"/>
                    <a:pt x="8293777" y="1423988"/>
                  </a:cubicBezTo>
                  <a:cubicBezTo>
                    <a:pt x="8274926" y="1423988"/>
                    <a:pt x="8259645" y="1408352"/>
                    <a:pt x="8259645" y="1389063"/>
                  </a:cubicBezTo>
                  <a:cubicBezTo>
                    <a:pt x="8259645" y="1369774"/>
                    <a:pt x="8274926" y="1354138"/>
                    <a:pt x="8293777" y="1354138"/>
                  </a:cubicBezTo>
                  <a:close/>
                  <a:moveTo>
                    <a:pt x="8208052" y="1354138"/>
                  </a:moveTo>
                  <a:cubicBezTo>
                    <a:pt x="8226903" y="1354138"/>
                    <a:pt x="8242184" y="1369774"/>
                    <a:pt x="8242184" y="1389063"/>
                  </a:cubicBezTo>
                  <a:cubicBezTo>
                    <a:pt x="8242184" y="1408352"/>
                    <a:pt x="8226903" y="1423988"/>
                    <a:pt x="8208052" y="1423988"/>
                  </a:cubicBezTo>
                  <a:cubicBezTo>
                    <a:pt x="8189201" y="1423988"/>
                    <a:pt x="8173920" y="1408352"/>
                    <a:pt x="8173920" y="1389063"/>
                  </a:cubicBezTo>
                  <a:cubicBezTo>
                    <a:pt x="8173920" y="1369774"/>
                    <a:pt x="8189201" y="1354138"/>
                    <a:pt x="8208052" y="1354138"/>
                  </a:cubicBezTo>
                  <a:close/>
                  <a:moveTo>
                    <a:pt x="8125502" y="1354138"/>
                  </a:moveTo>
                  <a:cubicBezTo>
                    <a:pt x="8146106" y="1354138"/>
                    <a:pt x="8162809" y="1369774"/>
                    <a:pt x="8162809" y="1389063"/>
                  </a:cubicBezTo>
                  <a:cubicBezTo>
                    <a:pt x="8162809" y="1408352"/>
                    <a:pt x="8146106" y="1423988"/>
                    <a:pt x="8125502" y="1423988"/>
                  </a:cubicBezTo>
                  <a:cubicBezTo>
                    <a:pt x="8104898" y="1423988"/>
                    <a:pt x="8088195" y="1408352"/>
                    <a:pt x="8088195" y="1389063"/>
                  </a:cubicBezTo>
                  <a:cubicBezTo>
                    <a:pt x="8088195" y="1369774"/>
                    <a:pt x="8104898" y="1354138"/>
                    <a:pt x="8125502" y="1354138"/>
                  </a:cubicBezTo>
                  <a:close/>
                  <a:moveTo>
                    <a:pt x="8042952" y="1354138"/>
                  </a:moveTo>
                  <a:cubicBezTo>
                    <a:pt x="8061803" y="1354138"/>
                    <a:pt x="8077084" y="1369774"/>
                    <a:pt x="8077084" y="1389063"/>
                  </a:cubicBezTo>
                  <a:cubicBezTo>
                    <a:pt x="8077084" y="1408352"/>
                    <a:pt x="8061803" y="1423988"/>
                    <a:pt x="8042952" y="1423988"/>
                  </a:cubicBezTo>
                  <a:cubicBezTo>
                    <a:pt x="8024101" y="1423988"/>
                    <a:pt x="8008820" y="1408352"/>
                    <a:pt x="8008820" y="1389063"/>
                  </a:cubicBezTo>
                  <a:cubicBezTo>
                    <a:pt x="8008820" y="1369774"/>
                    <a:pt x="8024101" y="1354138"/>
                    <a:pt x="8042952" y="1354138"/>
                  </a:cubicBezTo>
                  <a:close/>
                  <a:moveTo>
                    <a:pt x="7957227" y="1354138"/>
                  </a:moveTo>
                  <a:cubicBezTo>
                    <a:pt x="7976078" y="1354138"/>
                    <a:pt x="7991359" y="1369774"/>
                    <a:pt x="7991359" y="1389063"/>
                  </a:cubicBezTo>
                  <a:cubicBezTo>
                    <a:pt x="7991359" y="1408352"/>
                    <a:pt x="7976078" y="1423988"/>
                    <a:pt x="7957227" y="1423988"/>
                  </a:cubicBezTo>
                  <a:cubicBezTo>
                    <a:pt x="7938376" y="1423988"/>
                    <a:pt x="7923095" y="1408352"/>
                    <a:pt x="7923095" y="1389063"/>
                  </a:cubicBezTo>
                  <a:cubicBezTo>
                    <a:pt x="7923095" y="1369774"/>
                    <a:pt x="7938376" y="1354138"/>
                    <a:pt x="7957227" y="1354138"/>
                  </a:cubicBezTo>
                  <a:close/>
                  <a:moveTo>
                    <a:pt x="7785777" y="1354138"/>
                  </a:moveTo>
                  <a:cubicBezTo>
                    <a:pt x="7804628" y="1354138"/>
                    <a:pt x="7819909" y="1369774"/>
                    <a:pt x="7819909" y="1389063"/>
                  </a:cubicBezTo>
                  <a:cubicBezTo>
                    <a:pt x="7819909" y="1408352"/>
                    <a:pt x="7804628" y="1423988"/>
                    <a:pt x="7785777" y="1423988"/>
                  </a:cubicBezTo>
                  <a:cubicBezTo>
                    <a:pt x="7766926" y="1423988"/>
                    <a:pt x="7751645" y="1408352"/>
                    <a:pt x="7751645" y="1389063"/>
                  </a:cubicBezTo>
                  <a:cubicBezTo>
                    <a:pt x="7751645" y="1369774"/>
                    <a:pt x="7766926" y="1354138"/>
                    <a:pt x="7785777" y="1354138"/>
                  </a:cubicBezTo>
                  <a:close/>
                  <a:moveTo>
                    <a:pt x="7706402" y="1354138"/>
                  </a:moveTo>
                  <a:cubicBezTo>
                    <a:pt x="7725253" y="1354138"/>
                    <a:pt x="7740534" y="1369774"/>
                    <a:pt x="7740534" y="1389063"/>
                  </a:cubicBezTo>
                  <a:cubicBezTo>
                    <a:pt x="7740534" y="1408352"/>
                    <a:pt x="7725253" y="1423988"/>
                    <a:pt x="7706402" y="1423988"/>
                  </a:cubicBezTo>
                  <a:cubicBezTo>
                    <a:pt x="7687551" y="1423988"/>
                    <a:pt x="7672270" y="1408352"/>
                    <a:pt x="7672270" y="1389063"/>
                  </a:cubicBezTo>
                  <a:cubicBezTo>
                    <a:pt x="7672270" y="1369774"/>
                    <a:pt x="7687551" y="1354138"/>
                    <a:pt x="7706402" y="1354138"/>
                  </a:cubicBezTo>
                  <a:close/>
                  <a:moveTo>
                    <a:pt x="7620677" y="1354138"/>
                  </a:moveTo>
                  <a:cubicBezTo>
                    <a:pt x="7639528" y="1354138"/>
                    <a:pt x="7654809" y="1369774"/>
                    <a:pt x="7654809" y="1389063"/>
                  </a:cubicBezTo>
                  <a:cubicBezTo>
                    <a:pt x="7654809" y="1408352"/>
                    <a:pt x="7639528" y="1423988"/>
                    <a:pt x="7620677" y="1423988"/>
                  </a:cubicBezTo>
                  <a:cubicBezTo>
                    <a:pt x="7601826" y="1423988"/>
                    <a:pt x="7586545" y="1408352"/>
                    <a:pt x="7586545" y="1389063"/>
                  </a:cubicBezTo>
                  <a:cubicBezTo>
                    <a:pt x="7586545" y="1369774"/>
                    <a:pt x="7601826" y="1354138"/>
                    <a:pt x="7620677" y="1354138"/>
                  </a:cubicBezTo>
                  <a:close/>
                  <a:moveTo>
                    <a:pt x="7534952" y="1354138"/>
                  </a:moveTo>
                  <a:cubicBezTo>
                    <a:pt x="7553803" y="1354138"/>
                    <a:pt x="7569084" y="1369774"/>
                    <a:pt x="7569084" y="1389063"/>
                  </a:cubicBezTo>
                  <a:cubicBezTo>
                    <a:pt x="7569084" y="1408352"/>
                    <a:pt x="7553803" y="1423988"/>
                    <a:pt x="7534952" y="1423988"/>
                  </a:cubicBezTo>
                  <a:cubicBezTo>
                    <a:pt x="7516101" y="1423988"/>
                    <a:pt x="7500820" y="1408352"/>
                    <a:pt x="7500820" y="1389063"/>
                  </a:cubicBezTo>
                  <a:cubicBezTo>
                    <a:pt x="7500820" y="1369774"/>
                    <a:pt x="7516101" y="1354138"/>
                    <a:pt x="7534952" y="1354138"/>
                  </a:cubicBezTo>
                  <a:close/>
                  <a:moveTo>
                    <a:pt x="7449227" y="1354138"/>
                  </a:moveTo>
                  <a:cubicBezTo>
                    <a:pt x="7468078" y="1354138"/>
                    <a:pt x="7483359" y="1369774"/>
                    <a:pt x="7483359" y="1389063"/>
                  </a:cubicBezTo>
                  <a:cubicBezTo>
                    <a:pt x="7483359" y="1408352"/>
                    <a:pt x="7468078" y="1423988"/>
                    <a:pt x="7449227" y="1423988"/>
                  </a:cubicBezTo>
                  <a:cubicBezTo>
                    <a:pt x="7430376" y="1423988"/>
                    <a:pt x="7415095" y="1408352"/>
                    <a:pt x="7415095" y="1389063"/>
                  </a:cubicBezTo>
                  <a:cubicBezTo>
                    <a:pt x="7415095" y="1369774"/>
                    <a:pt x="7430376" y="1354138"/>
                    <a:pt x="7449227" y="1354138"/>
                  </a:cubicBezTo>
                  <a:close/>
                  <a:moveTo>
                    <a:pt x="7366677" y="1354138"/>
                  </a:moveTo>
                  <a:cubicBezTo>
                    <a:pt x="7387281" y="1354138"/>
                    <a:pt x="7403984" y="1369774"/>
                    <a:pt x="7403984" y="1389063"/>
                  </a:cubicBezTo>
                  <a:cubicBezTo>
                    <a:pt x="7403984" y="1408352"/>
                    <a:pt x="7387281" y="1423988"/>
                    <a:pt x="7366677" y="1423988"/>
                  </a:cubicBezTo>
                  <a:cubicBezTo>
                    <a:pt x="7346073" y="1423988"/>
                    <a:pt x="7329370" y="1408352"/>
                    <a:pt x="7329370" y="1389063"/>
                  </a:cubicBezTo>
                  <a:cubicBezTo>
                    <a:pt x="7329370" y="1369774"/>
                    <a:pt x="7346073" y="1354138"/>
                    <a:pt x="7366677" y="1354138"/>
                  </a:cubicBezTo>
                  <a:close/>
                  <a:moveTo>
                    <a:pt x="7284127" y="1354138"/>
                  </a:moveTo>
                  <a:cubicBezTo>
                    <a:pt x="7302978" y="1354138"/>
                    <a:pt x="7318259" y="1369774"/>
                    <a:pt x="7318259" y="1389063"/>
                  </a:cubicBezTo>
                  <a:cubicBezTo>
                    <a:pt x="7318259" y="1408352"/>
                    <a:pt x="7302978" y="1423988"/>
                    <a:pt x="7284127" y="1423988"/>
                  </a:cubicBezTo>
                  <a:cubicBezTo>
                    <a:pt x="7265276" y="1423988"/>
                    <a:pt x="7249995" y="1408352"/>
                    <a:pt x="7249995" y="1389063"/>
                  </a:cubicBezTo>
                  <a:cubicBezTo>
                    <a:pt x="7249995" y="1369774"/>
                    <a:pt x="7265276" y="1354138"/>
                    <a:pt x="7284127" y="1354138"/>
                  </a:cubicBezTo>
                  <a:close/>
                  <a:moveTo>
                    <a:pt x="7198402" y="1354138"/>
                  </a:moveTo>
                  <a:cubicBezTo>
                    <a:pt x="7217253" y="1354138"/>
                    <a:pt x="7232534" y="1369774"/>
                    <a:pt x="7232534" y="1389063"/>
                  </a:cubicBezTo>
                  <a:cubicBezTo>
                    <a:pt x="7232534" y="1408352"/>
                    <a:pt x="7217253" y="1423988"/>
                    <a:pt x="7198402" y="1423988"/>
                  </a:cubicBezTo>
                  <a:cubicBezTo>
                    <a:pt x="7179551" y="1423988"/>
                    <a:pt x="7164270" y="1408352"/>
                    <a:pt x="7164270" y="1389063"/>
                  </a:cubicBezTo>
                  <a:cubicBezTo>
                    <a:pt x="7164270" y="1369774"/>
                    <a:pt x="7179551" y="1354138"/>
                    <a:pt x="7198402" y="1354138"/>
                  </a:cubicBezTo>
                  <a:close/>
                  <a:moveTo>
                    <a:pt x="7112677" y="1354138"/>
                  </a:moveTo>
                  <a:cubicBezTo>
                    <a:pt x="7131528" y="1354138"/>
                    <a:pt x="7146809" y="1369774"/>
                    <a:pt x="7146809" y="1389063"/>
                  </a:cubicBezTo>
                  <a:cubicBezTo>
                    <a:pt x="7146809" y="1408352"/>
                    <a:pt x="7131528" y="1423988"/>
                    <a:pt x="7112677" y="1423988"/>
                  </a:cubicBezTo>
                  <a:cubicBezTo>
                    <a:pt x="7093826" y="1423988"/>
                    <a:pt x="7078545" y="1408352"/>
                    <a:pt x="7078545" y="1389063"/>
                  </a:cubicBezTo>
                  <a:cubicBezTo>
                    <a:pt x="7078545" y="1369774"/>
                    <a:pt x="7093826" y="1354138"/>
                    <a:pt x="7112677" y="1354138"/>
                  </a:cubicBezTo>
                  <a:close/>
                  <a:moveTo>
                    <a:pt x="7027745" y="1354138"/>
                  </a:moveTo>
                  <a:cubicBezTo>
                    <a:pt x="7047034" y="1354138"/>
                    <a:pt x="7062670" y="1369774"/>
                    <a:pt x="7062670" y="1389063"/>
                  </a:cubicBezTo>
                  <a:cubicBezTo>
                    <a:pt x="7062670" y="1408352"/>
                    <a:pt x="7047034" y="1423988"/>
                    <a:pt x="7027745" y="1423988"/>
                  </a:cubicBezTo>
                  <a:cubicBezTo>
                    <a:pt x="7008456" y="1423988"/>
                    <a:pt x="6992820" y="1408352"/>
                    <a:pt x="6992820" y="1389063"/>
                  </a:cubicBezTo>
                  <a:cubicBezTo>
                    <a:pt x="6992820" y="1369774"/>
                    <a:pt x="7008456" y="1354138"/>
                    <a:pt x="7027745" y="1354138"/>
                  </a:cubicBezTo>
                  <a:close/>
                  <a:moveTo>
                    <a:pt x="6947577" y="1354138"/>
                  </a:moveTo>
                  <a:cubicBezTo>
                    <a:pt x="6966428" y="1354138"/>
                    <a:pt x="6981709" y="1369774"/>
                    <a:pt x="6981709" y="1389063"/>
                  </a:cubicBezTo>
                  <a:cubicBezTo>
                    <a:pt x="6981709" y="1408352"/>
                    <a:pt x="6966428" y="1423988"/>
                    <a:pt x="6947577" y="1423988"/>
                  </a:cubicBezTo>
                  <a:cubicBezTo>
                    <a:pt x="6928726" y="1423988"/>
                    <a:pt x="6913445" y="1408352"/>
                    <a:pt x="6913445" y="1389063"/>
                  </a:cubicBezTo>
                  <a:cubicBezTo>
                    <a:pt x="6913445" y="1369774"/>
                    <a:pt x="6928726" y="1354138"/>
                    <a:pt x="6947577" y="1354138"/>
                  </a:cubicBezTo>
                  <a:close/>
                  <a:moveTo>
                    <a:pt x="6861852" y="1354138"/>
                  </a:moveTo>
                  <a:cubicBezTo>
                    <a:pt x="6880703" y="1354138"/>
                    <a:pt x="6895984" y="1369774"/>
                    <a:pt x="6895984" y="1389063"/>
                  </a:cubicBezTo>
                  <a:cubicBezTo>
                    <a:pt x="6895984" y="1408352"/>
                    <a:pt x="6880703" y="1423988"/>
                    <a:pt x="6861852" y="1423988"/>
                  </a:cubicBezTo>
                  <a:cubicBezTo>
                    <a:pt x="6843001" y="1423988"/>
                    <a:pt x="6827720" y="1408352"/>
                    <a:pt x="6827720" y="1389063"/>
                  </a:cubicBezTo>
                  <a:cubicBezTo>
                    <a:pt x="6827720" y="1369774"/>
                    <a:pt x="6843001" y="1354138"/>
                    <a:pt x="6861852" y="1354138"/>
                  </a:cubicBezTo>
                  <a:close/>
                  <a:moveTo>
                    <a:pt x="6776127" y="1354138"/>
                  </a:moveTo>
                  <a:cubicBezTo>
                    <a:pt x="6794978" y="1354138"/>
                    <a:pt x="6810259" y="1369774"/>
                    <a:pt x="6810259" y="1389063"/>
                  </a:cubicBezTo>
                  <a:cubicBezTo>
                    <a:pt x="6810259" y="1408352"/>
                    <a:pt x="6794978" y="1423988"/>
                    <a:pt x="6776127" y="1423988"/>
                  </a:cubicBezTo>
                  <a:cubicBezTo>
                    <a:pt x="6757276" y="1423988"/>
                    <a:pt x="6741995" y="1408352"/>
                    <a:pt x="6741995" y="1389063"/>
                  </a:cubicBezTo>
                  <a:cubicBezTo>
                    <a:pt x="6741995" y="1369774"/>
                    <a:pt x="6757276" y="1354138"/>
                    <a:pt x="6776127" y="1354138"/>
                  </a:cubicBezTo>
                  <a:close/>
                  <a:moveTo>
                    <a:pt x="6691195" y="1354138"/>
                  </a:moveTo>
                  <a:cubicBezTo>
                    <a:pt x="6710484" y="1354138"/>
                    <a:pt x="6726120" y="1369774"/>
                    <a:pt x="6726120" y="1389063"/>
                  </a:cubicBezTo>
                  <a:cubicBezTo>
                    <a:pt x="6726120" y="1408352"/>
                    <a:pt x="6710484" y="1423988"/>
                    <a:pt x="6691195" y="1423988"/>
                  </a:cubicBezTo>
                  <a:cubicBezTo>
                    <a:pt x="6671906" y="1423988"/>
                    <a:pt x="6656270" y="1408352"/>
                    <a:pt x="6656270" y="1389063"/>
                  </a:cubicBezTo>
                  <a:cubicBezTo>
                    <a:pt x="6656270" y="1369774"/>
                    <a:pt x="6671906" y="1354138"/>
                    <a:pt x="6691195" y="1354138"/>
                  </a:cubicBezTo>
                  <a:close/>
                  <a:moveTo>
                    <a:pt x="6607852" y="1354138"/>
                  </a:moveTo>
                  <a:cubicBezTo>
                    <a:pt x="6628456" y="1354138"/>
                    <a:pt x="6645159" y="1369774"/>
                    <a:pt x="6645159" y="1389063"/>
                  </a:cubicBezTo>
                  <a:cubicBezTo>
                    <a:pt x="6645159" y="1408352"/>
                    <a:pt x="6628456" y="1423988"/>
                    <a:pt x="6607852" y="1423988"/>
                  </a:cubicBezTo>
                  <a:cubicBezTo>
                    <a:pt x="6587248" y="1423988"/>
                    <a:pt x="6570545" y="1408352"/>
                    <a:pt x="6570545" y="1389063"/>
                  </a:cubicBezTo>
                  <a:cubicBezTo>
                    <a:pt x="6570545" y="1369774"/>
                    <a:pt x="6587248" y="1354138"/>
                    <a:pt x="6607852" y="1354138"/>
                  </a:cubicBezTo>
                  <a:close/>
                  <a:moveTo>
                    <a:pt x="6525302" y="1354138"/>
                  </a:moveTo>
                  <a:cubicBezTo>
                    <a:pt x="6544153" y="1354138"/>
                    <a:pt x="6559434" y="1369774"/>
                    <a:pt x="6559434" y="1389063"/>
                  </a:cubicBezTo>
                  <a:cubicBezTo>
                    <a:pt x="6559434" y="1408352"/>
                    <a:pt x="6544153" y="1423988"/>
                    <a:pt x="6525302" y="1423988"/>
                  </a:cubicBezTo>
                  <a:cubicBezTo>
                    <a:pt x="6506451" y="1423988"/>
                    <a:pt x="6491170" y="1408352"/>
                    <a:pt x="6491170" y="1389063"/>
                  </a:cubicBezTo>
                  <a:cubicBezTo>
                    <a:pt x="6491170" y="1369774"/>
                    <a:pt x="6506451" y="1354138"/>
                    <a:pt x="6525302" y="1354138"/>
                  </a:cubicBezTo>
                  <a:close/>
                  <a:moveTo>
                    <a:pt x="6439577" y="1354138"/>
                  </a:moveTo>
                  <a:cubicBezTo>
                    <a:pt x="6458428" y="1354138"/>
                    <a:pt x="6473709" y="1369774"/>
                    <a:pt x="6473709" y="1389063"/>
                  </a:cubicBezTo>
                  <a:cubicBezTo>
                    <a:pt x="6473709" y="1408352"/>
                    <a:pt x="6458428" y="1423988"/>
                    <a:pt x="6439577" y="1423988"/>
                  </a:cubicBezTo>
                  <a:cubicBezTo>
                    <a:pt x="6420726" y="1423988"/>
                    <a:pt x="6405445" y="1408352"/>
                    <a:pt x="6405445" y="1389063"/>
                  </a:cubicBezTo>
                  <a:cubicBezTo>
                    <a:pt x="6405445" y="1369774"/>
                    <a:pt x="6420726" y="1354138"/>
                    <a:pt x="6439577" y="1354138"/>
                  </a:cubicBezTo>
                  <a:close/>
                  <a:moveTo>
                    <a:pt x="6353852" y="1354138"/>
                  </a:moveTo>
                  <a:cubicBezTo>
                    <a:pt x="6372703" y="1354138"/>
                    <a:pt x="6387984" y="1369774"/>
                    <a:pt x="6387984" y="1389063"/>
                  </a:cubicBezTo>
                  <a:cubicBezTo>
                    <a:pt x="6387984" y="1408352"/>
                    <a:pt x="6372703" y="1423988"/>
                    <a:pt x="6353852" y="1423988"/>
                  </a:cubicBezTo>
                  <a:cubicBezTo>
                    <a:pt x="6335001" y="1423988"/>
                    <a:pt x="6319720" y="1408352"/>
                    <a:pt x="6319720" y="1389063"/>
                  </a:cubicBezTo>
                  <a:cubicBezTo>
                    <a:pt x="6319720" y="1369774"/>
                    <a:pt x="6335001" y="1354138"/>
                    <a:pt x="6353852" y="1354138"/>
                  </a:cubicBezTo>
                  <a:close/>
                  <a:moveTo>
                    <a:pt x="6268920" y="1354138"/>
                  </a:moveTo>
                  <a:cubicBezTo>
                    <a:pt x="6288209" y="1354138"/>
                    <a:pt x="6303845" y="1369774"/>
                    <a:pt x="6303845" y="1389063"/>
                  </a:cubicBezTo>
                  <a:cubicBezTo>
                    <a:pt x="6303845" y="1408352"/>
                    <a:pt x="6288209" y="1423988"/>
                    <a:pt x="6268920" y="1423988"/>
                  </a:cubicBezTo>
                  <a:cubicBezTo>
                    <a:pt x="6249631" y="1423988"/>
                    <a:pt x="6233995" y="1408352"/>
                    <a:pt x="6233995" y="1389063"/>
                  </a:cubicBezTo>
                  <a:cubicBezTo>
                    <a:pt x="6233995" y="1369774"/>
                    <a:pt x="6249631" y="1354138"/>
                    <a:pt x="6268920" y="1354138"/>
                  </a:cubicBezTo>
                  <a:close/>
                  <a:moveTo>
                    <a:pt x="6188752" y="1354138"/>
                  </a:moveTo>
                  <a:cubicBezTo>
                    <a:pt x="6207603" y="1354138"/>
                    <a:pt x="6222884" y="1369774"/>
                    <a:pt x="6222884" y="1389063"/>
                  </a:cubicBezTo>
                  <a:cubicBezTo>
                    <a:pt x="6222884" y="1408352"/>
                    <a:pt x="6207603" y="1423988"/>
                    <a:pt x="6188752" y="1423988"/>
                  </a:cubicBezTo>
                  <a:cubicBezTo>
                    <a:pt x="6169901" y="1423988"/>
                    <a:pt x="6154620" y="1408352"/>
                    <a:pt x="6154620" y="1389063"/>
                  </a:cubicBezTo>
                  <a:cubicBezTo>
                    <a:pt x="6154620" y="1369774"/>
                    <a:pt x="6169901" y="1354138"/>
                    <a:pt x="6188752" y="1354138"/>
                  </a:cubicBezTo>
                  <a:close/>
                  <a:moveTo>
                    <a:pt x="6103027" y="1354138"/>
                  </a:moveTo>
                  <a:cubicBezTo>
                    <a:pt x="6121878" y="1354138"/>
                    <a:pt x="6137159" y="1369774"/>
                    <a:pt x="6137159" y="1389063"/>
                  </a:cubicBezTo>
                  <a:cubicBezTo>
                    <a:pt x="6137159" y="1408352"/>
                    <a:pt x="6121878" y="1423988"/>
                    <a:pt x="6103027" y="1423988"/>
                  </a:cubicBezTo>
                  <a:cubicBezTo>
                    <a:pt x="6084176" y="1423988"/>
                    <a:pt x="6068895" y="1408352"/>
                    <a:pt x="6068895" y="1389063"/>
                  </a:cubicBezTo>
                  <a:cubicBezTo>
                    <a:pt x="6068895" y="1369774"/>
                    <a:pt x="6084176" y="1354138"/>
                    <a:pt x="6103027" y="1354138"/>
                  </a:cubicBezTo>
                  <a:close/>
                  <a:moveTo>
                    <a:pt x="5932370" y="1354138"/>
                  </a:moveTo>
                  <a:cubicBezTo>
                    <a:pt x="5951659" y="1354138"/>
                    <a:pt x="5967295" y="1369774"/>
                    <a:pt x="5967295" y="1389063"/>
                  </a:cubicBezTo>
                  <a:cubicBezTo>
                    <a:pt x="5967295" y="1408352"/>
                    <a:pt x="5951659" y="1423988"/>
                    <a:pt x="5932370" y="1423988"/>
                  </a:cubicBezTo>
                  <a:cubicBezTo>
                    <a:pt x="5913081" y="1423988"/>
                    <a:pt x="5897445" y="1408352"/>
                    <a:pt x="5897445" y="1389063"/>
                  </a:cubicBezTo>
                  <a:cubicBezTo>
                    <a:pt x="5897445" y="1369774"/>
                    <a:pt x="5913081" y="1354138"/>
                    <a:pt x="5932370" y="1354138"/>
                  </a:cubicBezTo>
                  <a:close/>
                  <a:moveTo>
                    <a:pt x="5849821" y="1354138"/>
                  </a:moveTo>
                  <a:cubicBezTo>
                    <a:pt x="5869987" y="1354138"/>
                    <a:pt x="5886334" y="1369774"/>
                    <a:pt x="5886334" y="1389063"/>
                  </a:cubicBezTo>
                  <a:cubicBezTo>
                    <a:pt x="5886334" y="1408352"/>
                    <a:pt x="5869987" y="1423988"/>
                    <a:pt x="5849821" y="1423988"/>
                  </a:cubicBezTo>
                  <a:cubicBezTo>
                    <a:pt x="5829655" y="1423988"/>
                    <a:pt x="5813308" y="1408352"/>
                    <a:pt x="5813308" y="1389063"/>
                  </a:cubicBezTo>
                  <a:cubicBezTo>
                    <a:pt x="5813308" y="1369774"/>
                    <a:pt x="5829655" y="1354138"/>
                    <a:pt x="5849821" y="1354138"/>
                  </a:cubicBezTo>
                  <a:close/>
                  <a:moveTo>
                    <a:pt x="5766477" y="1354138"/>
                  </a:moveTo>
                  <a:cubicBezTo>
                    <a:pt x="5785328" y="1354138"/>
                    <a:pt x="5800609" y="1369774"/>
                    <a:pt x="5800609" y="1389063"/>
                  </a:cubicBezTo>
                  <a:cubicBezTo>
                    <a:pt x="5800609" y="1408352"/>
                    <a:pt x="5785328" y="1423988"/>
                    <a:pt x="5766477" y="1423988"/>
                  </a:cubicBezTo>
                  <a:cubicBezTo>
                    <a:pt x="5747626" y="1423988"/>
                    <a:pt x="5732345" y="1408352"/>
                    <a:pt x="5732345" y="1389063"/>
                  </a:cubicBezTo>
                  <a:cubicBezTo>
                    <a:pt x="5732345" y="1369774"/>
                    <a:pt x="5747626" y="1354138"/>
                    <a:pt x="5766477" y="1354138"/>
                  </a:cubicBezTo>
                  <a:close/>
                  <a:moveTo>
                    <a:pt x="5680752" y="1354138"/>
                  </a:moveTo>
                  <a:cubicBezTo>
                    <a:pt x="5699603" y="1354138"/>
                    <a:pt x="5714884" y="1369774"/>
                    <a:pt x="5714884" y="1389063"/>
                  </a:cubicBezTo>
                  <a:cubicBezTo>
                    <a:pt x="5714884" y="1408352"/>
                    <a:pt x="5699603" y="1423988"/>
                    <a:pt x="5680752" y="1423988"/>
                  </a:cubicBezTo>
                  <a:cubicBezTo>
                    <a:pt x="5661901" y="1423988"/>
                    <a:pt x="5646620" y="1408352"/>
                    <a:pt x="5646620" y="1389063"/>
                  </a:cubicBezTo>
                  <a:cubicBezTo>
                    <a:pt x="5646620" y="1369774"/>
                    <a:pt x="5661901" y="1354138"/>
                    <a:pt x="5680752" y="1354138"/>
                  </a:cubicBezTo>
                  <a:close/>
                  <a:moveTo>
                    <a:pt x="5429927" y="1354138"/>
                  </a:moveTo>
                  <a:cubicBezTo>
                    <a:pt x="5448778" y="1354138"/>
                    <a:pt x="5464059" y="1369774"/>
                    <a:pt x="5464059" y="1389063"/>
                  </a:cubicBezTo>
                  <a:cubicBezTo>
                    <a:pt x="5464059" y="1408352"/>
                    <a:pt x="5448778" y="1423988"/>
                    <a:pt x="5429927" y="1423988"/>
                  </a:cubicBezTo>
                  <a:cubicBezTo>
                    <a:pt x="5411076" y="1423988"/>
                    <a:pt x="5395795" y="1408352"/>
                    <a:pt x="5395795" y="1389063"/>
                  </a:cubicBezTo>
                  <a:cubicBezTo>
                    <a:pt x="5395795" y="1369774"/>
                    <a:pt x="5411076" y="1354138"/>
                    <a:pt x="5429927" y="1354138"/>
                  </a:cubicBezTo>
                  <a:close/>
                  <a:moveTo>
                    <a:pt x="5344202" y="1354138"/>
                  </a:moveTo>
                  <a:cubicBezTo>
                    <a:pt x="5363053" y="1354138"/>
                    <a:pt x="5378334" y="1369774"/>
                    <a:pt x="5378334" y="1389063"/>
                  </a:cubicBezTo>
                  <a:cubicBezTo>
                    <a:pt x="5378334" y="1408352"/>
                    <a:pt x="5363053" y="1423988"/>
                    <a:pt x="5344202" y="1423988"/>
                  </a:cubicBezTo>
                  <a:cubicBezTo>
                    <a:pt x="5325351" y="1423988"/>
                    <a:pt x="5310070" y="1408352"/>
                    <a:pt x="5310070" y="1389063"/>
                  </a:cubicBezTo>
                  <a:cubicBezTo>
                    <a:pt x="5310070" y="1369774"/>
                    <a:pt x="5325351" y="1354138"/>
                    <a:pt x="5344202" y="1354138"/>
                  </a:cubicBezTo>
                  <a:close/>
                  <a:moveTo>
                    <a:pt x="5173545" y="1354138"/>
                  </a:moveTo>
                  <a:cubicBezTo>
                    <a:pt x="5192834" y="1354138"/>
                    <a:pt x="5208470" y="1369774"/>
                    <a:pt x="5208470" y="1389063"/>
                  </a:cubicBezTo>
                  <a:cubicBezTo>
                    <a:pt x="5208470" y="1408352"/>
                    <a:pt x="5192834" y="1423988"/>
                    <a:pt x="5173545" y="1423988"/>
                  </a:cubicBezTo>
                  <a:cubicBezTo>
                    <a:pt x="5154256" y="1423988"/>
                    <a:pt x="5138620" y="1408352"/>
                    <a:pt x="5138620" y="1389063"/>
                  </a:cubicBezTo>
                  <a:cubicBezTo>
                    <a:pt x="5138620" y="1369774"/>
                    <a:pt x="5154256" y="1354138"/>
                    <a:pt x="5173545" y="1354138"/>
                  </a:cubicBezTo>
                  <a:close/>
                  <a:moveTo>
                    <a:pt x="3234414" y="1354138"/>
                  </a:moveTo>
                  <a:cubicBezTo>
                    <a:pt x="3253265" y="1354138"/>
                    <a:pt x="3268546" y="1369774"/>
                    <a:pt x="3268546" y="1389063"/>
                  </a:cubicBezTo>
                  <a:cubicBezTo>
                    <a:pt x="3268546" y="1408352"/>
                    <a:pt x="3253265" y="1423988"/>
                    <a:pt x="3234414" y="1423988"/>
                  </a:cubicBezTo>
                  <a:cubicBezTo>
                    <a:pt x="3215563" y="1423988"/>
                    <a:pt x="3200282" y="1408352"/>
                    <a:pt x="3200282" y="1389063"/>
                  </a:cubicBezTo>
                  <a:cubicBezTo>
                    <a:pt x="3200282" y="1369774"/>
                    <a:pt x="3215563" y="1354138"/>
                    <a:pt x="3234414" y="1354138"/>
                  </a:cubicBezTo>
                  <a:close/>
                  <a:moveTo>
                    <a:pt x="3153452" y="1354138"/>
                  </a:moveTo>
                  <a:cubicBezTo>
                    <a:pt x="3172303" y="1354138"/>
                    <a:pt x="3187584" y="1369774"/>
                    <a:pt x="3187584" y="1389063"/>
                  </a:cubicBezTo>
                  <a:cubicBezTo>
                    <a:pt x="3187584" y="1408352"/>
                    <a:pt x="3172303" y="1423988"/>
                    <a:pt x="3153452" y="1423988"/>
                  </a:cubicBezTo>
                  <a:cubicBezTo>
                    <a:pt x="3134601" y="1423988"/>
                    <a:pt x="3119320" y="1408352"/>
                    <a:pt x="3119320" y="1389063"/>
                  </a:cubicBezTo>
                  <a:cubicBezTo>
                    <a:pt x="3119320" y="1369774"/>
                    <a:pt x="3134601" y="1354138"/>
                    <a:pt x="3153452" y="1354138"/>
                  </a:cubicBezTo>
                  <a:close/>
                  <a:moveTo>
                    <a:pt x="3068520" y="1354138"/>
                  </a:moveTo>
                  <a:cubicBezTo>
                    <a:pt x="3087809" y="1354138"/>
                    <a:pt x="3103445" y="1369774"/>
                    <a:pt x="3103445" y="1389063"/>
                  </a:cubicBezTo>
                  <a:cubicBezTo>
                    <a:pt x="3103445" y="1408352"/>
                    <a:pt x="3087809" y="1423988"/>
                    <a:pt x="3068520" y="1423988"/>
                  </a:cubicBezTo>
                  <a:cubicBezTo>
                    <a:pt x="3049231" y="1423988"/>
                    <a:pt x="3033595" y="1408352"/>
                    <a:pt x="3033595" y="1389063"/>
                  </a:cubicBezTo>
                  <a:cubicBezTo>
                    <a:pt x="3033595" y="1369774"/>
                    <a:pt x="3049231" y="1354138"/>
                    <a:pt x="3068520" y="1354138"/>
                  </a:cubicBezTo>
                  <a:close/>
                  <a:moveTo>
                    <a:pt x="2983589" y="1354138"/>
                  </a:moveTo>
                  <a:cubicBezTo>
                    <a:pt x="3002440" y="1354138"/>
                    <a:pt x="3017721" y="1369774"/>
                    <a:pt x="3017721" y="1389063"/>
                  </a:cubicBezTo>
                  <a:cubicBezTo>
                    <a:pt x="3017721" y="1408352"/>
                    <a:pt x="3002440" y="1423988"/>
                    <a:pt x="2983589" y="1423988"/>
                  </a:cubicBezTo>
                  <a:cubicBezTo>
                    <a:pt x="2964738" y="1423988"/>
                    <a:pt x="2949457" y="1408352"/>
                    <a:pt x="2949457" y="1389063"/>
                  </a:cubicBezTo>
                  <a:cubicBezTo>
                    <a:pt x="2949457" y="1369774"/>
                    <a:pt x="2964738" y="1354138"/>
                    <a:pt x="2983589" y="1354138"/>
                  </a:cubicBezTo>
                  <a:close/>
                  <a:moveTo>
                    <a:pt x="2897864" y="1354138"/>
                  </a:moveTo>
                  <a:cubicBezTo>
                    <a:pt x="2916715" y="1354138"/>
                    <a:pt x="2931996" y="1369774"/>
                    <a:pt x="2931996" y="1389063"/>
                  </a:cubicBezTo>
                  <a:cubicBezTo>
                    <a:pt x="2931996" y="1408352"/>
                    <a:pt x="2916715" y="1423988"/>
                    <a:pt x="2897864" y="1423988"/>
                  </a:cubicBezTo>
                  <a:cubicBezTo>
                    <a:pt x="2879013" y="1423988"/>
                    <a:pt x="2863732" y="1408352"/>
                    <a:pt x="2863732" y="1389063"/>
                  </a:cubicBezTo>
                  <a:cubicBezTo>
                    <a:pt x="2863732" y="1369774"/>
                    <a:pt x="2879013" y="1354138"/>
                    <a:pt x="2897864" y="1354138"/>
                  </a:cubicBezTo>
                  <a:close/>
                  <a:moveTo>
                    <a:pt x="2475754" y="1354138"/>
                  </a:moveTo>
                  <a:cubicBezTo>
                    <a:pt x="2494608" y="1354138"/>
                    <a:pt x="2509883" y="1369774"/>
                    <a:pt x="2509883" y="1389063"/>
                  </a:cubicBezTo>
                  <a:cubicBezTo>
                    <a:pt x="2509883" y="1408352"/>
                    <a:pt x="2494608" y="1423988"/>
                    <a:pt x="2475754" y="1423988"/>
                  </a:cubicBezTo>
                  <a:cubicBezTo>
                    <a:pt x="2456900" y="1423988"/>
                    <a:pt x="2441619" y="1408352"/>
                    <a:pt x="2441619" y="1389063"/>
                  </a:cubicBezTo>
                  <a:cubicBezTo>
                    <a:pt x="2441619" y="1369774"/>
                    <a:pt x="2456900" y="1354138"/>
                    <a:pt x="2475754" y="1354138"/>
                  </a:cubicBezTo>
                  <a:close/>
                  <a:moveTo>
                    <a:pt x="2394790" y="1354138"/>
                  </a:moveTo>
                  <a:cubicBezTo>
                    <a:pt x="2413638" y="1354138"/>
                    <a:pt x="2428919" y="1369774"/>
                    <a:pt x="2428919" y="1389063"/>
                  </a:cubicBezTo>
                  <a:cubicBezTo>
                    <a:pt x="2428919" y="1408352"/>
                    <a:pt x="2413638" y="1423988"/>
                    <a:pt x="2394790" y="1423988"/>
                  </a:cubicBezTo>
                  <a:cubicBezTo>
                    <a:pt x="2375933" y="1423988"/>
                    <a:pt x="2360656" y="1408352"/>
                    <a:pt x="2360656" y="1389063"/>
                  </a:cubicBezTo>
                  <a:cubicBezTo>
                    <a:pt x="2360656" y="1369774"/>
                    <a:pt x="2375933" y="1354138"/>
                    <a:pt x="2394790" y="1354138"/>
                  </a:cubicBezTo>
                  <a:close/>
                  <a:moveTo>
                    <a:pt x="2309856" y="1354138"/>
                  </a:moveTo>
                  <a:cubicBezTo>
                    <a:pt x="2329141" y="1354138"/>
                    <a:pt x="2344781" y="1369774"/>
                    <a:pt x="2344781" y="1389063"/>
                  </a:cubicBezTo>
                  <a:cubicBezTo>
                    <a:pt x="2344781" y="1408352"/>
                    <a:pt x="2329141" y="1423988"/>
                    <a:pt x="2309856" y="1423988"/>
                  </a:cubicBezTo>
                  <a:cubicBezTo>
                    <a:pt x="2290564" y="1423988"/>
                    <a:pt x="2274920" y="1408352"/>
                    <a:pt x="2274920" y="1389063"/>
                  </a:cubicBezTo>
                  <a:cubicBezTo>
                    <a:pt x="2274920" y="1369774"/>
                    <a:pt x="2290564" y="1354138"/>
                    <a:pt x="2309856" y="1354138"/>
                  </a:cubicBezTo>
                  <a:close/>
                  <a:moveTo>
                    <a:pt x="2224919" y="1354138"/>
                  </a:moveTo>
                  <a:cubicBezTo>
                    <a:pt x="2243761" y="1354138"/>
                    <a:pt x="2259040" y="1369774"/>
                    <a:pt x="2259040" y="1389063"/>
                  </a:cubicBezTo>
                  <a:cubicBezTo>
                    <a:pt x="2259040" y="1408352"/>
                    <a:pt x="2243761" y="1423988"/>
                    <a:pt x="2224919" y="1423988"/>
                  </a:cubicBezTo>
                  <a:cubicBezTo>
                    <a:pt x="2206066" y="1423988"/>
                    <a:pt x="2190786" y="1408352"/>
                    <a:pt x="2190786" y="1389063"/>
                  </a:cubicBezTo>
                  <a:cubicBezTo>
                    <a:pt x="2190786" y="1369774"/>
                    <a:pt x="2206066" y="1354138"/>
                    <a:pt x="2224919" y="1354138"/>
                  </a:cubicBezTo>
                  <a:close/>
                  <a:moveTo>
                    <a:pt x="2139203" y="1354138"/>
                  </a:moveTo>
                  <a:cubicBezTo>
                    <a:pt x="2158055" y="1354138"/>
                    <a:pt x="2173331" y="1369774"/>
                    <a:pt x="2173331" y="1389063"/>
                  </a:cubicBezTo>
                  <a:cubicBezTo>
                    <a:pt x="2173331" y="1408352"/>
                    <a:pt x="2158055" y="1423988"/>
                    <a:pt x="2139203" y="1423988"/>
                  </a:cubicBezTo>
                  <a:cubicBezTo>
                    <a:pt x="2120347" y="1423988"/>
                    <a:pt x="2105064" y="1408352"/>
                    <a:pt x="2105064" y="1389063"/>
                  </a:cubicBezTo>
                  <a:cubicBezTo>
                    <a:pt x="2105064" y="1369774"/>
                    <a:pt x="2120347" y="1354138"/>
                    <a:pt x="2139203" y="1354138"/>
                  </a:cubicBezTo>
                  <a:close/>
                  <a:moveTo>
                    <a:pt x="2055704" y="1354138"/>
                  </a:moveTo>
                  <a:cubicBezTo>
                    <a:pt x="2075871" y="1354138"/>
                    <a:pt x="2092218" y="1369774"/>
                    <a:pt x="2092218" y="1389063"/>
                  </a:cubicBezTo>
                  <a:cubicBezTo>
                    <a:pt x="2092218" y="1408352"/>
                    <a:pt x="2075871" y="1423988"/>
                    <a:pt x="2055704" y="1423988"/>
                  </a:cubicBezTo>
                  <a:cubicBezTo>
                    <a:pt x="2035539" y="1423988"/>
                    <a:pt x="2019192" y="1408352"/>
                    <a:pt x="2019192" y="1389063"/>
                  </a:cubicBezTo>
                  <a:cubicBezTo>
                    <a:pt x="2019192" y="1369774"/>
                    <a:pt x="2035539" y="1354138"/>
                    <a:pt x="2055704" y="1354138"/>
                  </a:cubicBezTo>
                  <a:close/>
                  <a:moveTo>
                    <a:pt x="1973161" y="1354138"/>
                  </a:moveTo>
                  <a:cubicBezTo>
                    <a:pt x="1992450" y="1354138"/>
                    <a:pt x="2008085" y="1369774"/>
                    <a:pt x="2008085" y="1389063"/>
                  </a:cubicBezTo>
                  <a:cubicBezTo>
                    <a:pt x="2008085" y="1408352"/>
                    <a:pt x="1992450" y="1423988"/>
                    <a:pt x="1973161" y="1423988"/>
                  </a:cubicBezTo>
                  <a:cubicBezTo>
                    <a:pt x="1953872" y="1423988"/>
                    <a:pt x="1938236" y="1408352"/>
                    <a:pt x="1938236" y="1389063"/>
                  </a:cubicBezTo>
                  <a:cubicBezTo>
                    <a:pt x="1938236" y="1369774"/>
                    <a:pt x="1953872" y="1354138"/>
                    <a:pt x="1973161" y="1354138"/>
                  </a:cubicBezTo>
                  <a:close/>
                  <a:moveTo>
                    <a:pt x="1888231" y="1354138"/>
                  </a:moveTo>
                  <a:cubicBezTo>
                    <a:pt x="1907082" y="1354138"/>
                    <a:pt x="1922362" y="1369774"/>
                    <a:pt x="1922362" y="1389063"/>
                  </a:cubicBezTo>
                  <a:cubicBezTo>
                    <a:pt x="1922362" y="1408352"/>
                    <a:pt x="1907082" y="1423988"/>
                    <a:pt x="1888231" y="1423988"/>
                  </a:cubicBezTo>
                  <a:cubicBezTo>
                    <a:pt x="1869380" y="1423988"/>
                    <a:pt x="1854099" y="1408352"/>
                    <a:pt x="1854099" y="1389063"/>
                  </a:cubicBezTo>
                  <a:cubicBezTo>
                    <a:pt x="1854099" y="1369774"/>
                    <a:pt x="1869380" y="1354138"/>
                    <a:pt x="1888231" y="1354138"/>
                  </a:cubicBezTo>
                  <a:close/>
                  <a:moveTo>
                    <a:pt x="1802511" y="1354138"/>
                  </a:moveTo>
                  <a:cubicBezTo>
                    <a:pt x="1821362" y="1354138"/>
                    <a:pt x="1836643" y="1369774"/>
                    <a:pt x="1836643" y="1389063"/>
                  </a:cubicBezTo>
                  <a:cubicBezTo>
                    <a:pt x="1836643" y="1408352"/>
                    <a:pt x="1821362" y="1423988"/>
                    <a:pt x="1802511" y="1423988"/>
                  </a:cubicBezTo>
                  <a:cubicBezTo>
                    <a:pt x="1783659" y="1423988"/>
                    <a:pt x="1768379" y="1408352"/>
                    <a:pt x="1768379" y="1389063"/>
                  </a:cubicBezTo>
                  <a:cubicBezTo>
                    <a:pt x="1768379" y="1369774"/>
                    <a:pt x="1783659" y="1354138"/>
                    <a:pt x="1802511" y="1354138"/>
                  </a:cubicBezTo>
                  <a:close/>
                  <a:moveTo>
                    <a:pt x="1719168" y="1354138"/>
                  </a:moveTo>
                  <a:cubicBezTo>
                    <a:pt x="1739335" y="1354138"/>
                    <a:pt x="1755682" y="1369774"/>
                    <a:pt x="1755682" y="1389063"/>
                  </a:cubicBezTo>
                  <a:cubicBezTo>
                    <a:pt x="1755682" y="1408352"/>
                    <a:pt x="1739335" y="1423988"/>
                    <a:pt x="1719168" y="1423988"/>
                  </a:cubicBezTo>
                  <a:cubicBezTo>
                    <a:pt x="1699002" y="1423988"/>
                    <a:pt x="1682655" y="1408352"/>
                    <a:pt x="1682655" y="1389063"/>
                  </a:cubicBezTo>
                  <a:cubicBezTo>
                    <a:pt x="1682655" y="1369774"/>
                    <a:pt x="1699002" y="1354138"/>
                    <a:pt x="1719168" y="1354138"/>
                  </a:cubicBezTo>
                  <a:close/>
                  <a:moveTo>
                    <a:pt x="1636604" y="1354138"/>
                  </a:moveTo>
                  <a:cubicBezTo>
                    <a:pt x="1655893" y="1354138"/>
                    <a:pt x="1671530" y="1369774"/>
                    <a:pt x="1671530" y="1389063"/>
                  </a:cubicBezTo>
                  <a:cubicBezTo>
                    <a:pt x="1671530" y="1408352"/>
                    <a:pt x="1655893" y="1423988"/>
                    <a:pt x="1636604" y="1423988"/>
                  </a:cubicBezTo>
                  <a:cubicBezTo>
                    <a:pt x="1617315" y="1423988"/>
                    <a:pt x="1601679" y="1408352"/>
                    <a:pt x="1601679" y="1389063"/>
                  </a:cubicBezTo>
                  <a:cubicBezTo>
                    <a:pt x="1601679" y="1369774"/>
                    <a:pt x="1617315" y="1354138"/>
                    <a:pt x="1636604" y="1354138"/>
                  </a:cubicBezTo>
                  <a:close/>
                  <a:moveTo>
                    <a:pt x="1551678" y="1354138"/>
                  </a:moveTo>
                  <a:cubicBezTo>
                    <a:pt x="1570529" y="1354138"/>
                    <a:pt x="1585810" y="1369774"/>
                    <a:pt x="1585810" y="1389063"/>
                  </a:cubicBezTo>
                  <a:cubicBezTo>
                    <a:pt x="1585810" y="1408352"/>
                    <a:pt x="1570529" y="1423988"/>
                    <a:pt x="1551678" y="1423988"/>
                  </a:cubicBezTo>
                  <a:cubicBezTo>
                    <a:pt x="1532826" y="1423988"/>
                    <a:pt x="1517546" y="1408352"/>
                    <a:pt x="1517546" y="1389063"/>
                  </a:cubicBezTo>
                  <a:cubicBezTo>
                    <a:pt x="1517546" y="1369774"/>
                    <a:pt x="1532826" y="1354138"/>
                    <a:pt x="1551678" y="1354138"/>
                  </a:cubicBezTo>
                  <a:close/>
                  <a:moveTo>
                    <a:pt x="1465953" y="1354138"/>
                  </a:moveTo>
                  <a:cubicBezTo>
                    <a:pt x="1484804" y="1354138"/>
                    <a:pt x="1500085" y="1369774"/>
                    <a:pt x="1500085" y="1389063"/>
                  </a:cubicBezTo>
                  <a:cubicBezTo>
                    <a:pt x="1500085" y="1408352"/>
                    <a:pt x="1484804" y="1423988"/>
                    <a:pt x="1465953" y="1423988"/>
                  </a:cubicBezTo>
                  <a:cubicBezTo>
                    <a:pt x="1447101" y="1423988"/>
                    <a:pt x="1431821" y="1408352"/>
                    <a:pt x="1431821" y="1389063"/>
                  </a:cubicBezTo>
                  <a:cubicBezTo>
                    <a:pt x="1431821" y="1369774"/>
                    <a:pt x="1447101" y="1354138"/>
                    <a:pt x="1465953" y="1354138"/>
                  </a:cubicBezTo>
                  <a:close/>
                  <a:moveTo>
                    <a:pt x="1380392" y="1354138"/>
                  </a:moveTo>
                  <a:cubicBezTo>
                    <a:pt x="1399243" y="1354138"/>
                    <a:pt x="1414522" y="1369774"/>
                    <a:pt x="1414522" y="1389063"/>
                  </a:cubicBezTo>
                  <a:cubicBezTo>
                    <a:pt x="1414522" y="1408352"/>
                    <a:pt x="1399243" y="1423988"/>
                    <a:pt x="1380392" y="1423988"/>
                  </a:cubicBezTo>
                  <a:cubicBezTo>
                    <a:pt x="1361539" y="1423988"/>
                    <a:pt x="1346258" y="1408352"/>
                    <a:pt x="1346258" y="1389063"/>
                  </a:cubicBezTo>
                  <a:cubicBezTo>
                    <a:pt x="1346258" y="1369774"/>
                    <a:pt x="1361539" y="1354138"/>
                    <a:pt x="1380392" y="1354138"/>
                  </a:cubicBezTo>
                  <a:close/>
                  <a:moveTo>
                    <a:pt x="9474877" y="1274763"/>
                  </a:moveTo>
                  <a:cubicBezTo>
                    <a:pt x="9493728" y="1274763"/>
                    <a:pt x="9509009" y="1290044"/>
                    <a:pt x="9509009" y="1308895"/>
                  </a:cubicBezTo>
                  <a:cubicBezTo>
                    <a:pt x="9509009" y="1327746"/>
                    <a:pt x="9493728" y="1343027"/>
                    <a:pt x="9474877" y="1343027"/>
                  </a:cubicBezTo>
                  <a:cubicBezTo>
                    <a:pt x="9456026" y="1343027"/>
                    <a:pt x="9440745" y="1327746"/>
                    <a:pt x="9440745" y="1308895"/>
                  </a:cubicBezTo>
                  <a:cubicBezTo>
                    <a:pt x="9440745" y="1290044"/>
                    <a:pt x="9456026" y="1274763"/>
                    <a:pt x="9474877" y="1274763"/>
                  </a:cubicBezTo>
                  <a:close/>
                  <a:moveTo>
                    <a:pt x="8801777" y="1274763"/>
                  </a:moveTo>
                  <a:cubicBezTo>
                    <a:pt x="8820628" y="1274763"/>
                    <a:pt x="8835909" y="1290044"/>
                    <a:pt x="8835909" y="1308895"/>
                  </a:cubicBezTo>
                  <a:cubicBezTo>
                    <a:pt x="8835909" y="1327746"/>
                    <a:pt x="8820628" y="1343027"/>
                    <a:pt x="8801777" y="1343027"/>
                  </a:cubicBezTo>
                  <a:cubicBezTo>
                    <a:pt x="8782926" y="1343027"/>
                    <a:pt x="8767645" y="1327746"/>
                    <a:pt x="8767645" y="1308895"/>
                  </a:cubicBezTo>
                  <a:cubicBezTo>
                    <a:pt x="8767645" y="1290044"/>
                    <a:pt x="8782926" y="1274763"/>
                    <a:pt x="8801777" y="1274763"/>
                  </a:cubicBezTo>
                  <a:close/>
                  <a:moveTo>
                    <a:pt x="8716052" y="1274763"/>
                  </a:moveTo>
                  <a:cubicBezTo>
                    <a:pt x="8734903" y="1274763"/>
                    <a:pt x="8750184" y="1290044"/>
                    <a:pt x="8750184" y="1308895"/>
                  </a:cubicBezTo>
                  <a:cubicBezTo>
                    <a:pt x="8750184" y="1327746"/>
                    <a:pt x="8734903" y="1343027"/>
                    <a:pt x="8716052" y="1343027"/>
                  </a:cubicBezTo>
                  <a:cubicBezTo>
                    <a:pt x="8697201" y="1343027"/>
                    <a:pt x="8681920" y="1327746"/>
                    <a:pt x="8681920" y="1308895"/>
                  </a:cubicBezTo>
                  <a:cubicBezTo>
                    <a:pt x="8681920" y="1290044"/>
                    <a:pt x="8697201" y="1274763"/>
                    <a:pt x="8716052" y="1274763"/>
                  </a:cubicBezTo>
                  <a:close/>
                  <a:moveTo>
                    <a:pt x="8630327" y="1274763"/>
                  </a:moveTo>
                  <a:cubicBezTo>
                    <a:pt x="8649178" y="1274763"/>
                    <a:pt x="8664459" y="1290044"/>
                    <a:pt x="8664459" y="1308895"/>
                  </a:cubicBezTo>
                  <a:cubicBezTo>
                    <a:pt x="8664459" y="1327746"/>
                    <a:pt x="8649178" y="1343027"/>
                    <a:pt x="8630327" y="1343027"/>
                  </a:cubicBezTo>
                  <a:cubicBezTo>
                    <a:pt x="8611476" y="1343027"/>
                    <a:pt x="8596195" y="1327746"/>
                    <a:pt x="8596195" y="1308895"/>
                  </a:cubicBezTo>
                  <a:cubicBezTo>
                    <a:pt x="8596195" y="1290044"/>
                    <a:pt x="8611476" y="1274763"/>
                    <a:pt x="8630327" y="1274763"/>
                  </a:cubicBezTo>
                  <a:close/>
                  <a:moveTo>
                    <a:pt x="8544602" y="1274763"/>
                  </a:moveTo>
                  <a:cubicBezTo>
                    <a:pt x="8563453" y="1274763"/>
                    <a:pt x="8578734" y="1290044"/>
                    <a:pt x="8578734" y="1308895"/>
                  </a:cubicBezTo>
                  <a:cubicBezTo>
                    <a:pt x="8578734" y="1327746"/>
                    <a:pt x="8563453" y="1343027"/>
                    <a:pt x="8544602" y="1343027"/>
                  </a:cubicBezTo>
                  <a:cubicBezTo>
                    <a:pt x="8525751" y="1343027"/>
                    <a:pt x="8510470" y="1327746"/>
                    <a:pt x="8510470" y="1308895"/>
                  </a:cubicBezTo>
                  <a:cubicBezTo>
                    <a:pt x="8510470" y="1290044"/>
                    <a:pt x="8525751" y="1274763"/>
                    <a:pt x="8544602" y="1274763"/>
                  </a:cubicBezTo>
                  <a:close/>
                  <a:moveTo>
                    <a:pt x="8465227" y="1274763"/>
                  </a:moveTo>
                  <a:cubicBezTo>
                    <a:pt x="8484078" y="1274763"/>
                    <a:pt x="8499359" y="1290044"/>
                    <a:pt x="8499359" y="1308895"/>
                  </a:cubicBezTo>
                  <a:cubicBezTo>
                    <a:pt x="8499359" y="1327746"/>
                    <a:pt x="8484078" y="1343027"/>
                    <a:pt x="8465227" y="1343027"/>
                  </a:cubicBezTo>
                  <a:cubicBezTo>
                    <a:pt x="8446376" y="1343027"/>
                    <a:pt x="8431095" y="1327746"/>
                    <a:pt x="8431095" y="1308895"/>
                  </a:cubicBezTo>
                  <a:cubicBezTo>
                    <a:pt x="8431095" y="1290044"/>
                    <a:pt x="8446376" y="1274763"/>
                    <a:pt x="8465227" y="1274763"/>
                  </a:cubicBezTo>
                  <a:close/>
                  <a:moveTo>
                    <a:pt x="8379502" y="1274763"/>
                  </a:moveTo>
                  <a:cubicBezTo>
                    <a:pt x="8398353" y="1274763"/>
                    <a:pt x="8413634" y="1290044"/>
                    <a:pt x="8413634" y="1308895"/>
                  </a:cubicBezTo>
                  <a:cubicBezTo>
                    <a:pt x="8413634" y="1327746"/>
                    <a:pt x="8398353" y="1343027"/>
                    <a:pt x="8379502" y="1343027"/>
                  </a:cubicBezTo>
                  <a:cubicBezTo>
                    <a:pt x="8360651" y="1343027"/>
                    <a:pt x="8345370" y="1327746"/>
                    <a:pt x="8345370" y="1308895"/>
                  </a:cubicBezTo>
                  <a:cubicBezTo>
                    <a:pt x="8345370" y="1290044"/>
                    <a:pt x="8360651" y="1274763"/>
                    <a:pt x="8379502" y="1274763"/>
                  </a:cubicBezTo>
                  <a:close/>
                  <a:moveTo>
                    <a:pt x="8293777" y="1274763"/>
                  </a:moveTo>
                  <a:cubicBezTo>
                    <a:pt x="8312628" y="1274763"/>
                    <a:pt x="8327909" y="1290044"/>
                    <a:pt x="8327909" y="1308895"/>
                  </a:cubicBezTo>
                  <a:cubicBezTo>
                    <a:pt x="8327909" y="1327746"/>
                    <a:pt x="8312628" y="1343027"/>
                    <a:pt x="8293777" y="1343027"/>
                  </a:cubicBezTo>
                  <a:cubicBezTo>
                    <a:pt x="8274926" y="1343027"/>
                    <a:pt x="8259645" y="1327746"/>
                    <a:pt x="8259645" y="1308895"/>
                  </a:cubicBezTo>
                  <a:cubicBezTo>
                    <a:pt x="8259645" y="1290044"/>
                    <a:pt x="8274926" y="1274763"/>
                    <a:pt x="8293777" y="1274763"/>
                  </a:cubicBezTo>
                  <a:close/>
                  <a:moveTo>
                    <a:pt x="8208052" y="1274763"/>
                  </a:moveTo>
                  <a:cubicBezTo>
                    <a:pt x="8226903" y="1274763"/>
                    <a:pt x="8242184" y="1290044"/>
                    <a:pt x="8242184" y="1308895"/>
                  </a:cubicBezTo>
                  <a:cubicBezTo>
                    <a:pt x="8242184" y="1327746"/>
                    <a:pt x="8226903" y="1343027"/>
                    <a:pt x="8208052" y="1343027"/>
                  </a:cubicBezTo>
                  <a:cubicBezTo>
                    <a:pt x="8189201" y="1343027"/>
                    <a:pt x="8173920" y="1327746"/>
                    <a:pt x="8173920" y="1308895"/>
                  </a:cubicBezTo>
                  <a:cubicBezTo>
                    <a:pt x="8173920" y="1290044"/>
                    <a:pt x="8189201" y="1274763"/>
                    <a:pt x="8208052" y="1274763"/>
                  </a:cubicBezTo>
                  <a:close/>
                  <a:moveTo>
                    <a:pt x="8125502" y="1274763"/>
                  </a:moveTo>
                  <a:cubicBezTo>
                    <a:pt x="8146106" y="1274763"/>
                    <a:pt x="8162809" y="1290044"/>
                    <a:pt x="8162809" y="1308895"/>
                  </a:cubicBezTo>
                  <a:cubicBezTo>
                    <a:pt x="8162809" y="1327746"/>
                    <a:pt x="8146106" y="1343027"/>
                    <a:pt x="8125502" y="1343027"/>
                  </a:cubicBezTo>
                  <a:cubicBezTo>
                    <a:pt x="8104898" y="1343027"/>
                    <a:pt x="8088195" y="1327746"/>
                    <a:pt x="8088195" y="1308895"/>
                  </a:cubicBezTo>
                  <a:cubicBezTo>
                    <a:pt x="8088195" y="1290044"/>
                    <a:pt x="8104898" y="1274763"/>
                    <a:pt x="8125502" y="1274763"/>
                  </a:cubicBezTo>
                  <a:close/>
                  <a:moveTo>
                    <a:pt x="8042952" y="1274763"/>
                  </a:moveTo>
                  <a:cubicBezTo>
                    <a:pt x="8061803" y="1274763"/>
                    <a:pt x="8077084" y="1290044"/>
                    <a:pt x="8077084" y="1308895"/>
                  </a:cubicBezTo>
                  <a:cubicBezTo>
                    <a:pt x="8077084" y="1327746"/>
                    <a:pt x="8061803" y="1343027"/>
                    <a:pt x="8042952" y="1343027"/>
                  </a:cubicBezTo>
                  <a:cubicBezTo>
                    <a:pt x="8024101" y="1343027"/>
                    <a:pt x="8008820" y="1327746"/>
                    <a:pt x="8008820" y="1308895"/>
                  </a:cubicBezTo>
                  <a:cubicBezTo>
                    <a:pt x="8008820" y="1290044"/>
                    <a:pt x="8024101" y="1274763"/>
                    <a:pt x="8042952" y="1274763"/>
                  </a:cubicBezTo>
                  <a:close/>
                  <a:moveTo>
                    <a:pt x="7957227" y="1274763"/>
                  </a:moveTo>
                  <a:cubicBezTo>
                    <a:pt x="7976078" y="1274763"/>
                    <a:pt x="7991359" y="1290044"/>
                    <a:pt x="7991359" y="1308895"/>
                  </a:cubicBezTo>
                  <a:cubicBezTo>
                    <a:pt x="7991359" y="1327746"/>
                    <a:pt x="7976078" y="1343027"/>
                    <a:pt x="7957227" y="1343027"/>
                  </a:cubicBezTo>
                  <a:cubicBezTo>
                    <a:pt x="7938376" y="1343027"/>
                    <a:pt x="7923095" y="1327746"/>
                    <a:pt x="7923095" y="1308895"/>
                  </a:cubicBezTo>
                  <a:cubicBezTo>
                    <a:pt x="7923095" y="1290044"/>
                    <a:pt x="7938376" y="1274763"/>
                    <a:pt x="7957227" y="1274763"/>
                  </a:cubicBezTo>
                  <a:close/>
                  <a:moveTo>
                    <a:pt x="7871502" y="1274763"/>
                  </a:moveTo>
                  <a:cubicBezTo>
                    <a:pt x="7890353" y="1274763"/>
                    <a:pt x="7905634" y="1290044"/>
                    <a:pt x="7905634" y="1308895"/>
                  </a:cubicBezTo>
                  <a:cubicBezTo>
                    <a:pt x="7905634" y="1327746"/>
                    <a:pt x="7890353" y="1343027"/>
                    <a:pt x="7871502" y="1343027"/>
                  </a:cubicBezTo>
                  <a:cubicBezTo>
                    <a:pt x="7852651" y="1343027"/>
                    <a:pt x="7837370" y="1327746"/>
                    <a:pt x="7837370" y="1308895"/>
                  </a:cubicBezTo>
                  <a:cubicBezTo>
                    <a:pt x="7837370" y="1290044"/>
                    <a:pt x="7852651" y="1274763"/>
                    <a:pt x="7871502" y="1274763"/>
                  </a:cubicBezTo>
                  <a:close/>
                  <a:moveTo>
                    <a:pt x="7785777" y="1274763"/>
                  </a:moveTo>
                  <a:cubicBezTo>
                    <a:pt x="7804628" y="1274763"/>
                    <a:pt x="7819909" y="1290044"/>
                    <a:pt x="7819909" y="1308895"/>
                  </a:cubicBezTo>
                  <a:cubicBezTo>
                    <a:pt x="7819909" y="1327746"/>
                    <a:pt x="7804628" y="1343027"/>
                    <a:pt x="7785777" y="1343027"/>
                  </a:cubicBezTo>
                  <a:cubicBezTo>
                    <a:pt x="7766926" y="1343027"/>
                    <a:pt x="7751645" y="1327746"/>
                    <a:pt x="7751645" y="1308895"/>
                  </a:cubicBezTo>
                  <a:cubicBezTo>
                    <a:pt x="7751645" y="1290044"/>
                    <a:pt x="7766926" y="1274763"/>
                    <a:pt x="7785777" y="1274763"/>
                  </a:cubicBezTo>
                  <a:close/>
                  <a:moveTo>
                    <a:pt x="7706402" y="1274763"/>
                  </a:moveTo>
                  <a:cubicBezTo>
                    <a:pt x="7725253" y="1274763"/>
                    <a:pt x="7740534" y="1290044"/>
                    <a:pt x="7740534" y="1308895"/>
                  </a:cubicBezTo>
                  <a:cubicBezTo>
                    <a:pt x="7740534" y="1327746"/>
                    <a:pt x="7725253" y="1343027"/>
                    <a:pt x="7706402" y="1343027"/>
                  </a:cubicBezTo>
                  <a:cubicBezTo>
                    <a:pt x="7687551" y="1343027"/>
                    <a:pt x="7672270" y="1327746"/>
                    <a:pt x="7672270" y="1308895"/>
                  </a:cubicBezTo>
                  <a:cubicBezTo>
                    <a:pt x="7672270" y="1290044"/>
                    <a:pt x="7687551" y="1274763"/>
                    <a:pt x="7706402" y="1274763"/>
                  </a:cubicBezTo>
                  <a:close/>
                  <a:moveTo>
                    <a:pt x="7620677" y="1274763"/>
                  </a:moveTo>
                  <a:cubicBezTo>
                    <a:pt x="7639528" y="1274763"/>
                    <a:pt x="7654809" y="1290044"/>
                    <a:pt x="7654809" y="1308895"/>
                  </a:cubicBezTo>
                  <a:cubicBezTo>
                    <a:pt x="7654809" y="1327746"/>
                    <a:pt x="7639528" y="1343027"/>
                    <a:pt x="7620677" y="1343027"/>
                  </a:cubicBezTo>
                  <a:cubicBezTo>
                    <a:pt x="7601826" y="1343027"/>
                    <a:pt x="7586545" y="1327746"/>
                    <a:pt x="7586545" y="1308895"/>
                  </a:cubicBezTo>
                  <a:cubicBezTo>
                    <a:pt x="7586545" y="1290044"/>
                    <a:pt x="7601826" y="1274763"/>
                    <a:pt x="7620677" y="1274763"/>
                  </a:cubicBezTo>
                  <a:close/>
                  <a:moveTo>
                    <a:pt x="7534952" y="1274763"/>
                  </a:moveTo>
                  <a:cubicBezTo>
                    <a:pt x="7553803" y="1274763"/>
                    <a:pt x="7569084" y="1290044"/>
                    <a:pt x="7569084" y="1308895"/>
                  </a:cubicBezTo>
                  <a:cubicBezTo>
                    <a:pt x="7569084" y="1327746"/>
                    <a:pt x="7553803" y="1343027"/>
                    <a:pt x="7534952" y="1343027"/>
                  </a:cubicBezTo>
                  <a:cubicBezTo>
                    <a:pt x="7516101" y="1343027"/>
                    <a:pt x="7500820" y="1327746"/>
                    <a:pt x="7500820" y="1308895"/>
                  </a:cubicBezTo>
                  <a:cubicBezTo>
                    <a:pt x="7500820" y="1290044"/>
                    <a:pt x="7516101" y="1274763"/>
                    <a:pt x="7534952" y="1274763"/>
                  </a:cubicBezTo>
                  <a:close/>
                  <a:moveTo>
                    <a:pt x="7449227" y="1274763"/>
                  </a:moveTo>
                  <a:cubicBezTo>
                    <a:pt x="7468078" y="1274763"/>
                    <a:pt x="7483359" y="1290044"/>
                    <a:pt x="7483359" y="1308895"/>
                  </a:cubicBezTo>
                  <a:cubicBezTo>
                    <a:pt x="7483359" y="1327746"/>
                    <a:pt x="7468078" y="1343027"/>
                    <a:pt x="7449227" y="1343027"/>
                  </a:cubicBezTo>
                  <a:cubicBezTo>
                    <a:pt x="7430376" y="1343027"/>
                    <a:pt x="7415095" y="1327746"/>
                    <a:pt x="7415095" y="1308895"/>
                  </a:cubicBezTo>
                  <a:cubicBezTo>
                    <a:pt x="7415095" y="1290044"/>
                    <a:pt x="7430376" y="1274763"/>
                    <a:pt x="7449227" y="1274763"/>
                  </a:cubicBezTo>
                  <a:close/>
                  <a:moveTo>
                    <a:pt x="7366677" y="1274763"/>
                  </a:moveTo>
                  <a:cubicBezTo>
                    <a:pt x="7387281" y="1274763"/>
                    <a:pt x="7403984" y="1290044"/>
                    <a:pt x="7403984" y="1308895"/>
                  </a:cubicBezTo>
                  <a:cubicBezTo>
                    <a:pt x="7403984" y="1327746"/>
                    <a:pt x="7387281" y="1343027"/>
                    <a:pt x="7366677" y="1343027"/>
                  </a:cubicBezTo>
                  <a:cubicBezTo>
                    <a:pt x="7346073" y="1343027"/>
                    <a:pt x="7329370" y="1327746"/>
                    <a:pt x="7329370" y="1308895"/>
                  </a:cubicBezTo>
                  <a:cubicBezTo>
                    <a:pt x="7329370" y="1290044"/>
                    <a:pt x="7346073" y="1274763"/>
                    <a:pt x="7366677" y="1274763"/>
                  </a:cubicBezTo>
                  <a:close/>
                  <a:moveTo>
                    <a:pt x="7284127" y="1274763"/>
                  </a:moveTo>
                  <a:cubicBezTo>
                    <a:pt x="7302978" y="1274763"/>
                    <a:pt x="7318259" y="1290044"/>
                    <a:pt x="7318259" y="1308895"/>
                  </a:cubicBezTo>
                  <a:cubicBezTo>
                    <a:pt x="7318259" y="1327746"/>
                    <a:pt x="7302978" y="1343027"/>
                    <a:pt x="7284127" y="1343027"/>
                  </a:cubicBezTo>
                  <a:cubicBezTo>
                    <a:pt x="7265276" y="1343027"/>
                    <a:pt x="7249995" y="1327746"/>
                    <a:pt x="7249995" y="1308895"/>
                  </a:cubicBezTo>
                  <a:cubicBezTo>
                    <a:pt x="7249995" y="1290044"/>
                    <a:pt x="7265276" y="1274763"/>
                    <a:pt x="7284127" y="1274763"/>
                  </a:cubicBezTo>
                  <a:close/>
                  <a:moveTo>
                    <a:pt x="7198402" y="1274763"/>
                  </a:moveTo>
                  <a:cubicBezTo>
                    <a:pt x="7217253" y="1274763"/>
                    <a:pt x="7232534" y="1290044"/>
                    <a:pt x="7232534" y="1308895"/>
                  </a:cubicBezTo>
                  <a:cubicBezTo>
                    <a:pt x="7232534" y="1327746"/>
                    <a:pt x="7217253" y="1343027"/>
                    <a:pt x="7198402" y="1343027"/>
                  </a:cubicBezTo>
                  <a:cubicBezTo>
                    <a:pt x="7179551" y="1343027"/>
                    <a:pt x="7164270" y="1327746"/>
                    <a:pt x="7164270" y="1308895"/>
                  </a:cubicBezTo>
                  <a:cubicBezTo>
                    <a:pt x="7164270" y="1290044"/>
                    <a:pt x="7179551" y="1274763"/>
                    <a:pt x="7198402" y="1274763"/>
                  </a:cubicBezTo>
                  <a:close/>
                  <a:moveTo>
                    <a:pt x="7112677" y="1274763"/>
                  </a:moveTo>
                  <a:cubicBezTo>
                    <a:pt x="7131528" y="1274763"/>
                    <a:pt x="7146809" y="1290044"/>
                    <a:pt x="7146809" y="1308895"/>
                  </a:cubicBezTo>
                  <a:cubicBezTo>
                    <a:pt x="7146809" y="1327746"/>
                    <a:pt x="7131528" y="1343027"/>
                    <a:pt x="7112677" y="1343027"/>
                  </a:cubicBezTo>
                  <a:cubicBezTo>
                    <a:pt x="7093826" y="1343027"/>
                    <a:pt x="7078545" y="1327746"/>
                    <a:pt x="7078545" y="1308895"/>
                  </a:cubicBezTo>
                  <a:cubicBezTo>
                    <a:pt x="7078545" y="1290044"/>
                    <a:pt x="7093826" y="1274763"/>
                    <a:pt x="7112677" y="1274763"/>
                  </a:cubicBezTo>
                  <a:close/>
                  <a:moveTo>
                    <a:pt x="7027745" y="1274763"/>
                  </a:moveTo>
                  <a:cubicBezTo>
                    <a:pt x="7047034" y="1274763"/>
                    <a:pt x="7062670" y="1290044"/>
                    <a:pt x="7062670" y="1308895"/>
                  </a:cubicBezTo>
                  <a:cubicBezTo>
                    <a:pt x="7062670" y="1327746"/>
                    <a:pt x="7047034" y="1343027"/>
                    <a:pt x="7027745" y="1343027"/>
                  </a:cubicBezTo>
                  <a:cubicBezTo>
                    <a:pt x="7008456" y="1343027"/>
                    <a:pt x="6992820" y="1327746"/>
                    <a:pt x="6992820" y="1308895"/>
                  </a:cubicBezTo>
                  <a:cubicBezTo>
                    <a:pt x="6992820" y="1290044"/>
                    <a:pt x="7008456" y="1274763"/>
                    <a:pt x="7027745" y="1274763"/>
                  </a:cubicBezTo>
                  <a:close/>
                  <a:moveTo>
                    <a:pt x="6947577" y="1274763"/>
                  </a:moveTo>
                  <a:cubicBezTo>
                    <a:pt x="6966428" y="1274763"/>
                    <a:pt x="6981709" y="1290044"/>
                    <a:pt x="6981709" y="1308895"/>
                  </a:cubicBezTo>
                  <a:cubicBezTo>
                    <a:pt x="6981709" y="1327746"/>
                    <a:pt x="6966428" y="1343027"/>
                    <a:pt x="6947577" y="1343027"/>
                  </a:cubicBezTo>
                  <a:cubicBezTo>
                    <a:pt x="6928726" y="1343027"/>
                    <a:pt x="6913445" y="1327746"/>
                    <a:pt x="6913445" y="1308895"/>
                  </a:cubicBezTo>
                  <a:cubicBezTo>
                    <a:pt x="6913445" y="1290044"/>
                    <a:pt x="6928726" y="1274763"/>
                    <a:pt x="6947577" y="1274763"/>
                  </a:cubicBezTo>
                  <a:close/>
                  <a:moveTo>
                    <a:pt x="6861852" y="1274763"/>
                  </a:moveTo>
                  <a:cubicBezTo>
                    <a:pt x="6880703" y="1274763"/>
                    <a:pt x="6895984" y="1290044"/>
                    <a:pt x="6895984" y="1308895"/>
                  </a:cubicBezTo>
                  <a:cubicBezTo>
                    <a:pt x="6895984" y="1327746"/>
                    <a:pt x="6880703" y="1343027"/>
                    <a:pt x="6861852" y="1343027"/>
                  </a:cubicBezTo>
                  <a:cubicBezTo>
                    <a:pt x="6843001" y="1343027"/>
                    <a:pt x="6827720" y="1327746"/>
                    <a:pt x="6827720" y="1308895"/>
                  </a:cubicBezTo>
                  <a:cubicBezTo>
                    <a:pt x="6827720" y="1290044"/>
                    <a:pt x="6843001" y="1274763"/>
                    <a:pt x="6861852" y="1274763"/>
                  </a:cubicBezTo>
                  <a:close/>
                  <a:moveTo>
                    <a:pt x="6776127" y="1274763"/>
                  </a:moveTo>
                  <a:cubicBezTo>
                    <a:pt x="6794978" y="1274763"/>
                    <a:pt x="6810259" y="1290044"/>
                    <a:pt x="6810259" y="1308895"/>
                  </a:cubicBezTo>
                  <a:cubicBezTo>
                    <a:pt x="6810259" y="1327746"/>
                    <a:pt x="6794978" y="1343027"/>
                    <a:pt x="6776127" y="1343027"/>
                  </a:cubicBezTo>
                  <a:cubicBezTo>
                    <a:pt x="6757276" y="1343027"/>
                    <a:pt x="6741995" y="1327746"/>
                    <a:pt x="6741995" y="1308895"/>
                  </a:cubicBezTo>
                  <a:cubicBezTo>
                    <a:pt x="6741995" y="1290044"/>
                    <a:pt x="6757276" y="1274763"/>
                    <a:pt x="6776127" y="1274763"/>
                  </a:cubicBezTo>
                  <a:close/>
                  <a:moveTo>
                    <a:pt x="6691195" y="1274763"/>
                  </a:moveTo>
                  <a:cubicBezTo>
                    <a:pt x="6710484" y="1274763"/>
                    <a:pt x="6726120" y="1290044"/>
                    <a:pt x="6726120" y="1308895"/>
                  </a:cubicBezTo>
                  <a:cubicBezTo>
                    <a:pt x="6726120" y="1327746"/>
                    <a:pt x="6710484" y="1343027"/>
                    <a:pt x="6691195" y="1343027"/>
                  </a:cubicBezTo>
                  <a:cubicBezTo>
                    <a:pt x="6671906" y="1343027"/>
                    <a:pt x="6656270" y="1327746"/>
                    <a:pt x="6656270" y="1308895"/>
                  </a:cubicBezTo>
                  <a:cubicBezTo>
                    <a:pt x="6656270" y="1290044"/>
                    <a:pt x="6671906" y="1274763"/>
                    <a:pt x="6691195" y="1274763"/>
                  </a:cubicBezTo>
                  <a:close/>
                  <a:moveTo>
                    <a:pt x="6607852" y="1274763"/>
                  </a:moveTo>
                  <a:cubicBezTo>
                    <a:pt x="6628456" y="1274763"/>
                    <a:pt x="6645159" y="1290044"/>
                    <a:pt x="6645159" y="1308895"/>
                  </a:cubicBezTo>
                  <a:cubicBezTo>
                    <a:pt x="6645159" y="1327746"/>
                    <a:pt x="6628456" y="1343027"/>
                    <a:pt x="6607852" y="1343027"/>
                  </a:cubicBezTo>
                  <a:cubicBezTo>
                    <a:pt x="6587248" y="1343027"/>
                    <a:pt x="6570545" y="1327746"/>
                    <a:pt x="6570545" y="1308895"/>
                  </a:cubicBezTo>
                  <a:cubicBezTo>
                    <a:pt x="6570545" y="1290044"/>
                    <a:pt x="6587248" y="1274763"/>
                    <a:pt x="6607852" y="1274763"/>
                  </a:cubicBezTo>
                  <a:close/>
                  <a:moveTo>
                    <a:pt x="6525302" y="1274763"/>
                  </a:moveTo>
                  <a:cubicBezTo>
                    <a:pt x="6544153" y="1274763"/>
                    <a:pt x="6559434" y="1290044"/>
                    <a:pt x="6559434" y="1308895"/>
                  </a:cubicBezTo>
                  <a:cubicBezTo>
                    <a:pt x="6559434" y="1327746"/>
                    <a:pt x="6544153" y="1343027"/>
                    <a:pt x="6525302" y="1343027"/>
                  </a:cubicBezTo>
                  <a:cubicBezTo>
                    <a:pt x="6506451" y="1343027"/>
                    <a:pt x="6491170" y="1327746"/>
                    <a:pt x="6491170" y="1308895"/>
                  </a:cubicBezTo>
                  <a:cubicBezTo>
                    <a:pt x="6491170" y="1290044"/>
                    <a:pt x="6506451" y="1274763"/>
                    <a:pt x="6525302" y="1274763"/>
                  </a:cubicBezTo>
                  <a:close/>
                  <a:moveTo>
                    <a:pt x="6439577" y="1274763"/>
                  </a:moveTo>
                  <a:cubicBezTo>
                    <a:pt x="6458428" y="1274763"/>
                    <a:pt x="6473709" y="1290044"/>
                    <a:pt x="6473709" y="1308895"/>
                  </a:cubicBezTo>
                  <a:cubicBezTo>
                    <a:pt x="6473709" y="1327746"/>
                    <a:pt x="6458428" y="1343027"/>
                    <a:pt x="6439577" y="1343027"/>
                  </a:cubicBezTo>
                  <a:cubicBezTo>
                    <a:pt x="6420726" y="1343027"/>
                    <a:pt x="6405445" y="1327746"/>
                    <a:pt x="6405445" y="1308895"/>
                  </a:cubicBezTo>
                  <a:cubicBezTo>
                    <a:pt x="6405445" y="1290044"/>
                    <a:pt x="6420726" y="1274763"/>
                    <a:pt x="6439577" y="1274763"/>
                  </a:cubicBezTo>
                  <a:close/>
                  <a:moveTo>
                    <a:pt x="6353852" y="1274763"/>
                  </a:moveTo>
                  <a:cubicBezTo>
                    <a:pt x="6372703" y="1274763"/>
                    <a:pt x="6387984" y="1290044"/>
                    <a:pt x="6387984" y="1308895"/>
                  </a:cubicBezTo>
                  <a:cubicBezTo>
                    <a:pt x="6387984" y="1327746"/>
                    <a:pt x="6372703" y="1343027"/>
                    <a:pt x="6353852" y="1343027"/>
                  </a:cubicBezTo>
                  <a:cubicBezTo>
                    <a:pt x="6335001" y="1343027"/>
                    <a:pt x="6319720" y="1327746"/>
                    <a:pt x="6319720" y="1308895"/>
                  </a:cubicBezTo>
                  <a:cubicBezTo>
                    <a:pt x="6319720" y="1290044"/>
                    <a:pt x="6335001" y="1274763"/>
                    <a:pt x="6353852" y="1274763"/>
                  </a:cubicBezTo>
                  <a:close/>
                  <a:moveTo>
                    <a:pt x="6268920" y="1274763"/>
                  </a:moveTo>
                  <a:cubicBezTo>
                    <a:pt x="6288209" y="1274763"/>
                    <a:pt x="6303845" y="1290044"/>
                    <a:pt x="6303845" y="1308895"/>
                  </a:cubicBezTo>
                  <a:cubicBezTo>
                    <a:pt x="6303845" y="1327746"/>
                    <a:pt x="6288209" y="1343027"/>
                    <a:pt x="6268920" y="1343027"/>
                  </a:cubicBezTo>
                  <a:cubicBezTo>
                    <a:pt x="6249631" y="1343027"/>
                    <a:pt x="6233995" y="1327746"/>
                    <a:pt x="6233995" y="1308895"/>
                  </a:cubicBezTo>
                  <a:cubicBezTo>
                    <a:pt x="6233995" y="1290044"/>
                    <a:pt x="6249631" y="1274763"/>
                    <a:pt x="6268920" y="1274763"/>
                  </a:cubicBezTo>
                  <a:close/>
                  <a:moveTo>
                    <a:pt x="6188752" y="1274763"/>
                  </a:moveTo>
                  <a:cubicBezTo>
                    <a:pt x="6207603" y="1274763"/>
                    <a:pt x="6222884" y="1290044"/>
                    <a:pt x="6222884" y="1308895"/>
                  </a:cubicBezTo>
                  <a:cubicBezTo>
                    <a:pt x="6222884" y="1327746"/>
                    <a:pt x="6207603" y="1343027"/>
                    <a:pt x="6188752" y="1343027"/>
                  </a:cubicBezTo>
                  <a:cubicBezTo>
                    <a:pt x="6169901" y="1343027"/>
                    <a:pt x="6154620" y="1327746"/>
                    <a:pt x="6154620" y="1308895"/>
                  </a:cubicBezTo>
                  <a:cubicBezTo>
                    <a:pt x="6154620" y="1290044"/>
                    <a:pt x="6169901" y="1274763"/>
                    <a:pt x="6188752" y="1274763"/>
                  </a:cubicBezTo>
                  <a:close/>
                  <a:moveTo>
                    <a:pt x="6103027" y="1274763"/>
                  </a:moveTo>
                  <a:cubicBezTo>
                    <a:pt x="6121878" y="1274763"/>
                    <a:pt x="6137159" y="1290044"/>
                    <a:pt x="6137159" y="1308895"/>
                  </a:cubicBezTo>
                  <a:cubicBezTo>
                    <a:pt x="6137159" y="1327746"/>
                    <a:pt x="6121878" y="1343027"/>
                    <a:pt x="6103027" y="1343027"/>
                  </a:cubicBezTo>
                  <a:cubicBezTo>
                    <a:pt x="6084176" y="1343027"/>
                    <a:pt x="6068895" y="1327746"/>
                    <a:pt x="6068895" y="1308895"/>
                  </a:cubicBezTo>
                  <a:cubicBezTo>
                    <a:pt x="6068895" y="1290044"/>
                    <a:pt x="6084176" y="1274763"/>
                    <a:pt x="6103027" y="1274763"/>
                  </a:cubicBezTo>
                  <a:close/>
                  <a:moveTo>
                    <a:pt x="6017302" y="1274763"/>
                  </a:moveTo>
                  <a:cubicBezTo>
                    <a:pt x="6036153" y="1274763"/>
                    <a:pt x="6051434" y="1290044"/>
                    <a:pt x="6051434" y="1308895"/>
                  </a:cubicBezTo>
                  <a:cubicBezTo>
                    <a:pt x="6051434" y="1327746"/>
                    <a:pt x="6036153" y="1343027"/>
                    <a:pt x="6017302" y="1343027"/>
                  </a:cubicBezTo>
                  <a:cubicBezTo>
                    <a:pt x="5998451" y="1343027"/>
                    <a:pt x="5983170" y="1327746"/>
                    <a:pt x="5983170" y="1308895"/>
                  </a:cubicBezTo>
                  <a:cubicBezTo>
                    <a:pt x="5983170" y="1290044"/>
                    <a:pt x="5998451" y="1274763"/>
                    <a:pt x="6017302" y="1274763"/>
                  </a:cubicBezTo>
                  <a:close/>
                  <a:moveTo>
                    <a:pt x="5932370" y="1274763"/>
                  </a:moveTo>
                  <a:cubicBezTo>
                    <a:pt x="5951659" y="1274763"/>
                    <a:pt x="5967295" y="1290044"/>
                    <a:pt x="5967295" y="1308895"/>
                  </a:cubicBezTo>
                  <a:cubicBezTo>
                    <a:pt x="5967295" y="1327746"/>
                    <a:pt x="5951659" y="1343027"/>
                    <a:pt x="5932370" y="1343027"/>
                  </a:cubicBezTo>
                  <a:cubicBezTo>
                    <a:pt x="5913081" y="1343027"/>
                    <a:pt x="5897445" y="1327746"/>
                    <a:pt x="5897445" y="1308895"/>
                  </a:cubicBezTo>
                  <a:cubicBezTo>
                    <a:pt x="5897445" y="1290044"/>
                    <a:pt x="5913081" y="1274763"/>
                    <a:pt x="5932370" y="1274763"/>
                  </a:cubicBezTo>
                  <a:close/>
                  <a:moveTo>
                    <a:pt x="5766477" y="1274763"/>
                  </a:moveTo>
                  <a:cubicBezTo>
                    <a:pt x="5785328" y="1274763"/>
                    <a:pt x="5800609" y="1290044"/>
                    <a:pt x="5800609" y="1308895"/>
                  </a:cubicBezTo>
                  <a:cubicBezTo>
                    <a:pt x="5800609" y="1327746"/>
                    <a:pt x="5785328" y="1343027"/>
                    <a:pt x="5766477" y="1343027"/>
                  </a:cubicBezTo>
                  <a:cubicBezTo>
                    <a:pt x="5747626" y="1343027"/>
                    <a:pt x="5732345" y="1327746"/>
                    <a:pt x="5732345" y="1308895"/>
                  </a:cubicBezTo>
                  <a:cubicBezTo>
                    <a:pt x="5732345" y="1290044"/>
                    <a:pt x="5747626" y="1274763"/>
                    <a:pt x="5766477" y="1274763"/>
                  </a:cubicBezTo>
                  <a:close/>
                  <a:moveTo>
                    <a:pt x="5680752" y="1274763"/>
                  </a:moveTo>
                  <a:cubicBezTo>
                    <a:pt x="5699603" y="1274763"/>
                    <a:pt x="5714884" y="1290044"/>
                    <a:pt x="5714884" y="1308895"/>
                  </a:cubicBezTo>
                  <a:cubicBezTo>
                    <a:pt x="5714884" y="1327746"/>
                    <a:pt x="5699603" y="1343027"/>
                    <a:pt x="5680752" y="1343027"/>
                  </a:cubicBezTo>
                  <a:cubicBezTo>
                    <a:pt x="5661901" y="1343027"/>
                    <a:pt x="5646620" y="1327746"/>
                    <a:pt x="5646620" y="1308895"/>
                  </a:cubicBezTo>
                  <a:cubicBezTo>
                    <a:pt x="5646620" y="1290044"/>
                    <a:pt x="5661901" y="1274763"/>
                    <a:pt x="5680752" y="1274763"/>
                  </a:cubicBezTo>
                  <a:close/>
                  <a:moveTo>
                    <a:pt x="5595820" y="1274763"/>
                  </a:moveTo>
                  <a:cubicBezTo>
                    <a:pt x="5615109" y="1274763"/>
                    <a:pt x="5630745" y="1290044"/>
                    <a:pt x="5630745" y="1308895"/>
                  </a:cubicBezTo>
                  <a:cubicBezTo>
                    <a:pt x="5630745" y="1327746"/>
                    <a:pt x="5615109" y="1343027"/>
                    <a:pt x="5595820" y="1343027"/>
                  </a:cubicBezTo>
                  <a:cubicBezTo>
                    <a:pt x="5576531" y="1343027"/>
                    <a:pt x="5560895" y="1327746"/>
                    <a:pt x="5560895" y="1308895"/>
                  </a:cubicBezTo>
                  <a:cubicBezTo>
                    <a:pt x="5560895" y="1290044"/>
                    <a:pt x="5576531" y="1274763"/>
                    <a:pt x="5595820" y="1274763"/>
                  </a:cubicBezTo>
                  <a:close/>
                  <a:moveTo>
                    <a:pt x="5344202" y="1274763"/>
                  </a:moveTo>
                  <a:cubicBezTo>
                    <a:pt x="5363053" y="1274763"/>
                    <a:pt x="5378334" y="1290044"/>
                    <a:pt x="5378334" y="1308895"/>
                  </a:cubicBezTo>
                  <a:cubicBezTo>
                    <a:pt x="5378334" y="1327746"/>
                    <a:pt x="5363053" y="1343027"/>
                    <a:pt x="5344202" y="1343027"/>
                  </a:cubicBezTo>
                  <a:cubicBezTo>
                    <a:pt x="5325351" y="1343027"/>
                    <a:pt x="5310070" y="1327746"/>
                    <a:pt x="5310070" y="1308895"/>
                  </a:cubicBezTo>
                  <a:cubicBezTo>
                    <a:pt x="5310070" y="1290044"/>
                    <a:pt x="5325351" y="1274763"/>
                    <a:pt x="5344202" y="1274763"/>
                  </a:cubicBezTo>
                  <a:close/>
                  <a:moveTo>
                    <a:pt x="5258477" y="1274763"/>
                  </a:moveTo>
                  <a:cubicBezTo>
                    <a:pt x="5277328" y="1274763"/>
                    <a:pt x="5292609" y="1290044"/>
                    <a:pt x="5292609" y="1308895"/>
                  </a:cubicBezTo>
                  <a:cubicBezTo>
                    <a:pt x="5292609" y="1327746"/>
                    <a:pt x="5277328" y="1343027"/>
                    <a:pt x="5258477" y="1343027"/>
                  </a:cubicBezTo>
                  <a:cubicBezTo>
                    <a:pt x="5239626" y="1343027"/>
                    <a:pt x="5224345" y="1327746"/>
                    <a:pt x="5224345" y="1308895"/>
                  </a:cubicBezTo>
                  <a:cubicBezTo>
                    <a:pt x="5224345" y="1290044"/>
                    <a:pt x="5239626" y="1274763"/>
                    <a:pt x="5258477" y="1274763"/>
                  </a:cubicBezTo>
                  <a:close/>
                  <a:moveTo>
                    <a:pt x="5173545" y="1274763"/>
                  </a:moveTo>
                  <a:cubicBezTo>
                    <a:pt x="5192834" y="1274763"/>
                    <a:pt x="5208470" y="1290044"/>
                    <a:pt x="5208470" y="1308895"/>
                  </a:cubicBezTo>
                  <a:cubicBezTo>
                    <a:pt x="5208470" y="1327746"/>
                    <a:pt x="5192834" y="1343027"/>
                    <a:pt x="5173545" y="1343027"/>
                  </a:cubicBezTo>
                  <a:cubicBezTo>
                    <a:pt x="5154256" y="1343027"/>
                    <a:pt x="5138620" y="1327746"/>
                    <a:pt x="5138620" y="1308895"/>
                  </a:cubicBezTo>
                  <a:cubicBezTo>
                    <a:pt x="5138620" y="1290044"/>
                    <a:pt x="5154256" y="1274763"/>
                    <a:pt x="5173545" y="1274763"/>
                  </a:cubicBezTo>
                  <a:close/>
                  <a:moveTo>
                    <a:pt x="3234414" y="1274763"/>
                  </a:moveTo>
                  <a:cubicBezTo>
                    <a:pt x="3253265" y="1274763"/>
                    <a:pt x="3268546" y="1290044"/>
                    <a:pt x="3268546" y="1308895"/>
                  </a:cubicBezTo>
                  <a:cubicBezTo>
                    <a:pt x="3268546" y="1327746"/>
                    <a:pt x="3253265" y="1343027"/>
                    <a:pt x="3234414" y="1343027"/>
                  </a:cubicBezTo>
                  <a:cubicBezTo>
                    <a:pt x="3215563" y="1343027"/>
                    <a:pt x="3200282" y="1327746"/>
                    <a:pt x="3200282" y="1308895"/>
                  </a:cubicBezTo>
                  <a:cubicBezTo>
                    <a:pt x="3200282" y="1290044"/>
                    <a:pt x="3215563" y="1274763"/>
                    <a:pt x="3234414" y="1274763"/>
                  </a:cubicBezTo>
                  <a:close/>
                  <a:moveTo>
                    <a:pt x="3068520" y="1274763"/>
                  </a:moveTo>
                  <a:cubicBezTo>
                    <a:pt x="3087809" y="1274763"/>
                    <a:pt x="3103445" y="1290044"/>
                    <a:pt x="3103445" y="1308895"/>
                  </a:cubicBezTo>
                  <a:cubicBezTo>
                    <a:pt x="3103445" y="1327746"/>
                    <a:pt x="3087809" y="1343027"/>
                    <a:pt x="3068520" y="1343027"/>
                  </a:cubicBezTo>
                  <a:cubicBezTo>
                    <a:pt x="3049231" y="1343027"/>
                    <a:pt x="3033595" y="1327746"/>
                    <a:pt x="3033595" y="1308895"/>
                  </a:cubicBezTo>
                  <a:cubicBezTo>
                    <a:pt x="3033595" y="1290044"/>
                    <a:pt x="3049231" y="1274763"/>
                    <a:pt x="3068520" y="1274763"/>
                  </a:cubicBezTo>
                  <a:close/>
                  <a:moveTo>
                    <a:pt x="2983589" y="1274763"/>
                  </a:moveTo>
                  <a:cubicBezTo>
                    <a:pt x="3002440" y="1274763"/>
                    <a:pt x="3017721" y="1290044"/>
                    <a:pt x="3017721" y="1308895"/>
                  </a:cubicBezTo>
                  <a:cubicBezTo>
                    <a:pt x="3017721" y="1327746"/>
                    <a:pt x="3002440" y="1343027"/>
                    <a:pt x="2983589" y="1343027"/>
                  </a:cubicBezTo>
                  <a:cubicBezTo>
                    <a:pt x="2964738" y="1343027"/>
                    <a:pt x="2949457" y="1327746"/>
                    <a:pt x="2949457" y="1308895"/>
                  </a:cubicBezTo>
                  <a:cubicBezTo>
                    <a:pt x="2949457" y="1290044"/>
                    <a:pt x="2964738" y="1274763"/>
                    <a:pt x="2983589" y="1274763"/>
                  </a:cubicBezTo>
                  <a:close/>
                  <a:moveTo>
                    <a:pt x="2897864" y="1274763"/>
                  </a:moveTo>
                  <a:cubicBezTo>
                    <a:pt x="2916715" y="1274763"/>
                    <a:pt x="2931996" y="1290044"/>
                    <a:pt x="2931996" y="1308895"/>
                  </a:cubicBezTo>
                  <a:cubicBezTo>
                    <a:pt x="2931996" y="1327746"/>
                    <a:pt x="2916715" y="1343027"/>
                    <a:pt x="2897864" y="1343027"/>
                  </a:cubicBezTo>
                  <a:cubicBezTo>
                    <a:pt x="2879013" y="1343027"/>
                    <a:pt x="2863732" y="1327746"/>
                    <a:pt x="2863732" y="1308895"/>
                  </a:cubicBezTo>
                  <a:cubicBezTo>
                    <a:pt x="2863732" y="1290044"/>
                    <a:pt x="2879013" y="1274763"/>
                    <a:pt x="2897864" y="1274763"/>
                  </a:cubicBezTo>
                  <a:close/>
                  <a:moveTo>
                    <a:pt x="2394790" y="1274763"/>
                  </a:moveTo>
                  <a:cubicBezTo>
                    <a:pt x="2413638" y="1274763"/>
                    <a:pt x="2428919" y="1290044"/>
                    <a:pt x="2428919" y="1308895"/>
                  </a:cubicBezTo>
                  <a:cubicBezTo>
                    <a:pt x="2428919" y="1327746"/>
                    <a:pt x="2413638" y="1343027"/>
                    <a:pt x="2394790" y="1343027"/>
                  </a:cubicBezTo>
                  <a:cubicBezTo>
                    <a:pt x="2375933" y="1343027"/>
                    <a:pt x="2360656" y="1327746"/>
                    <a:pt x="2360656" y="1308895"/>
                  </a:cubicBezTo>
                  <a:cubicBezTo>
                    <a:pt x="2360656" y="1290044"/>
                    <a:pt x="2375933" y="1274763"/>
                    <a:pt x="2394790" y="1274763"/>
                  </a:cubicBezTo>
                  <a:close/>
                  <a:moveTo>
                    <a:pt x="2224919" y="1274763"/>
                  </a:moveTo>
                  <a:cubicBezTo>
                    <a:pt x="2243761" y="1274763"/>
                    <a:pt x="2259040" y="1290044"/>
                    <a:pt x="2259040" y="1308895"/>
                  </a:cubicBezTo>
                  <a:cubicBezTo>
                    <a:pt x="2259040" y="1327746"/>
                    <a:pt x="2243761" y="1343027"/>
                    <a:pt x="2224919" y="1343027"/>
                  </a:cubicBezTo>
                  <a:cubicBezTo>
                    <a:pt x="2206066" y="1343027"/>
                    <a:pt x="2190786" y="1327746"/>
                    <a:pt x="2190786" y="1308895"/>
                  </a:cubicBezTo>
                  <a:cubicBezTo>
                    <a:pt x="2190786" y="1290044"/>
                    <a:pt x="2206066" y="1274763"/>
                    <a:pt x="2224919" y="1274763"/>
                  </a:cubicBezTo>
                  <a:close/>
                  <a:moveTo>
                    <a:pt x="2139057" y="1274763"/>
                  </a:moveTo>
                  <a:cubicBezTo>
                    <a:pt x="2157907" y="1274763"/>
                    <a:pt x="2173188" y="1290044"/>
                    <a:pt x="2173188" y="1308895"/>
                  </a:cubicBezTo>
                  <a:cubicBezTo>
                    <a:pt x="2173188" y="1327746"/>
                    <a:pt x="2157907" y="1343027"/>
                    <a:pt x="2139057" y="1343027"/>
                  </a:cubicBezTo>
                  <a:cubicBezTo>
                    <a:pt x="2120205" y="1343027"/>
                    <a:pt x="2104925" y="1327746"/>
                    <a:pt x="2104925" y="1308895"/>
                  </a:cubicBezTo>
                  <a:cubicBezTo>
                    <a:pt x="2104925" y="1290044"/>
                    <a:pt x="2120205" y="1274763"/>
                    <a:pt x="2139057" y="1274763"/>
                  </a:cubicBezTo>
                  <a:close/>
                  <a:moveTo>
                    <a:pt x="2055713" y="1274763"/>
                  </a:moveTo>
                  <a:cubicBezTo>
                    <a:pt x="2075879" y="1274763"/>
                    <a:pt x="2092226" y="1290044"/>
                    <a:pt x="2092226" y="1308895"/>
                  </a:cubicBezTo>
                  <a:cubicBezTo>
                    <a:pt x="2092226" y="1327746"/>
                    <a:pt x="2075879" y="1343027"/>
                    <a:pt x="2055713" y="1343027"/>
                  </a:cubicBezTo>
                  <a:cubicBezTo>
                    <a:pt x="2035547" y="1343027"/>
                    <a:pt x="2019201" y="1327746"/>
                    <a:pt x="2019201" y="1308895"/>
                  </a:cubicBezTo>
                  <a:cubicBezTo>
                    <a:pt x="2019201" y="1290044"/>
                    <a:pt x="2035547" y="1274763"/>
                    <a:pt x="2055713" y="1274763"/>
                  </a:cubicBezTo>
                  <a:close/>
                  <a:moveTo>
                    <a:pt x="1973164" y="1274763"/>
                  </a:moveTo>
                  <a:cubicBezTo>
                    <a:pt x="1992453" y="1274763"/>
                    <a:pt x="2008088" y="1290044"/>
                    <a:pt x="2008088" y="1308895"/>
                  </a:cubicBezTo>
                  <a:cubicBezTo>
                    <a:pt x="2008088" y="1327746"/>
                    <a:pt x="1992453" y="1343027"/>
                    <a:pt x="1973164" y="1343027"/>
                  </a:cubicBezTo>
                  <a:cubicBezTo>
                    <a:pt x="1953875" y="1343027"/>
                    <a:pt x="1938239" y="1327746"/>
                    <a:pt x="1938239" y="1308895"/>
                  </a:cubicBezTo>
                  <a:cubicBezTo>
                    <a:pt x="1938239" y="1290044"/>
                    <a:pt x="1953875" y="1274763"/>
                    <a:pt x="1973164" y="1274763"/>
                  </a:cubicBezTo>
                  <a:close/>
                  <a:moveTo>
                    <a:pt x="1888234" y="1274763"/>
                  </a:moveTo>
                  <a:cubicBezTo>
                    <a:pt x="1907085" y="1274763"/>
                    <a:pt x="1922366" y="1290044"/>
                    <a:pt x="1922366" y="1308895"/>
                  </a:cubicBezTo>
                  <a:cubicBezTo>
                    <a:pt x="1922366" y="1327746"/>
                    <a:pt x="1907085" y="1343027"/>
                    <a:pt x="1888234" y="1343027"/>
                  </a:cubicBezTo>
                  <a:cubicBezTo>
                    <a:pt x="1869383" y="1343027"/>
                    <a:pt x="1854102" y="1327746"/>
                    <a:pt x="1854102" y="1308895"/>
                  </a:cubicBezTo>
                  <a:cubicBezTo>
                    <a:pt x="1854102" y="1290044"/>
                    <a:pt x="1869383" y="1274763"/>
                    <a:pt x="1888234" y="1274763"/>
                  </a:cubicBezTo>
                  <a:close/>
                  <a:moveTo>
                    <a:pt x="1802510" y="1274763"/>
                  </a:moveTo>
                  <a:cubicBezTo>
                    <a:pt x="1821362" y="1274763"/>
                    <a:pt x="1836643" y="1290044"/>
                    <a:pt x="1836643" y="1308895"/>
                  </a:cubicBezTo>
                  <a:cubicBezTo>
                    <a:pt x="1836643" y="1327746"/>
                    <a:pt x="1821362" y="1343027"/>
                    <a:pt x="1802510" y="1343027"/>
                  </a:cubicBezTo>
                  <a:cubicBezTo>
                    <a:pt x="1783659" y="1343027"/>
                    <a:pt x="1768379" y="1327746"/>
                    <a:pt x="1768379" y="1308895"/>
                  </a:cubicBezTo>
                  <a:cubicBezTo>
                    <a:pt x="1768379" y="1290044"/>
                    <a:pt x="1783659" y="1274763"/>
                    <a:pt x="1802510" y="1274763"/>
                  </a:cubicBezTo>
                  <a:close/>
                  <a:moveTo>
                    <a:pt x="1719169" y="1274763"/>
                  </a:moveTo>
                  <a:cubicBezTo>
                    <a:pt x="1739335" y="1274763"/>
                    <a:pt x="1755682" y="1290044"/>
                    <a:pt x="1755682" y="1308895"/>
                  </a:cubicBezTo>
                  <a:cubicBezTo>
                    <a:pt x="1755682" y="1327746"/>
                    <a:pt x="1739335" y="1343027"/>
                    <a:pt x="1719169" y="1343027"/>
                  </a:cubicBezTo>
                  <a:cubicBezTo>
                    <a:pt x="1699002" y="1343027"/>
                    <a:pt x="1682656" y="1327746"/>
                    <a:pt x="1682656" y="1308895"/>
                  </a:cubicBezTo>
                  <a:cubicBezTo>
                    <a:pt x="1682656" y="1290044"/>
                    <a:pt x="1699002" y="1274763"/>
                    <a:pt x="1719169" y="1274763"/>
                  </a:cubicBezTo>
                  <a:close/>
                  <a:moveTo>
                    <a:pt x="1636604" y="1274763"/>
                  </a:moveTo>
                  <a:cubicBezTo>
                    <a:pt x="1655893" y="1274763"/>
                    <a:pt x="1671529" y="1290044"/>
                    <a:pt x="1671529" y="1308895"/>
                  </a:cubicBezTo>
                  <a:cubicBezTo>
                    <a:pt x="1671529" y="1327746"/>
                    <a:pt x="1655893" y="1343027"/>
                    <a:pt x="1636604" y="1343027"/>
                  </a:cubicBezTo>
                  <a:cubicBezTo>
                    <a:pt x="1617315" y="1343027"/>
                    <a:pt x="1601679" y="1327746"/>
                    <a:pt x="1601679" y="1308895"/>
                  </a:cubicBezTo>
                  <a:cubicBezTo>
                    <a:pt x="1601679" y="1290044"/>
                    <a:pt x="1617315" y="1274763"/>
                    <a:pt x="1636604" y="1274763"/>
                  </a:cubicBezTo>
                  <a:close/>
                  <a:moveTo>
                    <a:pt x="1551670" y="1274763"/>
                  </a:moveTo>
                  <a:cubicBezTo>
                    <a:pt x="1570521" y="1274763"/>
                    <a:pt x="1585803" y="1290044"/>
                    <a:pt x="1585803" y="1308895"/>
                  </a:cubicBezTo>
                  <a:cubicBezTo>
                    <a:pt x="1585803" y="1327746"/>
                    <a:pt x="1570521" y="1343027"/>
                    <a:pt x="1551670" y="1343027"/>
                  </a:cubicBezTo>
                  <a:cubicBezTo>
                    <a:pt x="1532819" y="1343027"/>
                    <a:pt x="1517538" y="1327746"/>
                    <a:pt x="1517538" y="1308895"/>
                  </a:cubicBezTo>
                  <a:cubicBezTo>
                    <a:pt x="1517538" y="1290044"/>
                    <a:pt x="1532819" y="1274763"/>
                    <a:pt x="1551670" y="1274763"/>
                  </a:cubicBezTo>
                  <a:close/>
                  <a:moveTo>
                    <a:pt x="1465953" y="1274763"/>
                  </a:moveTo>
                  <a:cubicBezTo>
                    <a:pt x="1484804" y="1274763"/>
                    <a:pt x="1500086" y="1290044"/>
                    <a:pt x="1500086" y="1308895"/>
                  </a:cubicBezTo>
                  <a:cubicBezTo>
                    <a:pt x="1500086" y="1327746"/>
                    <a:pt x="1484804" y="1343027"/>
                    <a:pt x="1465953" y="1343027"/>
                  </a:cubicBezTo>
                  <a:cubicBezTo>
                    <a:pt x="1447102" y="1343027"/>
                    <a:pt x="1431821" y="1327746"/>
                    <a:pt x="1431821" y="1308895"/>
                  </a:cubicBezTo>
                  <a:cubicBezTo>
                    <a:pt x="1431821" y="1290044"/>
                    <a:pt x="1447102" y="1274763"/>
                    <a:pt x="1465953" y="1274763"/>
                  </a:cubicBezTo>
                  <a:close/>
                  <a:moveTo>
                    <a:pt x="1380392" y="1274763"/>
                  </a:moveTo>
                  <a:cubicBezTo>
                    <a:pt x="1399243" y="1274763"/>
                    <a:pt x="1414522" y="1290044"/>
                    <a:pt x="1414522" y="1308895"/>
                  </a:cubicBezTo>
                  <a:cubicBezTo>
                    <a:pt x="1414522" y="1327746"/>
                    <a:pt x="1399243" y="1343027"/>
                    <a:pt x="1380392" y="1343027"/>
                  </a:cubicBezTo>
                  <a:cubicBezTo>
                    <a:pt x="1361539" y="1343027"/>
                    <a:pt x="1346258" y="1327746"/>
                    <a:pt x="1346258" y="1308895"/>
                  </a:cubicBezTo>
                  <a:cubicBezTo>
                    <a:pt x="1346258" y="1290044"/>
                    <a:pt x="1361539" y="1274763"/>
                    <a:pt x="1380392" y="1274763"/>
                  </a:cubicBezTo>
                  <a:close/>
                  <a:moveTo>
                    <a:pt x="9474877" y="1189038"/>
                  </a:moveTo>
                  <a:cubicBezTo>
                    <a:pt x="9493728" y="1189038"/>
                    <a:pt x="9509009" y="1204319"/>
                    <a:pt x="9509009" y="1223170"/>
                  </a:cubicBezTo>
                  <a:cubicBezTo>
                    <a:pt x="9509009" y="1242021"/>
                    <a:pt x="9493728" y="1257302"/>
                    <a:pt x="9474877" y="1257302"/>
                  </a:cubicBezTo>
                  <a:cubicBezTo>
                    <a:pt x="9456026" y="1257302"/>
                    <a:pt x="9440745" y="1242021"/>
                    <a:pt x="9440745" y="1223170"/>
                  </a:cubicBezTo>
                  <a:cubicBezTo>
                    <a:pt x="9440745" y="1204319"/>
                    <a:pt x="9456026" y="1189038"/>
                    <a:pt x="9474877" y="1189038"/>
                  </a:cubicBezTo>
                  <a:close/>
                  <a:moveTo>
                    <a:pt x="8801777" y="1189038"/>
                  </a:moveTo>
                  <a:cubicBezTo>
                    <a:pt x="8820628" y="1189038"/>
                    <a:pt x="8835909" y="1204319"/>
                    <a:pt x="8835909" y="1223170"/>
                  </a:cubicBezTo>
                  <a:cubicBezTo>
                    <a:pt x="8835909" y="1242021"/>
                    <a:pt x="8820628" y="1257302"/>
                    <a:pt x="8801777" y="1257302"/>
                  </a:cubicBezTo>
                  <a:cubicBezTo>
                    <a:pt x="8782926" y="1257302"/>
                    <a:pt x="8767645" y="1242021"/>
                    <a:pt x="8767645" y="1223170"/>
                  </a:cubicBezTo>
                  <a:cubicBezTo>
                    <a:pt x="8767645" y="1204319"/>
                    <a:pt x="8782926" y="1189038"/>
                    <a:pt x="8801777" y="1189038"/>
                  </a:cubicBezTo>
                  <a:close/>
                  <a:moveTo>
                    <a:pt x="8716052" y="1189038"/>
                  </a:moveTo>
                  <a:cubicBezTo>
                    <a:pt x="8734903" y="1189038"/>
                    <a:pt x="8750184" y="1204319"/>
                    <a:pt x="8750184" y="1223170"/>
                  </a:cubicBezTo>
                  <a:cubicBezTo>
                    <a:pt x="8750184" y="1242021"/>
                    <a:pt x="8734903" y="1257302"/>
                    <a:pt x="8716052" y="1257302"/>
                  </a:cubicBezTo>
                  <a:cubicBezTo>
                    <a:pt x="8697201" y="1257302"/>
                    <a:pt x="8681920" y="1242021"/>
                    <a:pt x="8681920" y="1223170"/>
                  </a:cubicBezTo>
                  <a:cubicBezTo>
                    <a:pt x="8681920" y="1204319"/>
                    <a:pt x="8697201" y="1189038"/>
                    <a:pt x="8716052" y="1189038"/>
                  </a:cubicBezTo>
                  <a:close/>
                  <a:moveTo>
                    <a:pt x="8630327" y="1189038"/>
                  </a:moveTo>
                  <a:cubicBezTo>
                    <a:pt x="8649178" y="1189038"/>
                    <a:pt x="8664459" y="1204319"/>
                    <a:pt x="8664459" y="1223170"/>
                  </a:cubicBezTo>
                  <a:cubicBezTo>
                    <a:pt x="8664459" y="1242021"/>
                    <a:pt x="8649178" y="1257302"/>
                    <a:pt x="8630327" y="1257302"/>
                  </a:cubicBezTo>
                  <a:cubicBezTo>
                    <a:pt x="8611476" y="1257302"/>
                    <a:pt x="8596195" y="1242021"/>
                    <a:pt x="8596195" y="1223170"/>
                  </a:cubicBezTo>
                  <a:cubicBezTo>
                    <a:pt x="8596195" y="1204319"/>
                    <a:pt x="8611476" y="1189038"/>
                    <a:pt x="8630327" y="1189038"/>
                  </a:cubicBezTo>
                  <a:close/>
                  <a:moveTo>
                    <a:pt x="8544602" y="1189038"/>
                  </a:moveTo>
                  <a:cubicBezTo>
                    <a:pt x="8563453" y="1189038"/>
                    <a:pt x="8578734" y="1204319"/>
                    <a:pt x="8578734" y="1223170"/>
                  </a:cubicBezTo>
                  <a:cubicBezTo>
                    <a:pt x="8578734" y="1242021"/>
                    <a:pt x="8563453" y="1257302"/>
                    <a:pt x="8544602" y="1257302"/>
                  </a:cubicBezTo>
                  <a:cubicBezTo>
                    <a:pt x="8525751" y="1257302"/>
                    <a:pt x="8510470" y="1242021"/>
                    <a:pt x="8510470" y="1223170"/>
                  </a:cubicBezTo>
                  <a:cubicBezTo>
                    <a:pt x="8510470" y="1204319"/>
                    <a:pt x="8525751" y="1189038"/>
                    <a:pt x="8544602" y="1189038"/>
                  </a:cubicBezTo>
                  <a:close/>
                  <a:moveTo>
                    <a:pt x="8465227" y="1189038"/>
                  </a:moveTo>
                  <a:cubicBezTo>
                    <a:pt x="8484078" y="1189038"/>
                    <a:pt x="8499359" y="1204319"/>
                    <a:pt x="8499359" y="1223170"/>
                  </a:cubicBezTo>
                  <a:cubicBezTo>
                    <a:pt x="8499359" y="1242021"/>
                    <a:pt x="8484078" y="1257302"/>
                    <a:pt x="8465227" y="1257302"/>
                  </a:cubicBezTo>
                  <a:cubicBezTo>
                    <a:pt x="8446376" y="1257302"/>
                    <a:pt x="8431095" y="1242021"/>
                    <a:pt x="8431095" y="1223170"/>
                  </a:cubicBezTo>
                  <a:cubicBezTo>
                    <a:pt x="8431095" y="1204319"/>
                    <a:pt x="8446376" y="1189038"/>
                    <a:pt x="8465227" y="1189038"/>
                  </a:cubicBezTo>
                  <a:close/>
                  <a:moveTo>
                    <a:pt x="8379502" y="1189038"/>
                  </a:moveTo>
                  <a:cubicBezTo>
                    <a:pt x="8398353" y="1189038"/>
                    <a:pt x="8413634" y="1204319"/>
                    <a:pt x="8413634" y="1223170"/>
                  </a:cubicBezTo>
                  <a:cubicBezTo>
                    <a:pt x="8413634" y="1242021"/>
                    <a:pt x="8398353" y="1257302"/>
                    <a:pt x="8379502" y="1257302"/>
                  </a:cubicBezTo>
                  <a:cubicBezTo>
                    <a:pt x="8360651" y="1257302"/>
                    <a:pt x="8345370" y="1242021"/>
                    <a:pt x="8345370" y="1223170"/>
                  </a:cubicBezTo>
                  <a:cubicBezTo>
                    <a:pt x="8345370" y="1204319"/>
                    <a:pt x="8360651" y="1189038"/>
                    <a:pt x="8379502" y="1189038"/>
                  </a:cubicBezTo>
                  <a:close/>
                  <a:moveTo>
                    <a:pt x="8293777" y="1189038"/>
                  </a:moveTo>
                  <a:cubicBezTo>
                    <a:pt x="8312628" y="1189038"/>
                    <a:pt x="8327909" y="1204319"/>
                    <a:pt x="8327909" y="1223170"/>
                  </a:cubicBezTo>
                  <a:cubicBezTo>
                    <a:pt x="8327909" y="1242021"/>
                    <a:pt x="8312628" y="1257302"/>
                    <a:pt x="8293777" y="1257302"/>
                  </a:cubicBezTo>
                  <a:cubicBezTo>
                    <a:pt x="8274926" y="1257302"/>
                    <a:pt x="8259645" y="1242021"/>
                    <a:pt x="8259645" y="1223170"/>
                  </a:cubicBezTo>
                  <a:cubicBezTo>
                    <a:pt x="8259645" y="1204319"/>
                    <a:pt x="8274926" y="1189038"/>
                    <a:pt x="8293777" y="1189038"/>
                  </a:cubicBezTo>
                  <a:close/>
                  <a:moveTo>
                    <a:pt x="8208052" y="1189038"/>
                  </a:moveTo>
                  <a:cubicBezTo>
                    <a:pt x="8226903" y="1189038"/>
                    <a:pt x="8242184" y="1204319"/>
                    <a:pt x="8242184" y="1223170"/>
                  </a:cubicBezTo>
                  <a:cubicBezTo>
                    <a:pt x="8242184" y="1242021"/>
                    <a:pt x="8226903" y="1257302"/>
                    <a:pt x="8208052" y="1257302"/>
                  </a:cubicBezTo>
                  <a:cubicBezTo>
                    <a:pt x="8189201" y="1257302"/>
                    <a:pt x="8173920" y="1242021"/>
                    <a:pt x="8173920" y="1223170"/>
                  </a:cubicBezTo>
                  <a:cubicBezTo>
                    <a:pt x="8173920" y="1204319"/>
                    <a:pt x="8189201" y="1189038"/>
                    <a:pt x="8208052" y="1189038"/>
                  </a:cubicBezTo>
                  <a:close/>
                  <a:moveTo>
                    <a:pt x="8125502" y="1189038"/>
                  </a:moveTo>
                  <a:cubicBezTo>
                    <a:pt x="8146106" y="1189038"/>
                    <a:pt x="8162809" y="1204319"/>
                    <a:pt x="8162809" y="1223170"/>
                  </a:cubicBezTo>
                  <a:cubicBezTo>
                    <a:pt x="8162809" y="1242021"/>
                    <a:pt x="8146106" y="1257302"/>
                    <a:pt x="8125502" y="1257302"/>
                  </a:cubicBezTo>
                  <a:cubicBezTo>
                    <a:pt x="8104898" y="1257302"/>
                    <a:pt x="8088195" y="1242021"/>
                    <a:pt x="8088195" y="1223170"/>
                  </a:cubicBezTo>
                  <a:cubicBezTo>
                    <a:pt x="8088195" y="1204319"/>
                    <a:pt x="8104898" y="1189038"/>
                    <a:pt x="8125502" y="1189038"/>
                  </a:cubicBezTo>
                  <a:close/>
                  <a:moveTo>
                    <a:pt x="8042952" y="1189038"/>
                  </a:moveTo>
                  <a:cubicBezTo>
                    <a:pt x="8061803" y="1189038"/>
                    <a:pt x="8077084" y="1204319"/>
                    <a:pt x="8077084" y="1223170"/>
                  </a:cubicBezTo>
                  <a:cubicBezTo>
                    <a:pt x="8077084" y="1242021"/>
                    <a:pt x="8061803" y="1257302"/>
                    <a:pt x="8042952" y="1257302"/>
                  </a:cubicBezTo>
                  <a:cubicBezTo>
                    <a:pt x="8024101" y="1257302"/>
                    <a:pt x="8008820" y="1242021"/>
                    <a:pt x="8008820" y="1223170"/>
                  </a:cubicBezTo>
                  <a:cubicBezTo>
                    <a:pt x="8008820" y="1204319"/>
                    <a:pt x="8024101" y="1189038"/>
                    <a:pt x="8042952" y="1189038"/>
                  </a:cubicBezTo>
                  <a:close/>
                  <a:moveTo>
                    <a:pt x="7957227" y="1189038"/>
                  </a:moveTo>
                  <a:cubicBezTo>
                    <a:pt x="7976078" y="1189038"/>
                    <a:pt x="7991359" y="1204319"/>
                    <a:pt x="7991359" y="1223170"/>
                  </a:cubicBezTo>
                  <a:cubicBezTo>
                    <a:pt x="7991359" y="1242021"/>
                    <a:pt x="7976078" y="1257302"/>
                    <a:pt x="7957227" y="1257302"/>
                  </a:cubicBezTo>
                  <a:cubicBezTo>
                    <a:pt x="7938376" y="1257302"/>
                    <a:pt x="7923095" y="1242021"/>
                    <a:pt x="7923095" y="1223170"/>
                  </a:cubicBezTo>
                  <a:cubicBezTo>
                    <a:pt x="7923095" y="1204319"/>
                    <a:pt x="7938376" y="1189038"/>
                    <a:pt x="7957227" y="1189038"/>
                  </a:cubicBezTo>
                  <a:close/>
                  <a:moveTo>
                    <a:pt x="7871502" y="1189038"/>
                  </a:moveTo>
                  <a:cubicBezTo>
                    <a:pt x="7890353" y="1189038"/>
                    <a:pt x="7905634" y="1204319"/>
                    <a:pt x="7905634" y="1223170"/>
                  </a:cubicBezTo>
                  <a:cubicBezTo>
                    <a:pt x="7905634" y="1242021"/>
                    <a:pt x="7890353" y="1257302"/>
                    <a:pt x="7871502" y="1257302"/>
                  </a:cubicBezTo>
                  <a:cubicBezTo>
                    <a:pt x="7852651" y="1257302"/>
                    <a:pt x="7837370" y="1242021"/>
                    <a:pt x="7837370" y="1223170"/>
                  </a:cubicBezTo>
                  <a:cubicBezTo>
                    <a:pt x="7837370" y="1204319"/>
                    <a:pt x="7852651" y="1189038"/>
                    <a:pt x="7871502" y="1189038"/>
                  </a:cubicBezTo>
                  <a:close/>
                  <a:moveTo>
                    <a:pt x="7785777" y="1189038"/>
                  </a:moveTo>
                  <a:cubicBezTo>
                    <a:pt x="7804628" y="1189038"/>
                    <a:pt x="7819909" y="1204319"/>
                    <a:pt x="7819909" y="1223170"/>
                  </a:cubicBezTo>
                  <a:cubicBezTo>
                    <a:pt x="7819909" y="1242021"/>
                    <a:pt x="7804628" y="1257302"/>
                    <a:pt x="7785777" y="1257302"/>
                  </a:cubicBezTo>
                  <a:cubicBezTo>
                    <a:pt x="7766926" y="1257302"/>
                    <a:pt x="7751645" y="1242021"/>
                    <a:pt x="7751645" y="1223170"/>
                  </a:cubicBezTo>
                  <a:cubicBezTo>
                    <a:pt x="7751645" y="1204319"/>
                    <a:pt x="7766926" y="1189038"/>
                    <a:pt x="7785777" y="1189038"/>
                  </a:cubicBezTo>
                  <a:close/>
                  <a:moveTo>
                    <a:pt x="7706402" y="1189038"/>
                  </a:moveTo>
                  <a:cubicBezTo>
                    <a:pt x="7725253" y="1189038"/>
                    <a:pt x="7740534" y="1204319"/>
                    <a:pt x="7740534" y="1223170"/>
                  </a:cubicBezTo>
                  <a:cubicBezTo>
                    <a:pt x="7740534" y="1242021"/>
                    <a:pt x="7725253" y="1257302"/>
                    <a:pt x="7706402" y="1257302"/>
                  </a:cubicBezTo>
                  <a:cubicBezTo>
                    <a:pt x="7687551" y="1257302"/>
                    <a:pt x="7672270" y="1242021"/>
                    <a:pt x="7672270" y="1223170"/>
                  </a:cubicBezTo>
                  <a:cubicBezTo>
                    <a:pt x="7672270" y="1204319"/>
                    <a:pt x="7687551" y="1189038"/>
                    <a:pt x="7706402" y="1189038"/>
                  </a:cubicBezTo>
                  <a:close/>
                  <a:moveTo>
                    <a:pt x="7620677" y="1189038"/>
                  </a:moveTo>
                  <a:cubicBezTo>
                    <a:pt x="7639528" y="1189038"/>
                    <a:pt x="7654809" y="1204319"/>
                    <a:pt x="7654809" y="1223170"/>
                  </a:cubicBezTo>
                  <a:cubicBezTo>
                    <a:pt x="7654809" y="1242021"/>
                    <a:pt x="7639528" y="1257302"/>
                    <a:pt x="7620677" y="1257302"/>
                  </a:cubicBezTo>
                  <a:cubicBezTo>
                    <a:pt x="7601826" y="1257302"/>
                    <a:pt x="7586545" y="1242021"/>
                    <a:pt x="7586545" y="1223170"/>
                  </a:cubicBezTo>
                  <a:cubicBezTo>
                    <a:pt x="7586545" y="1204319"/>
                    <a:pt x="7601826" y="1189038"/>
                    <a:pt x="7620677" y="1189038"/>
                  </a:cubicBezTo>
                  <a:close/>
                  <a:moveTo>
                    <a:pt x="7534952" y="1189038"/>
                  </a:moveTo>
                  <a:cubicBezTo>
                    <a:pt x="7553803" y="1189038"/>
                    <a:pt x="7569084" y="1204319"/>
                    <a:pt x="7569084" y="1223170"/>
                  </a:cubicBezTo>
                  <a:cubicBezTo>
                    <a:pt x="7569084" y="1242021"/>
                    <a:pt x="7553803" y="1257302"/>
                    <a:pt x="7534952" y="1257302"/>
                  </a:cubicBezTo>
                  <a:cubicBezTo>
                    <a:pt x="7516101" y="1257302"/>
                    <a:pt x="7500820" y="1242021"/>
                    <a:pt x="7500820" y="1223170"/>
                  </a:cubicBezTo>
                  <a:cubicBezTo>
                    <a:pt x="7500820" y="1204319"/>
                    <a:pt x="7516101" y="1189038"/>
                    <a:pt x="7534952" y="1189038"/>
                  </a:cubicBezTo>
                  <a:close/>
                  <a:moveTo>
                    <a:pt x="7449227" y="1189038"/>
                  </a:moveTo>
                  <a:cubicBezTo>
                    <a:pt x="7468078" y="1189038"/>
                    <a:pt x="7483359" y="1204319"/>
                    <a:pt x="7483359" y="1223170"/>
                  </a:cubicBezTo>
                  <a:cubicBezTo>
                    <a:pt x="7483359" y="1242021"/>
                    <a:pt x="7468078" y="1257302"/>
                    <a:pt x="7449227" y="1257302"/>
                  </a:cubicBezTo>
                  <a:cubicBezTo>
                    <a:pt x="7430376" y="1257302"/>
                    <a:pt x="7415095" y="1242021"/>
                    <a:pt x="7415095" y="1223170"/>
                  </a:cubicBezTo>
                  <a:cubicBezTo>
                    <a:pt x="7415095" y="1204319"/>
                    <a:pt x="7430376" y="1189038"/>
                    <a:pt x="7449227" y="1189038"/>
                  </a:cubicBezTo>
                  <a:close/>
                  <a:moveTo>
                    <a:pt x="7366677" y="1189038"/>
                  </a:moveTo>
                  <a:cubicBezTo>
                    <a:pt x="7387281" y="1189038"/>
                    <a:pt x="7403984" y="1204319"/>
                    <a:pt x="7403984" y="1223170"/>
                  </a:cubicBezTo>
                  <a:cubicBezTo>
                    <a:pt x="7403984" y="1242021"/>
                    <a:pt x="7387281" y="1257302"/>
                    <a:pt x="7366677" y="1257302"/>
                  </a:cubicBezTo>
                  <a:cubicBezTo>
                    <a:pt x="7346073" y="1257302"/>
                    <a:pt x="7329370" y="1242021"/>
                    <a:pt x="7329370" y="1223170"/>
                  </a:cubicBezTo>
                  <a:cubicBezTo>
                    <a:pt x="7329370" y="1204319"/>
                    <a:pt x="7346073" y="1189038"/>
                    <a:pt x="7366677" y="1189038"/>
                  </a:cubicBezTo>
                  <a:close/>
                  <a:moveTo>
                    <a:pt x="7284127" y="1189038"/>
                  </a:moveTo>
                  <a:cubicBezTo>
                    <a:pt x="7302978" y="1189038"/>
                    <a:pt x="7318259" y="1204319"/>
                    <a:pt x="7318259" y="1223170"/>
                  </a:cubicBezTo>
                  <a:cubicBezTo>
                    <a:pt x="7318259" y="1242021"/>
                    <a:pt x="7302978" y="1257302"/>
                    <a:pt x="7284127" y="1257302"/>
                  </a:cubicBezTo>
                  <a:cubicBezTo>
                    <a:pt x="7265276" y="1257302"/>
                    <a:pt x="7249995" y="1242021"/>
                    <a:pt x="7249995" y="1223170"/>
                  </a:cubicBezTo>
                  <a:cubicBezTo>
                    <a:pt x="7249995" y="1204319"/>
                    <a:pt x="7265276" y="1189038"/>
                    <a:pt x="7284127" y="1189038"/>
                  </a:cubicBezTo>
                  <a:close/>
                  <a:moveTo>
                    <a:pt x="7198402" y="1189038"/>
                  </a:moveTo>
                  <a:cubicBezTo>
                    <a:pt x="7217253" y="1189038"/>
                    <a:pt x="7232534" y="1204319"/>
                    <a:pt x="7232534" y="1223170"/>
                  </a:cubicBezTo>
                  <a:cubicBezTo>
                    <a:pt x="7232534" y="1242021"/>
                    <a:pt x="7217253" y="1257302"/>
                    <a:pt x="7198402" y="1257302"/>
                  </a:cubicBezTo>
                  <a:cubicBezTo>
                    <a:pt x="7179551" y="1257302"/>
                    <a:pt x="7164270" y="1242021"/>
                    <a:pt x="7164270" y="1223170"/>
                  </a:cubicBezTo>
                  <a:cubicBezTo>
                    <a:pt x="7164270" y="1204319"/>
                    <a:pt x="7179551" y="1189038"/>
                    <a:pt x="7198402" y="1189038"/>
                  </a:cubicBezTo>
                  <a:close/>
                  <a:moveTo>
                    <a:pt x="7112677" y="1189038"/>
                  </a:moveTo>
                  <a:cubicBezTo>
                    <a:pt x="7131528" y="1189038"/>
                    <a:pt x="7146809" y="1204319"/>
                    <a:pt x="7146809" y="1223170"/>
                  </a:cubicBezTo>
                  <a:cubicBezTo>
                    <a:pt x="7146809" y="1242021"/>
                    <a:pt x="7131528" y="1257302"/>
                    <a:pt x="7112677" y="1257302"/>
                  </a:cubicBezTo>
                  <a:cubicBezTo>
                    <a:pt x="7093826" y="1257302"/>
                    <a:pt x="7078545" y="1242021"/>
                    <a:pt x="7078545" y="1223170"/>
                  </a:cubicBezTo>
                  <a:cubicBezTo>
                    <a:pt x="7078545" y="1204319"/>
                    <a:pt x="7093826" y="1189038"/>
                    <a:pt x="7112677" y="1189038"/>
                  </a:cubicBezTo>
                  <a:close/>
                  <a:moveTo>
                    <a:pt x="7027745" y="1189038"/>
                  </a:moveTo>
                  <a:cubicBezTo>
                    <a:pt x="7047034" y="1189038"/>
                    <a:pt x="7062670" y="1204319"/>
                    <a:pt x="7062670" y="1223170"/>
                  </a:cubicBezTo>
                  <a:cubicBezTo>
                    <a:pt x="7062670" y="1242021"/>
                    <a:pt x="7047034" y="1257302"/>
                    <a:pt x="7027745" y="1257302"/>
                  </a:cubicBezTo>
                  <a:cubicBezTo>
                    <a:pt x="7008456" y="1257302"/>
                    <a:pt x="6992820" y="1242021"/>
                    <a:pt x="6992820" y="1223170"/>
                  </a:cubicBezTo>
                  <a:cubicBezTo>
                    <a:pt x="6992820" y="1204319"/>
                    <a:pt x="7008456" y="1189038"/>
                    <a:pt x="7027745" y="1189038"/>
                  </a:cubicBezTo>
                  <a:close/>
                  <a:moveTo>
                    <a:pt x="6947577" y="1189038"/>
                  </a:moveTo>
                  <a:cubicBezTo>
                    <a:pt x="6966428" y="1189038"/>
                    <a:pt x="6981709" y="1204319"/>
                    <a:pt x="6981709" y="1223170"/>
                  </a:cubicBezTo>
                  <a:cubicBezTo>
                    <a:pt x="6981709" y="1242021"/>
                    <a:pt x="6966428" y="1257302"/>
                    <a:pt x="6947577" y="1257302"/>
                  </a:cubicBezTo>
                  <a:cubicBezTo>
                    <a:pt x="6928726" y="1257302"/>
                    <a:pt x="6913445" y="1242021"/>
                    <a:pt x="6913445" y="1223170"/>
                  </a:cubicBezTo>
                  <a:cubicBezTo>
                    <a:pt x="6913445" y="1204319"/>
                    <a:pt x="6928726" y="1189038"/>
                    <a:pt x="6947577" y="1189038"/>
                  </a:cubicBezTo>
                  <a:close/>
                  <a:moveTo>
                    <a:pt x="6861852" y="1189038"/>
                  </a:moveTo>
                  <a:cubicBezTo>
                    <a:pt x="6880703" y="1189038"/>
                    <a:pt x="6895984" y="1204319"/>
                    <a:pt x="6895984" y="1223170"/>
                  </a:cubicBezTo>
                  <a:cubicBezTo>
                    <a:pt x="6895984" y="1242021"/>
                    <a:pt x="6880703" y="1257302"/>
                    <a:pt x="6861852" y="1257302"/>
                  </a:cubicBezTo>
                  <a:cubicBezTo>
                    <a:pt x="6843001" y="1257302"/>
                    <a:pt x="6827720" y="1242021"/>
                    <a:pt x="6827720" y="1223170"/>
                  </a:cubicBezTo>
                  <a:cubicBezTo>
                    <a:pt x="6827720" y="1204319"/>
                    <a:pt x="6843001" y="1189038"/>
                    <a:pt x="6861852" y="1189038"/>
                  </a:cubicBezTo>
                  <a:close/>
                  <a:moveTo>
                    <a:pt x="6776127" y="1189038"/>
                  </a:moveTo>
                  <a:cubicBezTo>
                    <a:pt x="6794978" y="1189038"/>
                    <a:pt x="6810259" y="1204319"/>
                    <a:pt x="6810259" y="1223170"/>
                  </a:cubicBezTo>
                  <a:cubicBezTo>
                    <a:pt x="6810259" y="1242021"/>
                    <a:pt x="6794978" y="1257302"/>
                    <a:pt x="6776127" y="1257302"/>
                  </a:cubicBezTo>
                  <a:cubicBezTo>
                    <a:pt x="6757276" y="1257302"/>
                    <a:pt x="6741995" y="1242021"/>
                    <a:pt x="6741995" y="1223170"/>
                  </a:cubicBezTo>
                  <a:cubicBezTo>
                    <a:pt x="6741995" y="1204319"/>
                    <a:pt x="6757276" y="1189038"/>
                    <a:pt x="6776127" y="1189038"/>
                  </a:cubicBezTo>
                  <a:close/>
                  <a:moveTo>
                    <a:pt x="6691195" y="1189038"/>
                  </a:moveTo>
                  <a:cubicBezTo>
                    <a:pt x="6710484" y="1189038"/>
                    <a:pt x="6726120" y="1204319"/>
                    <a:pt x="6726120" y="1223170"/>
                  </a:cubicBezTo>
                  <a:cubicBezTo>
                    <a:pt x="6726120" y="1242021"/>
                    <a:pt x="6710484" y="1257302"/>
                    <a:pt x="6691195" y="1257302"/>
                  </a:cubicBezTo>
                  <a:cubicBezTo>
                    <a:pt x="6671906" y="1257302"/>
                    <a:pt x="6656270" y="1242021"/>
                    <a:pt x="6656270" y="1223170"/>
                  </a:cubicBezTo>
                  <a:cubicBezTo>
                    <a:pt x="6656270" y="1204319"/>
                    <a:pt x="6671906" y="1189038"/>
                    <a:pt x="6691195" y="1189038"/>
                  </a:cubicBezTo>
                  <a:close/>
                  <a:moveTo>
                    <a:pt x="6607852" y="1189038"/>
                  </a:moveTo>
                  <a:cubicBezTo>
                    <a:pt x="6628456" y="1189038"/>
                    <a:pt x="6645159" y="1204319"/>
                    <a:pt x="6645159" y="1223170"/>
                  </a:cubicBezTo>
                  <a:cubicBezTo>
                    <a:pt x="6645159" y="1242021"/>
                    <a:pt x="6628456" y="1257302"/>
                    <a:pt x="6607852" y="1257302"/>
                  </a:cubicBezTo>
                  <a:cubicBezTo>
                    <a:pt x="6587248" y="1257302"/>
                    <a:pt x="6570545" y="1242021"/>
                    <a:pt x="6570545" y="1223170"/>
                  </a:cubicBezTo>
                  <a:cubicBezTo>
                    <a:pt x="6570545" y="1204319"/>
                    <a:pt x="6587248" y="1189038"/>
                    <a:pt x="6607852" y="1189038"/>
                  </a:cubicBezTo>
                  <a:close/>
                  <a:moveTo>
                    <a:pt x="6525302" y="1189038"/>
                  </a:moveTo>
                  <a:cubicBezTo>
                    <a:pt x="6544153" y="1189038"/>
                    <a:pt x="6559434" y="1204319"/>
                    <a:pt x="6559434" y="1223170"/>
                  </a:cubicBezTo>
                  <a:cubicBezTo>
                    <a:pt x="6559434" y="1242021"/>
                    <a:pt x="6544153" y="1257302"/>
                    <a:pt x="6525302" y="1257302"/>
                  </a:cubicBezTo>
                  <a:cubicBezTo>
                    <a:pt x="6506451" y="1257302"/>
                    <a:pt x="6491170" y="1242021"/>
                    <a:pt x="6491170" y="1223170"/>
                  </a:cubicBezTo>
                  <a:cubicBezTo>
                    <a:pt x="6491170" y="1204319"/>
                    <a:pt x="6506451" y="1189038"/>
                    <a:pt x="6525302" y="1189038"/>
                  </a:cubicBezTo>
                  <a:close/>
                  <a:moveTo>
                    <a:pt x="6439577" y="1189038"/>
                  </a:moveTo>
                  <a:cubicBezTo>
                    <a:pt x="6458428" y="1189038"/>
                    <a:pt x="6473709" y="1204319"/>
                    <a:pt x="6473709" y="1223170"/>
                  </a:cubicBezTo>
                  <a:cubicBezTo>
                    <a:pt x="6473709" y="1242021"/>
                    <a:pt x="6458428" y="1257302"/>
                    <a:pt x="6439577" y="1257302"/>
                  </a:cubicBezTo>
                  <a:cubicBezTo>
                    <a:pt x="6420726" y="1257302"/>
                    <a:pt x="6405445" y="1242021"/>
                    <a:pt x="6405445" y="1223170"/>
                  </a:cubicBezTo>
                  <a:cubicBezTo>
                    <a:pt x="6405445" y="1204319"/>
                    <a:pt x="6420726" y="1189038"/>
                    <a:pt x="6439577" y="1189038"/>
                  </a:cubicBezTo>
                  <a:close/>
                  <a:moveTo>
                    <a:pt x="6353852" y="1189038"/>
                  </a:moveTo>
                  <a:cubicBezTo>
                    <a:pt x="6372703" y="1189038"/>
                    <a:pt x="6387984" y="1204319"/>
                    <a:pt x="6387984" y="1223170"/>
                  </a:cubicBezTo>
                  <a:cubicBezTo>
                    <a:pt x="6387984" y="1242021"/>
                    <a:pt x="6372703" y="1257302"/>
                    <a:pt x="6353852" y="1257302"/>
                  </a:cubicBezTo>
                  <a:cubicBezTo>
                    <a:pt x="6335001" y="1257302"/>
                    <a:pt x="6319720" y="1242021"/>
                    <a:pt x="6319720" y="1223170"/>
                  </a:cubicBezTo>
                  <a:cubicBezTo>
                    <a:pt x="6319720" y="1204319"/>
                    <a:pt x="6335001" y="1189038"/>
                    <a:pt x="6353852" y="1189038"/>
                  </a:cubicBezTo>
                  <a:close/>
                  <a:moveTo>
                    <a:pt x="6268920" y="1189038"/>
                  </a:moveTo>
                  <a:cubicBezTo>
                    <a:pt x="6288209" y="1189038"/>
                    <a:pt x="6303845" y="1204319"/>
                    <a:pt x="6303845" y="1223170"/>
                  </a:cubicBezTo>
                  <a:cubicBezTo>
                    <a:pt x="6303845" y="1242021"/>
                    <a:pt x="6288209" y="1257302"/>
                    <a:pt x="6268920" y="1257302"/>
                  </a:cubicBezTo>
                  <a:cubicBezTo>
                    <a:pt x="6249631" y="1257302"/>
                    <a:pt x="6233995" y="1242021"/>
                    <a:pt x="6233995" y="1223170"/>
                  </a:cubicBezTo>
                  <a:cubicBezTo>
                    <a:pt x="6233995" y="1204319"/>
                    <a:pt x="6249631" y="1189038"/>
                    <a:pt x="6268920" y="1189038"/>
                  </a:cubicBezTo>
                  <a:close/>
                  <a:moveTo>
                    <a:pt x="6188752" y="1189038"/>
                  </a:moveTo>
                  <a:cubicBezTo>
                    <a:pt x="6207603" y="1189038"/>
                    <a:pt x="6222884" y="1204319"/>
                    <a:pt x="6222884" y="1223170"/>
                  </a:cubicBezTo>
                  <a:cubicBezTo>
                    <a:pt x="6222884" y="1242021"/>
                    <a:pt x="6207603" y="1257302"/>
                    <a:pt x="6188752" y="1257302"/>
                  </a:cubicBezTo>
                  <a:cubicBezTo>
                    <a:pt x="6169901" y="1257302"/>
                    <a:pt x="6154620" y="1242021"/>
                    <a:pt x="6154620" y="1223170"/>
                  </a:cubicBezTo>
                  <a:cubicBezTo>
                    <a:pt x="6154620" y="1204319"/>
                    <a:pt x="6169901" y="1189038"/>
                    <a:pt x="6188752" y="1189038"/>
                  </a:cubicBezTo>
                  <a:close/>
                  <a:moveTo>
                    <a:pt x="6103027" y="1189038"/>
                  </a:moveTo>
                  <a:cubicBezTo>
                    <a:pt x="6121878" y="1189038"/>
                    <a:pt x="6137159" y="1204319"/>
                    <a:pt x="6137159" y="1223170"/>
                  </a:cubicBezTo>
                  <a:cubicBezTo>
                    <a:pt x="6137159" y="1242021"/>
                    <a:pt x="6121878" y="1257302"/>
                    <a:pt x="6103027" y="1257302"/>
                  </a:cubicBezTo>
                  <a:cubicBezTo>
                    <a:pt x="6084176" y="1257302"/>
                    <a:pt x="6068895" y="1242021"/>
                    <a:pt x="6068895" y="1223170"/>
                  </a:cubicBezTo>
                  <a:cubicBezTo>
                    <a:pt x="6068895" y="1204319"/>
                    <a:pt x="6084176" y="1189038"/>
                    <a:pt x="6103027" y="1189038"/>
                  </a:cubicBezTo>
                  <a:close/>
                  <a:moveTo>
                    <a:pt x="6017302" y="1189038"/>
                  </a:moveTo>
                  <a:cubicBezTo>
                    <a:pt x="6036153" y="1189038"/>
                    <a:pt x="6051434" y="1204319"/>
                    <a:pt x="6051434" y="1223170"/>
                  </a:cubicBezTo>
                  <a:cubicBezTo>
                    <a:pt x="6051434" y="1242021"/>
                    <a:pt x="6036153" y="1257302"/>
                    <a:pt x="6017302" y="1257302"/>
                  </a:cubicBezTo>
                  <a:cubicBezTo>
                    <a:pt x="5998451" y="1257302"/>
                    <a:pt x="5983170" y="1242021"/>
                    <a:pt x="5983170" y="1223170"/>
                  </a:cubicBezTo>
                  <a:cubicBezTo>
                    <a:pt x="5983170" y="1204319"/>
                    <a:pt x="5998451" y="1189038"/>
                    <a:pt x="6017302" y="1189038"/>
                  </a:cubicBezTo>
                  <a:close/>
                  <a:moveTo>
                    <a:pt x="5849821" y="1189038"/>
                  </a:moveTo>
                  <a:cubicBezTo>
                    <a:pt x="5869987" y="1189038"/>
                    <a:pt x="5886334" y="1204319"/>
                    <a:pt x="5886334" y="1223170"/>
                  </a:cubicBezTo>
                  <a:cubicBezTo>
                    <a:pt x="5886334" y="1242021"/>
                    <a:pt x="5869987" y="1257302"/>
                    <a:pt x="5849821" y="1257302"/>
                  </a:cubicBezTo>
                  <a:cubicBezTo>
                    <a:pt x="5829655" y="1257302"/>
                    <a:pt x="5813308" y="1242021"/>
                    <a:pt x="5813308" y="1223170"/>
                  </a:cubicBezTo>
                  <a:cubicBezTo>
                    <a:pt x="5813308" y="1204319"/>
                    <a:pt x="5829655" y="1189038"/>
                    <a:pt x="5849821" y="1189038"/>
                  </a:cubicBezTo>
                  <a:close/>
                  <a:moveTo>
                    <a:pt x="5595820" y="1189038"/>
                  </a:moveTo>
                  <a:cubicBezTo>
                    <a:pt x="5615109" y="1189038"/>
                    <a:pt x="5630745" y="1204319"/>
                    <a:pt x="5630745" y="1223170"/>
                  </a:cubicBezTo>
                  <a:cubicBezTo>
                    <a:pt x="5630745" y="1242021"/>
                    <a:pt x="5615109" y="1257302"/>
                    <a:pt x="5595820" y="1257302"/>
                  </a:cubicBezTo>
                  <a:cubicBezTo>
                    <a:pt x="5576531" y="1257302"/>
                    <a:pt x="5560895" y="1242021"/>
                    <a:pt x="5560895" y="1223170"/>
                  </a:cubicBezTo>
                  <a:cubicBezTo>
                    <a:pt x="5560895" y="1204319"/>
                    <a:pt x="5576531" y="1189038"/>
                    <a:pt x="5595820" y="1189038"/>
                  </a:cubicBezTo>
                  <a:close/>
                  <a:moveTo>
                    <a:pt x="5429927" y="1189038"/>
                  </a:moveTo>
                  <a:cubicBezTo>
                    <a:pt x="5448778" y="1189038"/>
                    <a:pt x="5464059" y="1204319"/>
                    <a:pt x="5464059" y="1223170"/>
                  </a:cubicBezTo>
                  <a:cubicBezTo>
                    <a:pt x="5464059" y="1242021"/>
                    <a:pt x="5448778" y="1257302"/>
                    <a:pt x="5429927" y="1257302"/>
                  </a:cubicBezTo>
                  <a:cubicBezTo>
                    <a:pt x="5411076" y="1257302"/>
                    <a:pt x="5395795" y="1242021"/>
                    <a:pt x="5395795" y="1223170"/>
                  </a:cubicBezTo>
                  <a:cubicBezTo>
                    <a:pt x="5395795" y="1204319"/>
                    <a:pt x="5411076" y="1189038"/>
                    <a:pt x="5429927" y="1189038"/>
                  </a:cubicBezTo>
                  <a:close/>
                  <a:moveTo>
                    <a:pt x="5344202" y="1189038"/>
                  </a:moveTo>
                  <a:cubicBezTo>
                    <a:pt x="5363053" y="1189038"/>
                    <a:pt x="5378334" y="1204319"/>
                    <a:pt x="5378334" y="1223170"/>
                  </a:cubicBezTo>
                  <a:cubicBezTo>
                    <a:pt x="5378334" y="1242021"/>
                    <a:pt x="5363053" y="1257302"/>
                    <a:pt x="5344202" y="1257302"/>
                  </a:cubicBezTo>
                  <a:cubicBezTo>
                    <a:pt x="5325351" y="1257302"/>
                    <a:pt x="5310070" y="1242021"/>
                    <a:pt x="5310070" y="1223170"/>
                  </a:cubicBezTo>
                  <a:cubicBezTo>
                    <a:pt x="5310070" y="1204319"/>
                    <a:pt x="5325351" y="1189038"/>
                    <a:pt x="5344202" y="1189038"/>
                  </a:cubicBezTo>
                  <a:close/>
                  <a:moveTo>
                    <a:pt x="5258477" y="1189038"/>
                  </a:moveTo>
                  <a:cubicBezTo>
                    <a:pt x="5277328" y="1189038"/>
                    <a:pt x="5292609" y="1204319"/>
                    <a:pt x="5292609" y="1223170"/>
                  </a:cubicBezTo>
                  <a:cubicBezTo>
                    <a:pt x="5292609" y="1242021"/>
                    <a:pt x="5277328" y="1257302"/>
                    <a:pt x="5258477" y="1257302"/>
                  </a:cubicBezTo>
                  <a:cubicBezTo>
                    <a:pt x="5239626" y="1257302"/>
                    <a:pt x="5224345" y="1242021"/>
                    <a:pt x="5224345" y="1223170"/>
                  </a:cubicBezTo>
                  <a:cubicBezTo>
                    <a:pt x="5224345" y="1204319"/>
                    <a:pt x="5239626" y="1189038"/>
                    <a:pt x="5258477" y="1189038"/>
                  </a:cubicBezTo>
                  <a:close/>
                  <a:moveTo>
                    <a:pt x="3826552" y="1189038"/>
                  </a:moveTo>
                  <a:cubicBezTo>
                    <a:pt x="3845403" y="1189038"/>
                    <a:pt x="3860684" y="1204319"/>
                    <a:pt x="3860684" y="1223170"/>
                  </a:cubicBezTo>
                  <a:cubicBezTo>
                    <a:pt x="3860684" y="1242021"/>
                    <a:pt x="3845403" y="1257302"/>
                    <a:pt x="3826552" y="1257302"/>
                  </a:cubicBezTo>
                  <a:cubicBezTo>
                    <a:pt x="3807701" y="1257302"/>
                    <a:pt x="3792420" y="1242021"/>
                    <a:pt x="3792420" y="1223170"/>
                  </a:cubicBezTo>
                  <a:cubicBezTo>
                    <a:pt x="3792420" y="1204319"/>
                    <a:pt x="3807701" y="1189038"/>
                    <a:pt x="3826552" y="1189038"/>
                  </a:cubicBezTo>
                  <a:close/>
                  <a:moveTo>
                    <a:pt x="3741620" y="1189038"/>
                  </a:moveTo>
                  <a:cubicBezTo>
                    <a:pt x="3760909" y="1189038"/>
                    <a:pt x="3776545" y="1204319"/>
                    <a:pt x="3776545" y="1223170"/>
                  </a:cubicBezTo>
                  <a:cubicBezTo>
                    <a:pt x="3776545" y="1242021"/>
                    <a:pt x="3760909" y="1257302"/>
                    <a:pt x="3741620" y="1257302"/>
                  </a:cubicBezTo>
                  <a:cubicBezTo>
                    <a:pt x="3722331" y="1257302"/>
                    <a:pt x="3706695" y="1242021"/>
                    <a:pt x="3706695" y="1223170"/>
                  </a:cubicBezTo>
                  <a:cubicBezTo>
                    <a:pt x="3706695" y="1204319"/>
                    <a:pt x="3722331" y="1189038"/>
                    <a:pt x="3741620" y="1189038"/>
                  </a:cubicBezTo>
                  <a:close/>
                  <a:moveTo>
                    <a:pt x="3068520" y="1189038"/>
                  </a:moveTo>
                  <a:cubicBezTo>
                    <a:pt x="3087809" y="1189038"/>
                    <a:pt x="3103445" y="1204319"/>
                    <a:pt x="3103445" y="1223170"/>
                  </a:cubicBezTo>
                  <a:cubicBezTo>
                    <a:pt x="3103445" y="1242021"/>
                    <a:pt x="3087809" y="1257302"/>
                    <a:pt x="3068520" y="1257302"/>
                  </a:cubicBezTo>
                  <a:cubicBezTo>
                    <a:pt x="3049231" y="1257302"/>
                    <a:pt x="3033595" y="1242021"/>
                    <a:pt x="3033595" y="1223170"/>
                  </a:cubicBezTo>
                  <a:cubicBezTo>
                    <a:pt x="3033595" y="1204319"/>
                    <a:pt x="3049231" y="1189038"/>
                    <a:pt x="3068520" y="1189038"/>
                  </a:cubicBezTo>
                  <a:close/>
                  <a:moveTo>
                    <a:pt x="2983589" y="1189038"/>
                  </a:moveTo>
                  <a:cubicBezTo>
                    <a:pt x="3002440" y="1189038"/>
                    <a:pt x="3017721" y="1204319"/>
                    <a:pt x="3017721" y="1223170"/>
                  </a:cubicBezTo>
                  <a:cubicBezTo>
                    <a:pt x="3017721" y="1242021"/>
                    <a:pt x="3002440" y="1257302"/>
                    <a:pt x="2983589" y="1257302"/>
                  </a:cubicBezTo>
                  <a:cubicBezTo>
                    <a:pt x="2964738" y="1257302"/>
                    <a:pt x="2949457" y="1242021"/>
                    <a:pt x="2949457" y="1223170"/>
                  </a:cubicBezTo>
                  <a:cubicBezTo>
                    <a:pt x="2949457" y="1204319"/>
                    <a:pt x="2964738" y="1189038"/>
                    <a:pt x="2983589" y="1189038"/>
                  </a:cubicBezTo>
                  <a:close/>
                  <a:moveTo>
                    <a:pt x="2394790" y="1189038"/>
                  </a:moveTo>
                  <a:cubicBezTo>
                    <a:pt x="2413638" y="1189038"/>
                    <a:pt x="2428919" y="1204319"/>
                    <a:pt x="2428919" y="1223170"/>
                  </a:cubicBezTo>
                  <a:cubicBezTo>
                    <a:pt x="2428919" y="1242021"/>
                    <a:pt x="2413638" y="1257302"/>
                    <a:pt x="2394790" y="1257302"/>
                  </a:cubicBezTo>
                  <a:cubicBezTo>
                    <a:pt x="2375933" y="1257302"/>
                    <a:pt x="2360656" y="1242021"/>
                    <a:pt x="2360656" y="1223170"/>
                  </a:cubicBezTo>
                  <a:cubicBezTo>
                    <a:pt x="2360656" y="1204319"/>
                    <a:pt x="2375933" y="1189038"/>
                    <a:pt x="2394790" y="1189038"/>
                  </a:cubicBezTo>
                  <a:close/>
                  <a:moveTo>
                    <a:pt x="2309856" y="1189038"/>
                  </a:moveTo>
                  <a:cubicBezTo>
                    <a:pt x="2329141" y="1189038"/>
                    <a:pt x="2344781" y="1204319"/>
                    <a:pt x="2344781" y="1223170"/>
                  </a:cubicBezTo>
                  <a:cubicBezTo>
                    <a:pt x="2344781" y="1242021"/>
                    <a:pt x="2329141" y="1257302"/>
                    <a:pt x="2309856" y="1257302"/>
                  </a:cubicBezTo>
                  <a:cubicBezTo>
                    <a:pt x="2290564" y="1257302"/>
                    <a:pt x="2274920" y="1242021"/>
                    <a:pt x="2274920" y="1223170"/>
                  </a:cubicBezTo>
                  <a:cubicBezTo>
                    <a:pt x="2274920" y="1204319"/>
                    <a:pt x="2290564" y="1189038"/>
                    <a:pt x="2309856" y="1189038"/>
                  </a:cubicBezTo>
                  <a:close/>
                  <a:moveTo>
                    <a:pt x="2224780" y="1189038"/>
                  </a:moveTo>
                  <a:cubicBezTo>
                    <a:pt x="2243632" y="1189038"/>
                    <a:pt x="2258913" y="1204319"/>
                    <a:pt x="2258913" y="1223170"/>
                  </a:cubicBezTo>
                  <a:cubicBezTo>
                    <a:pt x="2258913" y="1242021"/>
                    <a:pt x="2243632" y="1257302"/>
                    <a:pt x="2224780" y="1257302"/>
                  </a:cubicBezTo>
                  <a:cubicBezTo>
                    <a:pt x="2205929" y="1257302"/>
                    <a:pt x="2190649" y="1242021"/>
                    <a:pt x="2190649" y="1223170"/>
                  </a:cubicBezTo>
                  <a:cubicBezTo>
                    <a:pt x="2190649" y="1204319"/>
                    <a:pt x="2205929" y="1189038"/>
                    <a:pt x="2224780" y="1189038"/>
                  </a:cubicBezTo>
                  <a:close/>
                  <a:moveTo>
                    <a:pt x="2055713" y="1189038"/>
                  </a:moveTo>
                  <a:cubicBezTo>
                    <a:pt x="2075879" y="1189038"/>
                    <a:pt x="2092226" y="1204319"/>
                    <a:pt x="2092226" y="1223170"/>
                  </a:cubicBezTo>
                  <a:cubicBezTo>
                    <a:pt x="2092226" y="1242021"/>
                    <a:pt x="2075879" y="1257302"/>
                    <a:pt x="2055713" y="1257302"/>
                  </a:cubicBezTo>
                  <a:cubicBezTo>
                    <a:pt x="2035547" y="1257302"/>
                    <a:pt x="2019201" y="1242021"/>
                    <a:pt x="2019201" y="1223170"/>
                  </a:cubicBezTo>
                  <a:cubicBezTo>
                    <a:pt x="2019201" y="1204319"/>
                    <a:pt x="2035547" y="1189038"/>
                    <a:pt x="2055713" y="1189038"/>
                  </a:cubicBezTo>
                  <a:close/>
                  <a:moveTo>
                    <a:pt x="1973163" y="1189038"/>
                  </a:moveTo>
                  <a:cubicBezTo>
                    <a:pt x="1992452" y="1189038"/>
                    <a:pt x="2008088" y="1204319"/>
                    <a:pt x="2008088" y="1223170"/>
                  </a:cubicBezTo>
                  <a:cubicBezTo>
                    <a:pt x="2008088" y="1242021"/>
                    <a:pt x="1992452" y="1257302"/>
                    <a:pt x="1973163" y="1257302"/>
                  </a:cubicBezTo>
                  <a:cubicBezTo>
                    <a:pt x="1953875" y="1257302"/>
                    <a:pt x="1938238" y="1242021"/>
                    <a:pt x="1938238" y="1223170"/>
                  </a:cubicBezTo>
                  <a:cubicBezTo>
                    <a:pt x="1938238" y="1204319"/>
                    <a:pt x="1953875" y="1189038"/>
                    <a:pt x="1973163" y="1189038"/>
                  </a:cubicBezTo>
                  <a:close/>
                  <a:moveTo>
                    <a:pt x="1888234" y="1189038"/>
                  </a:moveTo>
                  <a:cubicBezTo>
                    <a:pt x="1907085" y="1189038"/>
                    <a:pt x="1922366" y="1204319"/>
                    <a:pt x="1922366" y="1223170"/>
                  </a:cubicBezTo>
                  <a:cubicBezTo>
                    <a:pt x="1922366" y="1242021"/>
                    <a:pt x="1907085" y="1257302"/>
                    <a:pt x="1888234" y="1257302"/>
                  </a:cubicBezTo>
                  <a:cubicBezTo>
                    <a:pt x="1869383" y="1257302"/>
                    <a:pt x="1854103" y="1242021"/>
                    <a:pt x="1854103" y="1223170"/>
                  </a:cubicBezTo>
                  <a:cubicBezTo>
                    <a:pt x="1854103" y="1204319"/>
                    <a:pt x="1869383" y="1189038"/>
                    <a:pt x="1888234" y="1189038"/>
                  </a:cubicBezTo>
                  <a:close/>
                  <a:moveTo>
                    <a:pt x="1802510" y="1189038"/>
                  </a:moveTo>
                  <a:cubicBezTo>
                    <a:pt x="1821361" y="1189038"/>
                    <a:pt x="1836643" y="1204319"/>
                    <a:pt x="1836643" y="1223170"/>
                  </a:cubicBezTo>
                  <a:cubicBezTo>
                    <a:pt x="1836643" y="1242021"/>
                    <a:pt x="1821361" y="1257302"/>
                    <a:pt x="1802510" y="1257302"/>
                  </a:cubicBezTo>
                  <a:cubicBezTo>
                    <a:pt x="1783659" y="1257302"/>
                    <a:pt x="1768379" y="1242021"/>
                    <a:pt x="1768379" y="1223170"/>
                  </a:cubicBezTo>
                  <a:cubicBezTo>
                    <a:pt x="1768379" y="1204319"/>
                    <a:pt x="1783659" y="1189038"/>
                    <a:pt x="1802510" y="1189038"/>
                  </a:cubicBezTo>
                  <a:close/>
                  <a:moveTo>
                    <a:pt x="1719169" y="1189038"/>
                  </a:moveTo>
                  <a:cubicBezTo>
                    <a:pt x="1739335" y="1189038"/>
                    <a:pt x="1755682" y="1204319"/>
                    <a:pt x="1755682" y="1223170"/>
                  </a:cubicBezTo>
                  <a:cubicBezTo>
                    <a:pt x="1755682" y="1242021"/>
                    <a:pt x="1739335" y="1257302"/>
                    <a:pt x="1719169" y="1257302"/>
                  </a:cubicBezTo>
                  <a:cubicBezTo>
                    <a:pt x="1699003" y="1257302"/>
                    <a:pt x="1682656" y="1242021"/>
                    <a:pt x="1682656" y="1223170"/>
                  </a:cubicBezTo>
                  <a:cubicBezTo>
                    <a:pt x="1682656" y="1204319"/>
                    <a:pt x="1699003" y="1189038"/>
                    <a:pt x="1719169" y="1189038"/>
                  </a:cubicBezTo>
                  <a:close/>
                  <a:moveTo>
                    <a:pt x="1636604" y="1189038"/>
                  </a:moveTo>
                  <a:cubicBezTo>
                    <a:pt x="1655893" y="1189038"/>
                    <a:pt x="1671529" y="1204319"/>
                    <a:pt x="1671529" y="1223170"/>
                  </a:cubicBezTo>
                  <a:cubicBezTo>
                    <a:pt x="1671529" y="1242021"/>
                    <a:pt x="1655893" y="1257302"/>
                    <a:pt x="1636604" y="1257302"/>
                  </a:cubicBezTo>
                  <a:cubicBezTo>
                    <a:pt x="1617315" y="1257302"/>
                    <a:pt x="1601679" y="1242021"/>
                    <a:pt x="1601679" y="1223170"/>
                  </a:cubicBezTo>
                  <a:cubicBezTo>
                    <a:pt x="1601679" y="1204319"/>
                    <a:pt x="1617315" y="1189038"/>
                    <a:pt x="1636604" y="1189038"/>
                  </a:cubicBezTo>
                  <a:close/>
                  <a:moveTo>
                    <a:pt x="1551670" y="1189038"/>
                  </a:moveTo>
                  <a:cubicBezTo>
                    <a:pt x="1570521" y="1189038"/>
                    <a:pt x="1585803" y="1204319"/>
                    <a:pt x="1585803" y="1223170"/>
                  </a:cubicBezTo>
                  <a:cubicBezTo>
                    <a:pt x="1585803" y="1242021"/>
                    <a:pt x="1570521" y="1257302"/>
                    <a:pt x="1551670" y="1257302"/>
                  </a:cubicBezTo>
                  <a:cubicBezTo>
                    <a:pt x="1532819" y="1257302"/>
                    <a:pt x="1517539" y="1242021"/>
                    <a:pt x="1517539" y="1223170"/>
                  </a:cubicBezTo>
                  <a:cubicBezTo>
                    <a:pt x="1517539" y="1204319"/>
                    <a:pt x="1532819" y="1189038"/>
                    <a:pt x="1551670" y="1189038"/>
                  </a:cubicBezTo>
                  <a:close/>
                  <a:moveTo>
                    <a:pt x="1465953" y="1189038"/>
                  </a:moveTo>
                  <a:cubicBezTo>
                    <a:pt x="1484804" y="1189038"/>
                    <a:pt x="1500086" y="1204319"/>
                    <a:pt x="1500086" y="1223170"/>
                  </a:cubicBezTo>
                  <a:cubicBezTo>
                    <a:pt x="1500086" y="1242021"/>
                    <a:pt x="1484804" y="1257302"/>
                    <a:pt x="1465953" y="1257302"/>
                  </a:cubicBezTo>
                  <a:cubicBezTo>
                    <a:pt x="1447102" y="1257302"/>
                    <a:pt x="1431821" y="1242021"/>
                    <a:pt x="1431821" y="1223170"/>
                  </a:cubicBezTo>
                  <a:cubicBezTo>
                    <a:pt x="1431821" y="1204319"/>
                    <a:pt x="1447102" y="1189038"/>
                    <a:pt x="1465953" y="1189038"/>
                  </a:cubicBezTo>
                  <a:close/>
                  <a:moveTo>
                    <a:pt x="1380392" y="1189038"/>
                  </a:moveTo>
                  <a:cubicBezTo>
                    <a:pt x="1399243" y="1189038"/>
                    <a:pt x="1414522" y="1204319"/>
                    <a:pt x="1414522" y="1223170"/>
                  </a:cubicBezTo>
                  <a:cubicBezTo>
                    <a:pt x="1414522" y="1242021"/>
                    <a:pt x="1399243" y="1257302"/>
                    <a:pt x="1380392" y="1257302"/>
                  </a:cubicBezTo>
                  <a:cubicBezTo>
                    <a:pt x="1361539" y="1257302"/>
                    <a:pt x="1346258" y="1242021"/>
                    <a:pt x="1346258" y="1223170"/>
                  </a:cubicBezTo>
                  <a:cubicBezTo>
                    <a:pt x="1346258" y="1204319"/>
                    <a:pt x="1361539" y="1189038"/>
                    <a:pt x="1380392" y="1189038"/>
                  </a:cubicBezTo>
                  <a:close/>
                  <a:moveTo>
                    <a:pt x="1300222" y="1189038"/>
                  </a:moveTo>
                  <a:cubicBezTo>
                    <a:pt x="1319509" y="1189038"/>
                    <a:pt x="1335148" y="1204319"/>
                    <a:pt x="1335148" y="1223170"/>
                  </a:cubicBezTo>
                  <a:cubicBezTo>
                    <a:pt x="1335148" y="1242021"/>
                    <a:pt x="1319509" y="1257302"/>
                    <a:pt x="1300222" y="1257302"/>
                  </a:cubicBezTo>
                  <a:cubicBezTo>
                    <a:pt x="1280933" y="1257302"/>
                    <a:pt x="1265297" y="1242021"/>
                    <a:pt x="1265297" y="1223170"/>
                  </a:cubicBezTo>
                  <a:cubicBezTo>
                    <a:pt x="1265297" y="1204319"/>
                    <a:pt x="1280933" y="1189038"/>
                    <a:pt x="1300222" y="1189038"/>
                  </a:cubicBezTo>
                  <a:close/>
                  <a:moveTo>
                    <a:pt x="284840" y="1189038"/>
                  </a:moveTo>
                  <a:cubicBezTo>
                    <a:pt x="303691" y="1189038"/>
                    <a:pt x="318971" y="1204319"/>
                    <a:pt x="318971" y="1223170"/>
                  </a:cubicBezTo>
                  <a:cubicBezTo>
                    <a:pt x="318971" y="1242021"/>
                    <a:pt x="303691" y="1257302"/>
                    <a:pt x="284840" y="1257302"/>
                  </a:cubicBezTo>
                  <a:cubicBezTo>
                    <a:pt x="265988" y="1257302"/>
                    <a:pt x="250707" y="1242021"/>
                    <a:pt x="250707" y="1223170"/>
                  </a:cubicBezTo>
                  <a:cubicBezTo>
                    <a:pt x="250707" y="1204319"/>
                    <a:pt x="265988" y="1189038"/>
                    <a:pt x="284840" y="1189038"/>
                  </a:cubicBezTo>
                  <a:close/>
                  <a:moveTo>
                    <a:pt x="202289" y="1189038"/>
                  </a:moveTo>
                  <a:cubicBezTo>
                    <a:pt x="222893" y="1189038"/>
                    <a:pt x="239596" y="1204319"/>
                    <a:pt x="239596" y="1223170"/>
                  </a:cubicBezTo>
                  <a:cubicBezTo>
                    <a:pt x="239596" y="1242021"/>
                    <a:pt x="222893" y="1257302"/>
                    <a:pt x="202289" y="1257302"/>
                  </a:cubicBezTo>
                  <a:cubicBezTo>
                    <a:pt x="181685" y="1257302"/>
                    <a:pt x="164982" y="1242021"/>
                    <a:pt x="164982" y="1223170"/>
                  </a:cubicBezTo>
                  <a:cubicBezTo>
                    <a:pt x="164982" y="1204319"/>
                    <a:pt x="181685" y="1189038"/>
                    <a:pt x="202289" y="1189038"/>
                  </a:cubicBezTo>
                  <a:close/>
                  <a:moveTo>
                    <a:pt x="118945" y="1189038"/>
                  </a:moveTo>
                  <a:cubicBezTo>
                    <a:pt x="138234" y="1189038"/>
                    <a:pt x="153870" y="1204319"/>
                    <a:pt x="153870" y="1223170"/>
                  </a:cubicBezTo>
                  <a:cubicBezTo>
                    <a:pt x="153870" y="1242021"/>
                    <a:pt x="138234" y="1257302"/>
                    <a:pt x="118945" y="1257302"/>
                  </a:cubicBezTo>
                  <a:cubicBezTo>
                    <a:pt x="99656" y="1257302"/>
                    <a:pt x="84020" y="1242021"/>
                    <a:pt x="84020" y="1223170"/>
                  </a:cubicBezTo>
                  <a:cubicBezTo>
                    <a:pt x="84020" y="1204319"/>
                    <a:pt x="99656" y="1189038"/>
                    <a:pt x="118945" y="1189038"/>
                  </a:cubicBezTo>
                  <a:close/>
                  <a:moveTo>
                    <a:pt x="34131" y="1189038"/>
                  </a:moveTo>
                  <a:cubicBezTo>
                    <a:pt x="52982" y="1189038"/>
                    <a:pt x="68265" y="1204319"/>
                    <a:pt x="68265" y="1223170"/>
                  </a:cubicBezTo>
                  <a:cubicBezTo>
                    <a:pt x="68265" y="1242021"/>
                    <a:pt x="52982" y="1257302"/>
                    <a:pt x="34131" y="1257302"/>
                  </a:cubicBezTo>
                  <a:cubicBezTo>
                    <a:pt x="15281" y="1257302"/>
                    <a:pt x="0" y="1242021"/>
                    <a:pt x="0" y="1223170"/>
                  </a:cubicBezTo>
                  <a:cubicBezTo>
                    <a:pt x="0" y="1204319"/>
                    <a:pt x="15281" y="1189038"/>
                    <a:pt x="34131" y="1189038"/>
                  </a:cubicBezTo>
                  <a:close/>
                  <a:moveTo>
                    <a:pt x="9725702" y="1101725"/>
                  </a:moveTo>
                  <a:cubicBezTo>
                    <a:pt x="9744553" y="1101725"/>
                    <a:pt x="9759834" y="1117361"/>
                    <a:pt x="9759834" y="1136650"/>
                  </a:cubicBezTo>
                  <a:cubicBezTo>
                    <a:pt x="9759834" y="1155939"/>
                    <a:pt x="9744553" y="1171575"/>
                    <a:pt x="9725702" y="1171575"/>
                  </a:cubicBezTo>
                  <a:cubicBezTo>
                    <a:pt x="9706851" y="1171575"/>
                    <a:pt x="9691570" y="1155939"/>
                    <a:pt x="9691570" y="1136650"/>
                  </a:cubicBezTo>
                  <a:cubicBezTo>
                    <a:pt x="9691570" y="1117361"/>
                    <a:pt x="9706851" y="1101725"/>
                    <a:pt x="9725702" y="1101725"/>
                  </a:cubicBezTo>
                  <a:close/>
                  <a:moveTo>
                    <a:pt x="9560602" y="1101725"/>
                  </a:moveTo>
                  <a:cubicBezTo>
                    <a:pt x="9579453" y="1101725"/>
                    <a:pt x="9594734" y="1117361"/>
                    <a:pt x="9594734" y="1136650"/>
                  </a:cubicBezTo>
                  <a:cubicBezTo>
                    <a:pt x="9594734" y="1155939"/>
                    <a:pt x="9579453" y="1171575"/>
                    <a:pt x="9560602" y="1171575"/>
                  </a:cubicBezTo>
                  <a:cubicBezTo>
                    <a:pt x="9541751" y="1171575"/>
                    <a:pt x="9526470" y="1155939"/>
                    <a:pt x="9526470" y="1136650"/>
                  </a:cubicBezTo>
                  <a:cubicBezTo>
                    <a:pt x="9526470" y="1117361"/>
                    <a:pt x="9541751" y="1101725"/>
                    <a:pt x="9560602" y="1101725"/>
                  </a:cubicBezTo>
                  <a:close/>
                  <a:moveTo>
                    <a:pt x="9474877" y="1101725"/>
                  </a:moveTo>
                  <a:cubicBezTo>
                    <a:pt x="9493728" y="1101725"/>
                    <a:pt x="9509009" y="1117361"/>
                    <a:pt x="9509009" y="1136650"/>
                  </a:cubicBezTo>
                  <a:cubicBezTo>
                    <a:pt x="9509009" y="1155939"/>
                    <a:pt x="9493728" y="1171575"/>
                    <a:pt x="9474877" y="1171575"/>
                  </a:cubicBezTo>
                  <a:cubicBezTo>
                    <a:pt x="9456026" y="1171575"/>
                    <a:pt x="9440745" y="1155939"/>
                    <a:pt x="9440745" y="1136650"/>
                  </a:cubicBezTo>
                  <a:cubicBezTo>
                    <a:pt x="9440745" y="1117361"/>
                    <a:pt x="9456026" y="1101725"/>
                    <a:pt x="9474877" y="1101725"/>
                  </a:cubicBezTo>
                  <a:close/>
                  <a:moveTo>
                    <a:pt x="9389152" y="1101725"/>
                  </a:moveTo>
                  <a:cubicBezTo>
                    <a:pt x="9408003" y="1101725"/>
                    <a:pt x="9423284" y="1117361"/>
                    <a:pt x="9423284" y="1136650"/>
                  </a:cubicBezTo>
                  <a:cubicBezTo>
                    <a:pt x="9423284" y="1155939"/>
                    <a:pt x="9408003" y="1171575"/>
                    <a:pt x="9389152" y="1171575"/>
                  </a:cubicBezTo>
                  <a:cubicBezTo>
                    <a:pt x="9370301" y="1171575"/>
                    <a:pt x="9355020" y="1155939"/>
                    <a:pt x="9355020" y="1136650"/>
                  </a:cubicBezTo>
                  <a:cubicBezTo>
                    <a:pt x="9355020" y="1117361"/>
                    <a:pt x="9370301" y="1101725"/>
                    <a:pt x="9389152" y="1101725"/>
                  </a:cubicBezTo>
                  <a:close/>
                  <a:moveTo>
                    <a:pt x="8801777" y="1101725"/>
                  </a:moveTo>
                  <a:cubicBezTo>
                    <a:pt x="8820628" y="1101725"/>
                    <a:pt x="8835909" y="1117361"/>
                    <a:pt x="8835909" y="1136650"/>
                  </a:cubicBezTo>
                  <a:cubicBezTo>
                    <a:pt x="8835909" y="1155939"/>
                    <a:pt x="8820628" y="1171575"/>
                    <a:pt x="8801777" y="1171575"/>
                  </a:cubicBezTo>
                  <a:cubicBezTo>
                    <a:pt x="8782926" y="1171575"/>
                    <a:pt x="8767645" y="1155939"/>
                    <a:pt x="8767645" y="1136650"/>
                  </a:cubicBezTo>
                  <a:cubicBezTo>
                    <a:pt x="8767645" y="1117361"/>
                    <a:pt x="8782926" y="1101725"/>
                    <a:pt x="8801777" y="1101725"/>
                  </a:cubicBezTo>
                  <a:close/>
                  <a:moveTo>
                    <a:pt x="8716052" y="1101725"/>
                  </a:moveTo>
                  <a:cubicBezTo>
                    <a:pt x="8734903" y="1101725"/>
                    <a:pt x="8750184" y="1117361"/>
                    <a:pt x="8750184" y="1136650"/>
                  </a:cubicBezTo>
                  <a:cubicBezTo>
                    <a:pt x="8750184" y="1155939"/>
                    <a:pt x="8734903" y="1171575"/>
                    <a:pt x="8716052" y="1171575"/>
                  </a:cubicBezTo>
                  <a:cubicBezTo>
                    <a:pt x="8697201" y="1171575"/>
                    <a:pt x="8681920" y="1155939"/>
                    <a:pt x="8681920" y="1136650"/>
                  </a:cubicBezTo>
                  <a:cubicBezTo>
                    <a:pt x="8681920" y="1117361"/>
                    <a:pt x="8697201" y="1101725"/>
                    <a:pt x="8716052" y="1101725"/>
                  </a:cubicBezTo>
                  <a:close/>
                  <a:moveTo>
                    <a:pt x="8630327" y="1101725"/>
                  </a:moveTo>
                  <a:cubicBezTo>
                    <a:pt x="8649178" y="1101725"/>
                    <a:pt x="8664459" y="1117361"/>
                    <a:pt x="8664459" y="1136650"/>
                  </a:cubicBezTo>
                  <a:cubicBezTo>
                    <a:pt x="8664459" y="1155939"/>
                    <a:pt x="8649178" y="1171575"/>
                    <a:pt x="8630327" y="1171575"/>
                  </a:cubicBezTo>
                  <a:cubicBezTo>
                    <a:pt x="8611476" y="1171575"/>
                    <a:pt x="8596195" y="1155939"/>
                    <a:pt x="8596195" y="1136650"/>
                  </a:cubicBezTo>
                  <a:cubicBezTo>
                    <a:pt x="8596195" y="1117361"/>
                    <a:pt x="8611476" y="1101725"/>
                    <a:pt x="8630327" y="1101725"/>
                  </a:cubicBezTo>
                  <a:close/>
                  <a:moveTo>
                    <a:pt x="8544602" y="1101725"/>
                  </a:moveTo>
                  <a:cubicBezTo>
                    <a:pt x="8563453" y="1101725"/>
                    <a:pt x="8578734" y="1117361"/>
                    <a:pt x="8578734" y="1136650"/>
                  </a:cubicBezTo>
                  <a:cubicBezTo>
                    <a:pt x="8578734" y="1155939"/>
                    <a:pt x="8563453" y="1171575"/>
                    <a:pt x="8544602" y="1171575"/>
                  </a:cubicBezTo>
                  <a:cubicBezTo>
                    <a:pt x="8525751" y="1171575"/>
                    <a:pt x="8510470" y="1155939"/>
                    <a:pt x="8510470" y="1136650"/>
                  </a:cubicBezTo>
                  <a:cubicBezTo>
                    <a:pt x="8510470" y="1117361"/>
                    <a:pt x="8525751" y="1101725"/>
                    <a:pt x="8544602" y="1101725"/>
                  </a:cubicBezTo>
                  <a:close/>
                  <a:moveTo>
                    <a:pt x="8465227" y="1101725"/>
                  </a:moveTo>
                  <a:cubicBezTo>
                    <a:pt x="8484078" y="1101725"/>
                    <a:pt x="8499359" y="1117361"/>
                    <a:pt x="8499359" y="1136650"/>
                  </a:cubicBezTo>
                  <a:cubicBezTo>
                    <a:pt x="8499359" y="1155939"/>
                    <a:pt x="8484078" y="1171575"/>
                    <a:pt x="8465227" y="1171575"/>
                  </a:cubicBezTo>
                  <a:cubicBezTo>
                    <a:pt x="8446376" y="1171575"/>
                    <a:pt x="8431095" y="1155939"/>
                    <a:pt x="8431095" y="1136650"/>
                  </a:cubicBezTo>
                  <a:cubicBezTo>
                    <a:pt x="8431095" y="1117361"/>
                    <a:pt x="8446376" y="1101725"/>
                    <a:pt x="8465227" y="1101725"/>
                  </a:cubicBezTo>
                  <a:close/>
                  <a:moveTo>
                    <a:pt x="8379502" y="1101725"/>
                  </a:moveTo>
                  <a:cubicBezTo>
                    <a:pt x="8398353" y="1101725"/>
                    <a:pt x="8413634" y="1117361"/>
                    <a:pt x="8413634" y="1136650"/>
                  </a:cubicBezTo>
                  <a:cubicBezTo>
                    <a:pt x="8413634" y="1155939"/>
                    <a:pt x="8398353" y="1171575"/>
                    <a:pt x="8379502" y="1171575"/>
                  </a:cubicBezTo>
                  <a:cubicBezTo>
                    <a:pt x="8360651" y="1171575"/>
                    <a:pt x="8345370" y="1155939"/>
                    <a:pt x="8345370" y="1136650"/>
                  </a:cubicBezTo>
                  <a:cubicBezTo>
                    <a:pt x="8345370" y="1117361"/>
                    <a:pt x="8360651" y="1101725"/>
                    <a:pt x="8379502" y="1101725"/>
                  </a:cubicBezTo>
                  <a:close/>
                  <a:moveTo>
                    <a:pt x="8293777" y="1101725"/>
                  </a:moveTo>
                  <a:cubicBezTo>
                    <a:pt x="8312628" y="1101725"/>
                    <a:pt x="8327909" y="1117361"/>
                    <a:pt x="8327909" y="1136650"/>
                  </a:cubicBezTo>
                  <a:cubicBezTo>
                    <a:pt x="8327909" y="1155939"/>
                    <a:pt x="8312628" y="1171575"/>
                    <a:pt x="8293777" y="1171575"/>
                  </a:cubicBezTo>
                  <a:cubicBezTo>
                    <a:pt x="8274926" y="1171575"/>
                    <a:pt x="8259645" y="1155939"/>
                    <a:pt x="8259645" y="1136650"/>
                  </a:cubicBezTo>
                  <a:cubicBezTo>
                    <a:pt x="8259645" y="1117361"/>
                    <a:pt x="8274926" y="1101725"/>
                    <a:pt x="8293777" y="1101725"/>
                  </a:cubicBezTo>
                  <a:close/>
                  <a:moveTo>
                    <a:pt x="8208052" y="1101725"/>
                  </a:moveTo>
                  <a:cubicBezTo>
                    <a:pt x="8226903" y="1101725"/>
                    <a:pt x="8242184" y="1117361"/>
                    <a:pt x="8242184" y="1136650"/>
                  </a:cubicBezTo>
                  <a:cubicBezTo>
                    <a:pt x="8242184" y="1155939"/>
                    <a:pt x="8226903" y="1171575"/>
                    <a:pt x="8208052" y="1171575"/>
                  </a:cubicBezTo>
                  <a:cubicBezTo>
                    <a:pt x="8189201" y="1171575"/>
                    <a:pt x="8173920" y="1155939"/>
                    <a:pt x="8173920" y="1136650"/>
                  </a:cubicBezTo>
                  <a:cubicBezTo>
                    <a:pt x="8173920" y="1117361"/>
                    <a:pt x="8189201" y="1101725"/>
                    <a:pt x="8208052" y="1101725"/>
                  </a:cubicBezTo>
                  <a:close/>
                  <a:moveTo>
                    <a:pt x="8125502" y="1101725"/>
                  </a:moveTo>
                  <a:cubicBezTo>
                    <a:pt x="8146106" y="1101725"/>
                    <a:pt x="8162809" y="1117361"/>
                    <a:pt x="8162809" y="1136650"/>
                  </a:cubicBezTo>
                  <a:cubicBezTo>
                    <a:pt x="8162809" y="1155939"/>
                    <a:pt x="8146106" y="1171575"/>
                    <a:pt x="8125502" y="1171575"/>
                  </a:cubicBezTo>
                  <a:cubicBezTo>
                    <a:pt x="8104898" y="1171575"/>
                    <a:pt x="8088195" y="1155939"/>
                    <a:pt x="8088195" y="1136650"/>
                  </a:cubicBezTo>
                  <a:cubicBezTo>
                    <a:pt x="8088195" y="1117361"/>
                    <a:pt x="8104898" y="1101725"/>
                    <a:pt x="8125502" y="1101725"/>
                  </a:cubicBezTo>
                  <a:close/>
                  <a:moveTo>
                    <a:pt x="8042952" y="1101725"/>
                  </a:moveTo>
                  <a:cubicBezTo>
                    <a:pt x="8061803" y="1101725"/>
                    <a:pt x="8077084" y="1117361"/>
                    <a:pt x="8077084" y="1136650"/>
                  </a:cubicBezTo>
                  <a:cubicBezTo>
                    <a:pt x="8077084" y="1155939"/>
                    <a:pt x="8061803" y="1171575"/>
                    <a:pt x="8042952" y="1171575"/>
                  </a:cubicBezTo>
                  <a:cubicBezTo>
                    <a:pt x="8024101" y="1171575"/>
                    <a:pt x="8008820" y="1155939"/>
                    <a:pt x="8008820" y="1136650"/>
                  </a:cubicBezTo>
                  <a:cubicBezTo>
                    <a:pt x="8008820" y="1117361"/>
                    <a:pt x="8024101" y="1101725"/>
                    <a:pt x="8042952" y="1101725"/>
                  </a:cubicBezTo>
                  <a:close/>
                  <a:moveTo>
                    <a:pt x="7957227" y="1101725"/>
                  </a:moveTo>
                  <a:cubicBezTo>
                    <a:pt x="7976078" y="1101725"/>
                    <a:pt x="7991359" y="1117361"/>
                    <a:pt x="7991359" y="1136650"/>
                  </a:cubicBezTo>
                  <a:cubicBezTo>
                    <a:pt x="7991359" y="1155939"/>
                    <a:pt x="7976078" y="1171575"/>
                    <a:pt x="7957227" y="1171575"/>
                  </a:cubicBezTo>
                  <a:cubicBezTo>
                    <a:pt x="7938376" y="1171575"/>
                    <a:pt x="7923095" y="1155939"/>
                    <a:pt x="7923095" y="1136650"/>
                  </a:cubicBezTo>
                  <a:cubicBezTo>
                    <a:pt x="7923095" y="1117361"/>
                    <a:pt x="7938376" y="1101725"/>
                    <a:pt x="7957227" y="1101725"/>
                  </a:cubicBezTo>
                  <a:close/>
                  <a:moveTo>
                    <a:pt x="7871502" y="1101725"/>
                  </a:moveTo>
                  <a:cubicBezTo>
                    <a:pt x="7890353" y="1101725"/>
                    <a:pt x="7905634" y="1117361"/>
                    <a:pt x="7905634" y="1136650"/>
                  </a:cubicBezTo>
                  <a:cubicBezTo>
                    <a:pt x="7905634" y="1155939"/>
                    <a:pt x="7890353" y="1171575"/>
                    <a:pt x="7871502" y="1171575"/>
                  </a:cubicBezTo>
                  <a:cubicBezTo>
                    <a:pt x="7852651" y="1171575"/>
                    <a:pt x="7837370" y="1155939"/>
                    <a:pt x="7837370" y="1136650"/>
                  </a:cubicBezTo>
                  <a:cubicBezTo>
                    <a:pt x="7837370" y="1117361"/>
                    <a:pt x="7852651" y="1101725"/>
                    <a:pt x="7871502" y="1101725"/>
                  </a:cubicBezTo>
                  <a:close/>
                  <a:moveTo>
                    <a:pt x="7785777" y="1101725"/>
                  </a:moveTo>
                  <a:cubicBezTo>
                    <a:pt x="7804628" y="1101725"/>
                    <a:pt x="7819909" y="1117361"/>
                    <a:pt x="7819909" y="1136650"/>
                  </a:cubicBezTo>
                  <a:cubicBezTo>
                    <a:pt x="7819909" y="1155939"/>
                    <a:pt x="7804628" y="1171575"/>
                    <a:pt x="7785777" y="1171575"/>
                  </a:cubicBezTo>
                  <a:cubicBezTo>
                    <a:pt x="7766926" y="1171575"/>
                    <a:pt x="7751645" y="1155939"/>
                    <a:pt x="7751645" y="1136650"/>
                  </a:cubicBezTo>
                  <a:cubicBezTo>
                    <a:pt x="7751645" y="1117361"/>
                    <a:pt x="7766926" y="1101725"/>
                    <a:pt x="7785777" y="1101725"/>
                  </a:cubicBezTo>
                  <a:close/>
                  <a:moveTo>
                    <a:pt x="7706402" y="1101725"/>
                  </a:moveTo>
                  <a:cubicBezTo>
                    <a:pt x="7725253" y="1101725"/>
                    <a:pt x="7740534" y="1117361"/>
                    <a:pt x="7740534" y="1136650"/>
                  </a:cubicBezTo>
                  <a:cubicBezTo>
                    <a:pt x="7740534" y="1155939"/>
                    <a:pt x="7725253" y="1171575"/>
                    <a:pt x="7706402" y="1171575"/>
                  </a:cubicBezTo>
                  <a:cubicBezTo>
                    <a:pt x="7687551" y="1171575"/>
                    <a:pt x="7672270" y="1155939"/>
                    <a:pt x="7672270" y="1136650"/>
                  </a:cubicBezTo>
                  <a:cubicBezTo>
                    <a:pt x="7672270" y="1117361"/>
                    <a:pt x="7687551" y="1101725"/>
                    <a:pt x="7706402" y="1101725"/>
                  </a:cubicBezTo>
                  <a:close/>
                  <a:moveTo>
                    <a:pt x="7620677" y="1101725"/>
                  </a:moveTo>
                  <a:cubicBezTo>
                    <a:pt x="7639528" y="1101725"/>
                    <a:pt x="7654809" y="1117361"/>
                    <a:pt x="7654809" y="1136650"/>
                  </a:cubicBezTo>
                  <a:cubicBezTo>
                    <a:pt x="7654809" y="1155939"/>
                    <a:pt x="7639528" y="1171575"/>
                    <a:pt x="7620677" y="1171575"/>
                  </a:cubicBezTo>
                  <a:cubicBezTo>
                    <a:pt x="7601826" y="1171575"/>
                    <a:pt x="7586545" y="1155939"/>
                    <a:pt x="7586545" y="1136650"/>
                  </a:cubicBezTo>
                  <a:cubicBezTo>
                    <a:pt x="7586545" y="1117361"/>
                    <a:pt x="7601826" y="1101725"/>
                    <a:pt x="7620677" y="1101725"/>
                  </a:cubicBezTo>
                  <a:close/>
                  <a:moveTo>
                    <a:pt x="7534952" y="1101725"/>
                  </a:moveTo>
                  <a:cubicBezTo>
                    <a:pt x="7553803" y="1101725"/>
                    <a:pt x="7569084" y="1117361"/>
                    <a:pt x="7569084" y="1136650"/>
                  </a:cubicBezTo>
                  <a:cubicBezTo>
                    <a:pt x="7569084" y="1155939"/>
                    <a:pt x="7553803" y="1171575"/>
                    <a:pt x="7534952" y="1171575"/>
                  </a:cubicBezTo>
                  <a:cubicBezTo>
                    <a:pt x="7516101" y="1171575"/>
                    <a:pt x="7500820" y="1155939"/>
                    <a:pt x="7500820" y="1136650"/>
                  </a:cubicBezTo>
                  <a:cubicBezTo>
                    <a:pt x="7500820" y="1117361"/>
                    <a:pt x="7516101" y="1101725"/>
                    <a:pt x="7534952" y="1101725"/>
                  </a:cubicBezTo>
                  <a:close/>
                  <a:moveTo>
                    <a:pt x="7449227" y="1101725"/>
                  </a:moveTo>
                  <a:cubicBezTo>
                    <a:pt x="7468078" y="1101725"/>
                    <a:pt x="7483359" y="1117361"/>
                    <a:pt x="7483359" y="1136650"/>
                  </a:cubicBezTo>
                  <a:cubicBezTo>
                    <a:pt x="7483359" y="1155939"/>
                    <a:pt x="7468078" y="1171575"/>
                    <a:pt x="7449227" y="1171575"/>
                  </a:cubicBezTo>
                  <a:cubicBezTo>
                    <a:pt x="7430376" y="1171575"/>
                    <a:pt x="7415095" y="1155939"/>
                    <a:pt x="7415095" y="1136650"/>
                  </a:cubicBezTo>
                  <a:cubicBezTo>
                    <a:pt x="7415095" y="1117361"/>
                    <a:pt x="7430376" y="1101725"/>
                    <a:pt x="7449227" y="1101725"/>
                  </a:cubicBezTo>
                  <a:close/>
                  <a:moveTo>
                    <a:pt x="7366677" y="1101725"/>
                  </a:moveTo>
                  <a:cubicBezTo>
                    <a:pt x="7387281" y="1101725"/>
                    <a:pt x="7403984" y="1117361"/>
                    <a:pt x="7403984" y="1136650"/>
                  </a:cubicBezTo>
                  <a:cubicBezTo>
                    <a:pt x="7403984" y="1155939"/>
                    <a:pt x="7387281" y="1171575"/>
                    <a:pt x="7366677" y="1171575"/>
                  </a:cubicBezTo>
                  <a:cubicBezTo>
                    <a:pt x="7346073" y="1171575"/>
                    <a:pt x="7329370" y="1155939"/>
                    <a:pt x="7329370" y="1136650"/>
                  </a:cubicBezTo>
                  <a:cubicBezTo>
                    <a:pt x="7329370" y="1117361"/>
                    <a:pt x="7346073" y="1101725"/>
                    <a:pt x="7366677" y="1101725"/>
                  </a:cubicBezTo>
                  <a:close/>
                  <a:moveTo>
                    <a:pt x="7284127" y="1101725"/>
                  </a:moveTo>
                  <a:cubicBezTo>
                    <a:pt x="7302978" y="1101725"/>
                    <a:pt x="7318259" y="1117361"/>
                    <a:pt x="7318259" y="1136650"/>
                  </a:cubicBezTo>
                  <a:cubicBezTo>
                    <a:pt x="7318259" y="1155939"/>
                    <a:pt x="7302978" y="1171575"/>
                    <a:pt x="7284127" y="1171575"/>
                  </a:cubicBezTo>
                  <a:cubicBezTo>
                    <a:pt x="7265276" y="1171575"/>
                    <a:pt x="7249995" y="1155939"/>
                    <a:pt x="7249995" y="1136650"/>
                  </a:cubicBezTo>
                  <a:cubicBezTo>
                    <a:pt x="7249995" y="1117361"/>
                    <a:pt x="7265276" y="1101725"/>
                    <a:pt x="7284127" y="1101725"/>
                  </a:cubicBezTo>
                  <a:close/>
                  <a:moveTo>
                    <a:pt x="7198402" y="1101725"/>
                  </a:moveTo>
                  <a:cubicBezTo>
                    <a:pt x="7217253" y="1101725"/>
                    <a:pt x="7232534" y="1117361"/>
                    <a:pt x="7232534" y="1136650"/>
                  </a:cubicBezTo>
                  <a:cubicBezTo>
                    <a:pt x="7232534" y="1155939"/>
                    <a:pt x="7217253" y="1171575"/>
                    <a:pt x="7198402" y="1171575"/>
                  </a:cubicBezTo>
                  <a:cubicBezTo>
                    <a:pt x="7179551" y="1171575"/>
                    <a:pt x="7164270" y="1155939"/>
                    <a:pt x="7164270" y="1136650"/>
                  </a:cubicBezTo>
                  <a:cubicBezTo>
                    <a:pt x="7164270" y="1117361"/>
                    <a:pt x="7179551" y="1101725"/>
                    <a:pt x="7198402" y="1101725"/>
                  </a:cubicBezTo>
                  <a:close/>
                  <a:moveTo>
                    <a:pt x="7112677" y="1101725"/>
                  </a:moveTo>
                  <a:cubicBezTo>
                    <a:pt x="7131528" y="1101725"/>
                    <a:pt x="7146809" y="1117361"/>
                    <a:pt x="7146809" y="1136650"/>
                  </a:cubicBezTo>
                  <a:cubicBezTo>
                    <a:pt x="7146809" y="1155939"/>
                    <a:pt x="7131528" y="1171575"/>
                    <a:pt x="7112677" y="1171575"/>
                  </a:cubicBezTo>
                  <a:cubicBezTo>
                    <a:pt x="7093826" y="1171575"/>
                    <a:pt x="7078545" y="1155939"/>
                    <a:pt x="7078545" y="1136650"/>
                  </a:cubicBezTo>
                  <a:cubicBezTo>
                    <a:pt x="7078545" y="1117361"/>
                    <a:pt x="7093826" y="1101725"/>
                    <a:pt x="7112677" y="1101725"/>
                  </a:cubicBezTo>
                  <a:close/>
                  <a:moveTo>
                    <a:pt x="7027745" y="1101725"/>
                  </a:moveTo>
                  <a:cubicBezTo>
                    <a:pt x="7047034" y="1101725"/>
                    <a:pt x="7062670" y="1117361"/>
                    <a:pt x="7062670" y="1136650"/>
                  </a:cubicBezTo>
                  <a:cubicBezTo>
                    <a:pt x="7062670" y="1155939"/>
                    <a:pt x="7047034" y="1171575"/>
                    <a:pt x="7027745" y="1171575"/>
                  </a:cubicBezTo>
                  <a:cubicBezTo>
                    <a:pt x="7008456" y="1171575"/>
                    <a:pt x="6992820" y="1155939"/>
                    <a:pt x="6992820" y="1136650"/>
                  </a:cubicBezTo>
                  <a:cubicBezTo>
                    <a:pt x="6992820" y="1117361"/>
                    <a:pt x="7008456" y="1101725"/>
                    <a:pt x="7027745" y="1101725"/>
                  </a:cubicBezTo>
                  <a:close/>
                  <a:moveTo>
                    <a:pt x="6947577" y="1101725"/>
                  </a:moveTo>
                  <a:cubicBezTo>
                    <a:pt x="6966428" y="1101725"/>
                    <a:pt x="6981709" y="1117361"/>
                    <a:pt x="6981709" y="1136650"/>
                  </a:cubicBezTo>
                  <a:cubicBezTo>
                    <a:pt x="6981709" y="1155939"/>
                    <a:pt x="6966428" y="1171575"/>
                    <a:pt x="6947577" y="1171575"/>
                  </a:cubicBezTo>
                  <a:cubicBezTo>
                    <a:pt x="6928726" y="1171575"/>
                    <a:pt x="6913445" y="1155939"/>
                    <a:pt x="6913445" y="1136650"/>
                  </a:cubicBezTo>
                  <a:cubicBezTo>
                    <a:pt x="6913445" y="1117361"/>
                    <a:pt x="6928726" y="1101725"/>
                    <a:pt x="6947577" y="1101725"/>
                  </a:cubicBezTo>
                  <a:close/>
                  <a:moveTo>
                    <a:pt x="6861852" y="1101725"/>
                  </a:moveTo>
                  <a:cubicBezTo>
                    <a:pt x="6880703" y="1101725"/>
                    <a:pt x="6895984" y="1117361"/>
                    <a:pt x="6895984" y="1136650"/>
                  </a:cubicBezTo>
                  <a:cubicBezTo>
                    <a:pt x="6895984" y="1155939"/>
                    <a:pt x="6880703" y="1171575"/>
                    <a:pt x="6861852" y="1171575"/>
                  </a:cubicBezTo>
                  <a:cubicBezTo>
                    <a:pt x="6843001" y="1171575"/>
                    <a:pt x="6827720" y="1155939"/>
                    <a:pt x="6827720" y="1136650"/>
                  </a:cubicBezTo>
                  <a:cubicBezTo>
                    <a:pt x="6827720" y="1117361"/>
                    <a:pt x="6843001" y="1101725"/>
                    <a:pt x="6861852" y="1101725"/>
                  </a:cubicBezTo>
                  <a:close/>
                  <a:moveTo>
                    <a:pt x="6776127" y="1101725"/>
                  </a:moveTo>
                  <a:cubicBezTo>
                    <a:pt x="6794978" y="1101725"/>
                    <a:pt x="6810259" y="1117361"/>
                    <a:pt x="6810259" y="1136650"/>
                  </a:cubicBezTo>
                  <a:cubicBezTo>
                    <a:pt x="6810259" y="1155939"/>
                    <a:pt x="6794978" y="1171575"/>
                    <a:pt x="6776127" y="1171575"/>
                  </a:cubicBezTo>
                  <a:cubicBezTo>
                    <a:pt x="6757276" y="1171575"/>
                    <a:pt x="6741995" y="1155939"/>
                    <a:pt x="6741995" y="1136650"/>
                  </a:cubicBezTo>
                  <a:cubicBezTo>
                    <a:pt x="6741995" y="1117361"/>
                    <a:pt x="6757276" y="1101725"/>
                    <a:pt x="6776127" y="1101725"/>
                  </a:cubicBezTo>
                  <a:close/>
                  <a:moveTo>
                    <a:pt x="6691195" y="1101725"/>
                  </a:moveTo>
                  <a:cubicBezTo>
                    <a:pt x="6710484" y="1101725"/>
                    <a:pt x="6726120" y="1117361"/>
                    <a:pt x="6726120" y="1136650"/>
                  </a:cubicBezTo>
                  <a:cubicBezTo>
                    <a:pt x="6726120" y="1155939"/>
                    <a:pt x="6710484" y="1171575"/>
                    <a:pt x="6691195" y="1171575"/>
                  </a:cubicBezTo>
                  <a:cubicBezTo>
                    <a:pt x="6671906" y="1171575"/>
                    <a:pt x="6656270" y="1155939"/>
                    <a:pt x="6656270" y="1136650"/>
                  </a:cubicBezTo>
                  <a:cubicBezTo>
                    <a:pt x="6656270" y="1117361"/>
                    <a:pt x="6671906" y="1101725"/>
                    <a:pt x="6691195" y="1101725"/>
                  </a:cubicBezTo>
                  <a:close/>
                  <a:moveTo>
                    <a:pt x="6607852" y="1101725"/>
                  </a:moveTo>
                  <a:cubicBezTo>
                    <a:pt x="6628456" y="1101725"/>
                    <a:pt x="6645159" y="1117361"/>
                    <a:pt x="6645159" y="1136650"/>
                  </a:cubicBezTo>
                  <a:cubicBezTo>
                    <a:pt x="6645159" y="1155939"/>
                    <a:pt x="6628456" y="1171575"/>
                    <a:pt x="6607852" y="1171575"/>
                  </a:cubicBezTo>
                  <a:cubicBezTo>
                    <a:pt x="6587248" y="1171575"/>
                    <a:pt x="6570545" y="1155939"/>
                    <a:pt x="6570545" y="1136650"/>
                  </a:cubicBezTo>
                  <a:cubicBezTo>
                    <a:pt x="6570545" y="1117361"/>
                    <a:pt x="6587248" y="1101725"/>
                    <a:pt x="6607852" y="1101725"/>
                  </a:cubicBezTo>
                  <a:close/>
                  <a:moveTo>
                    <a:pt x="6525302" y="1101725"/>
                  </a:moveTo>
                  <a:cubicBezTo>
                    <a:pt x="6544153" y="1101725"/>
                    <a:pt x="6559434" y="1117361"/>
                    <a:pt x="6559434" y="1136650"/>
                  </a:cubicBezTo>
                  <a:cubicBezTo>
                    <a:pt x="6559434" y="1155939"/>
                    <a:pt x="6544153" y="1171575"/>
                    <a:pt x="6525302" y="1171575"/>
                  </a:cubicBezTo>
                  <a:cubicBezTo>
                    <a:pt x="6506451" y="1171575"/>
                    <a:pt x="6491170" y="1155939"/>
                    <a:pt x="6491170" y="1136650"/>
                  </a:cubicBezTo>
                  <a:cubicBezTo>
                    <a:pt x="6491170" y="1117361"/>
                    <a:pt x="6506451" y="1101725"/>
                    <a:pt x="6525302" y="1101725"/>
                  </a:cubicBezTo>
                  <a:close/>
                  <a:moveTo>
                    <a:pt x="6439577" y="1101725"/>
                  </a:moveTo>
                  <a:cubicBezTo>
                    <a:pt x="6458428" y="1101725"/>
                    <a:pt x="6473709" y="1117361"/>
                    <a:pt x="6473709" y="1136650"/>
                  </a:cubicBezTo>
                  <a:cubicBezTo>
                    <a:pt x="6473709" y="1155939"/>
                    <a:pt x="6458428" y="1171575"/>
                    <a:pt x="6439577" y="1171575"/>
                  </a:cubicBezTo>
                  <a:cubicBezTo>
                    <a:pt x="6420726" y="1171575"/>
                    <a:pt x="6405445" y="1155939"/>
                    <a:pt x="6405445" y="1136650"/>
                  </a:cubicBezTo>
                  <a:cubicBezTo>
                    <a:pt x="6405445" y="1117361"/>
                    <a:pt x="6420726" y="1101725"/>
                    <a:pt x="6439577" y="1101725"/>
                  </a:cubicBezTo>
                  <a:close/>
                  <a:moveTo>
                    <a:pt x="6353852" y="1101725"/>
                  </a:moveTo>
                  <a:cubicBezTo>
                    <a:pt x="6372703" y="1101725"/>
                    <a:pt x="6387984" y="1117361"/>
                    <a:pt x="6387984" y="1136650"/>
                  </a:cubicBezTo>
                  <a:cubicBezTo>
                    <a:pt x="6387984" y="1155939"/>
                    <a:pt x="6372703" y="1171575"/>
                    <a:pt x="6353852" y="1171575"/>
                  </a:cubicBezTo>
                  <a:cubicBezTo>
                    <a:pt x="6335001" y="1171575"/>
                    <a:pt x="6319720" y="1155939"/>
                    <a:pt x="6319720" y="1136650"/>
                  </a:cubicBezTo>
                  <a:cubicBezTo>
                    <a:pt x="6319720" y="1117361"/>
                    <a:pt x="6335001" y="1101725"/>
                    <a:pt x="6353852" y="1101725"/>
                  </a:cubicBezTo>
                  <a:close/>
                  <a:moveTo>
                    <a:pt x="6268920" y="1101725"/>
                  </a:moveTo>
                  <a:cubicBezTo>
                    <a:pt x="6288209" y="1101725"/>
                    <a:pt x="6303845" y="1117361"/>
                    <a:pt x="6303845" y="1136650"/>
                  </a:cubicBezTo>
                  <a:cubicBezTo>
                    <a:pt x="6303845" y="1155939"/>
                    <a:pt x="6288209" y="1171575"/>
                    <a:pt x="6268920" y="1171575"/>
                  </a:cubicBezTo>
                  <a:cubicBezTo>
                    <a:pt x="6249631" y="1171575"/>
                    <a:pt x="6233995" y="1155939"/>
                    <a:pt x="6233995" y="1136650"/>
                  </a:cubicBezTo>
                  <a:cubicBezTo>
                    <a:pt x="6233995" y="1117361"/>
                    <a:pt x="6249631" y="1101725"/>
                    <a:pt x="6268920" y="1101725"/>
                  </a:cubicBezTo>
                  <a:close/>
                  <a:moveTo>
                    <a:pt x="6188752" y="1101725"/>
                  </a:moveTo>
                  <a:cubicBezTo>
                    <a:pt x="6207603" y="1101725"/>
                    <a:pt x="6222884" y="1117361"/>
                    <a:pt x="6222884" y="1136650"/>
                  </a:cubicBezTo>
                  <a:cubicBezTo>
                    <a:pt x="6222884" y="1155939"/>
                    <a:pt x="6207603" y="1171575"/>
                    <a:pt x="6188752" y="1171575"/>
                  </a:cubicBezTo>
                  <a:cubicBezTo>
                    <a:pt x="6169901" y="1171575"/>
                    <a:pt x="6154620" y="1155939"/>
                    <a:pt x="6154620" y="1136650"/>
                  </a:cubicBezTo>
                  <a:cubicBezTo>
                    <a:pt x="6154620" y="1117361"/>
                    <a:pt x="6169901" y="1101725"/>
                    <a:pt x="6188752" y="1101725"/>
                  </a:cubicBezTo>
                  <a:close/>
                  <a:moveTo>
                    <a:pt x="6103027" y="1101725"/>
                  </a:moveTo>
                  <a:cubicBezTo>
                    <a:pt x="6121878" y="1101725"/>
                    <a:pt x="6137159" y="1117361"/>
                    <a:pt x="6137159" y="1136650"/>
                  </a:cubicBezTo>
                  <a:cubicBezTo>
                    <a:pt x="6137159" y="1155939"/>
                    <a:pt x="6121878" y="1171575"/>
                    <a:pt x="6103027" y="1171575"/>
                  </a:cubicBezTo>
                  <a:cubicBezTo>
                    <a:pt x="6084176" y="1171575"/>
                    <a:pt x="6068895" y="1155939"/>
                    <a:pt x="6068895" y="1136650"/>
                  </a:cubicBezTo>
                  <a:cubicBezTo>
                    <a:pt x="6068895" y="1117361"/>
                    <a:pt x="6084176" y="1101725"/>
                    <a:pt x="6103027" y="1101725"/>
                  </a:cubicBezTo>
                  <a:close/>
                  <a:moveTo>
                    <a:pt x="6017302" y="1101725"/>
                  </a:moveTo>
                  <a:cubicBezTo>
                    <a:pt x="6036153" y="1101725"/>
                    <a:pt x="6051434" y="1117361"/>
                    <a:pt x="6051434" y="1136650"/>
                  </a:cubicBezTo>
                  <a:cubicBezTo>
                    <a:pt x="6051434" y="1155939"/>
                    <a:pt x="6036153" y="1171575"/>
                    <a:pt x="6017302" y="1171575"/>
                  </a:cubicBezTo>
                  <a:cubicBezTo>
                    <a:pt x="5998451" y="1171575"/>
                    <a:pt x="5983170" y="1155939"/>
                    <a:pt x="5983170" y="1136650"/>
                  </a:cubicBezTo>
                  <a:cubicBezTo>
                    <a:pt x="5983170" y="1117361"/>
                    <a:pt x="5998451" y="1101725"/>
                    <a:pt x="6017302" y="1101725"/>
                  </a:cubicBezTo>
                  <a:close/>
                  <a:moveTo>
                    <a:pt x="5849821" y="1101725"/>
                  </a:moveTo>
                  <a:cubicBezTo>
                    <a:pt x="5869987" y="1101725"/>
                    <a:pt x="5886334" y="1117361"/>
                    <a:pt x="5886334" y="1136650"/>
                  </a:cubicBezTo>
                  <a:cubicBezTo>
                    <a:pt x="5886334" y="1155939"/>
                    <a:pt x="5869987" y="1171575"/>
                    <a:pt x="5849821" y="1171575"/>
                  </a:cubicBezTo>
                  <a:cubicBezTo>
                    <a:pt x="5829655" y="1171575"/>
                    <a:pt x="5813308" y="1155939"/>
                    <a:pt x="5813308" y="1136650"/>
                  </a:cubicBezTo>
                  <a:cubicBezTo>
                    <a:pt x="5813308" y="1117361"/>
                    <a:pt x="5829655" y="1101725"/>
                    <a:pt x="5849821" y="1101725"/>
                  </a:cubicBezTo>
                  <a:close/>
                  <a:moveTo>
                    <a:pt x="5766477" y="1101725"/>
                  </a:moveTo>
                  <a:cubicBezTo>
                    <a:pt x="5785328" y="1101725"/>
                    <a:pt x="5800609" y="1117361"/>
                    <a:pt x="5800609" y="1136650"/>
                  </a:cubicBezTo>
                  <a:cubicBezTo>
                    <a:pt x="5800609" y="1155939"/>
                    <a:pt x="5785328" y="1171575"/>
                    <a:pt x="5766477" y="1171575"/>
                  </a:cubicBezTo>
                  <a:cubicBezTo>
                    <a:pt x="5747626" y="1171575"/>
                    <a:pt x="5732345" y="1155939"/>
                    <a:pt x="5732345" y="1136650"/>
                  </a:cubicBezTo>
                  <a:cubicBezTo>
                    <a:pt x="5732345" y="1117361"/>
                    <a:pt x="5747626" y="1101725"/>
                    <a:pt x="5766477" y="1101725"/>
                  </a:cubicBezTo>
                  <a:close/>
                  <a:moveTo>
                    <a:pt x="5680752" y="1101725"/>
                  </a:moveTo>
                  <a:cubicBezTo>
                    <a:pt x="5699603" y="1101725"/>
                    <a:pt x="5714884" y="1117361"/>
                    <a:pt x="5714884" y="1136650"/>
                  </a:cubicBezTo>
                  <a:cubicBezTo>
                    <a:pt x="5714884" y="1155939"/>
                    <a:pt x="5699603" y="1171575"/>
                    <a:pt x="5680752" y="1171575"/>
                  </a:cubicBezTo>
                  <a:cubicBezTo>
                    <a:pt x="5661901" y="1171575"/>
                    <a:pt x="5646620" y="1155939"/>
                    <a:pt x="5646620" y="1136650"/>
                  </a:cubicBezTo>
                  <a:cubicBezTo>
                    <a:pt x="5646620" y="1117361"/>
                    <a:pt x="5661901" y="1101725"/>
                    <a:pt x="5680752" y="1101725"/>
                  </a:cubicBezTo>
                  <a:close/>
                  <a:moveTo>
                    <a:pt x="5429927" y="1101725"/>
                  </a:moveTo>
                  <a:cubicBezTo>
                    <a:pt x="5448778" y="1101725"/>
                    <a:pt x="5464059" y="1117361"/>
                    <a:pt x="5464059" y="1136650"/>
                  </a:cubicBezTo>
                  <a:cubicBezTo>
                    <a:pt x="5464059" y="1155939"/>
                    <a:pt x="5448778" y="1171575"/>
                    <a:pt x="5429927" y="1171575"/>
                  </a:cubicBezTo>
                  <a:cubicBezTo>
                    <a:pt x="5411076" y="1171575"/>
                    <a:pt x="5395795" y="1155939"/>
                    <a:pt x="5395795" y="1136650"/>
                  </a:cubicBezTo>
                  <a:cubicBezTo>
                    <a:pt x="5395795" y="1117361"/>
                    <a:pt x="5411076" y="1101725"/>
                    <a:pt x="5429927" y="1101725"/>
                  </a:cubicBezTo>
                  <a:close/>
                  <a:moveTo>
                    <a:pt x="5344202" y="1101725"/>
                  </a:moveTo>
                  <a:cubicBezTo>
                    <a:pt x="5363053" y="1101725"/>
                    <a:pt x="5378334" y="1117361"/>
                    <a:pt x="5378334" y="1136650"/>
                  </a:cubicBezTo>
                  <a:cubicBezTo>
                    <a:pt x="5378334" y="1155939"/>
                    <a:pt x="5363053" y="1171575"/>
                    <a:pt x="5344202" y="1171575"/>
                  </a:cubicBezTo>
                  <a:cubicBezTo>
                    <a:pt x="5325351" y="1171575"/>
                    <a:pt x="5310070" y="1155939"/>
                    <a:pt x="5310070" y="1136650"/>
                  </a:cubicBezTo>
                  <a:cubicBezTo>
                    <a:pt x="5310070" y="1117361"/>
                    <a:pt x="5325351" y="1101725"/>
                    <a:pt x="5344202" y="1101725"/>
                  </a:cubicBezTo>
                  <a:close/>
                  <a:moveTo>
                    <a:pt x="4500445" y="1101725"/>
                  </a:moveTo>
                  <a:cubicBezTo>
                    <a:pt x="4519734" y="1101725"/>
                    <a:pt x="4535370" y="1117361"/>
                    <a:pt x="4535370" y="1136650"/>
                  </a:cubicBezTo>
                  <a:cubicBezTo>
                    <a:pt x="4535370" y="1155939"/>
                    <a:pt x="4519734" y="1171575"/>
                    <a:pt x="4500445" y="1171575"/>
                  </a:cubicBezTo>
                  <a:cubicBezTo>
                    <a:pt x="4481156" y="1171575"/>
                    <a:pt x="4465520" y="1155939"/>
                    <a:pt x="4465520" y="1136650"/>
                  </a:cubicBezTo>
                  <a:cubicBezTo>
                    <a:pt x="4465520" y="1117361"/>
                    <a:pt x="4481156" y="1101725"/>
                    <a:pt x="4500445" y="1101725"/>
                  </a:cubicBezTo>
                  <a:close/>
                  <a:moveTo>
                    <a:pt x="3826552" y="1101725"/>
                  </a:moveTo>
                  <a:cubicBezTo>
                    <a:pt x="3845403" y="1101725"/>
                    <a:pt x="3860684" y="1117361"/>
                    <a:pt x="3860684" y="1136650"/>
                  </a:cubicBezTo>
                  <a:cubicBezTo>
                    <a:pt x="3860684" y="1155939"/>
                    <a:pt x="3845403" y="1171575"/>
                    <a:pt x="3826552" y="1171575"/>
                  </a:cubicBezTo>
                  <a:cubicBezTo>
                    <a:pt x="3807701" y="1171575"/>
                    <a:pt x="3792420" y="1155939"/>
                    <a:pt x="3792420" y="1136650"/>
                  </a:cubicBezTo>
                  <a:cubicBezTo>
                    <a:pt x="3792420" y="1117361"/>
                    <a:pt x="3807701" y="1101725"/>
                    <a:pt x="3826552" y="1101725"/>
                  </a:cubicBezTo>
                  <a:close/>
                  <a:moveTo>
                    <a:pt x="3741620" y="1101725"/>
                  </a:moveTo>
                  <a:cubicBezTo>
                    <a:pt x="3760909" y="1101725"/>
                    <a:pt x="3776545" y="1117361"/>
                    <a:pt x="3776545" y="1136650"/>
                  </a:cubicBezTo>
                  <a:cubicBezTo>
                    <a:pt x="3776545" y="1155939"/>
                    <a:pt x="3760909" y="1171575"/>
                    <a:pt x="3741620" y="1171575"/>
                  </a:cubicBezTo>
                  <a:cubicBezTo>
                    <a:pt x="3722331" y="1171575"/>
                    <a:pt x="3706695" y="1155939"/>
                    <a:pt x="3706695" y="1136650"/>
                  </a:cubicBezTo>
                  <a:cubicBezTo>
                    <a:pt x="3706695" y="1117361"/>
                    <a:pt x="3722331" y="1101725"/>
                    <a:pt x="3741620" y="1101725"/>
                  </a:cubicBezTo>
                  <a:close/>
                  <a:moveTo>
                    <a:pt x="3234415" y="1101725"/>
                  </a:moveTo>
                  <a:cubicBezTo>
                    <a:pt x="3253266" y="1101725"/>
                    <a:pt x="3268547" y="1117361"/>
                    <a:pt x="3268547" y="1136650"/>
                  </a:cubicBezTo>
                  <a:cubicBezTo>
                    <a:pt x="3268547" y="1155939"/>
                    <a:pt x="3253266" y="1171575"/>
                    <a:pt x="3234415" y="1171575"/>
                  </a:cubicBezTo>
                  <a:cubicBezTo>
                    <a:pt x="3215564" y="1171575"/>
                    <a:pt x="3200283" y="1155939"/>
                    <a:pt x="3200283" y="1136650"/>
                  </a:cubicBezTo>
                  <a:cubicBezTo>
                    <a:pt x="3200283" y="1117361"/>
                    <a:pt x="3215564" y="1101725"/>
                    <a:pt x="3234415" y="1101725"/>
                  </a:cubicBezTo>
                  <a:close/>
                  <a:moveTo>
                    <a:pt x="2983589" y="1101725"/>
                  </a:moveTo>
                  <a:cubicBezTo>
                    <a:pt x="3002440" y="1101725"/>
                    <a:pt x="3017721" y="1117361"/>
                    <a:pt x="3017721" y="1136650"/>
                  </a:cubicBezTo>
                  <a:cubicBezTo>
                    <a:pt x="3017721" y="1155939"/>
                    <a:pt x="3002440" y="1171575"/>
                    <a:pt x="2983589" y="1171575"/>
                  </a:cubicBezTo>
                  <a:cubicBezTo>
                    <a:pt x="2964738" y="1171575"/>
                    <a:pt x="2949457" y="1155939"/>
                    <a:pt x="2949457" y="1136650"/>
                  </a:cubicBezTo>
                  <a:cubicBezTo>
                    <a:pt x="2949457" y="1117361"/>
                    <a:pt x="2964738" y="1101725"/>
                    <a:pt x="2983589" y="1101725"/>
                  </a:cubicBezTo>
                  <a:close/>
                  <a:moveTo>
                    <a:pt x="2394790" y="1101725"/>
                  </a:moveTo>
                  <a:cubicBezTo>
                    <a:pt x="2413638" y="1101725"/>
                    <a:pt x="2428919" y="1117361"/>
                    <a:pt x="2428919" y="1136650"/>
                  </a:cubicBezTo>
                  <a:cubicBezTo>
                    <a:pt x="2428919" y="1155939"/>
                    <a:pt x="2413638" y="1171575"/>
                    <a:pt x="2394790" y="1171575"/>
                  </a:cubicBezTo>
                  <a:cubicBezTo>
                    <a:pt x="2375933" y="1171575"/>
                    <a:pt x="2360656" y="1155939"/>
                    <a:pt x="2360656" y="1136650"/>
                  </a:cubicBezTo>
                  <a:cubicBezTo>
                    <a:pt x="2360656" y="1117361"/>
                    <a:pt x="2375933" y="1101725"/>
                    <a:pt x="2394790" y="1101725"/>
                  </a:cubicBezTo>
                  <a:close/>
                  <a:moveTo>
                    <a:pt x="2224780" y="1101725"/>
                  </a:moveTo>
                  <a:cubicBezTo>
                    <a:pt x="2243632" y="1101725"/>
                    <a:pt x="2258913" y="1117361"/>
                    <a:pt x="2258913" y="1136650"/>
                  </a:cubicBezTo>
                  <a:cubicBezTo>
                    <a:pt x="2258913" y="1155939"/>
                    <a:pt x="2243632" y="1171575"/>
                    <a:pt x="2224780" y="1171575"/>
                  </a:cubicBezTo>
                  <a:cubicBezTo>
                    <a:pt x="2205929" y="1171575"/>
                    <a:pt x="2190649" y="1155939"/>
                    <a:pt x="2190649" y="1136650"/>
                  </a:cubicBezTo>
                  <a:cubicBezTo>
                    <a:pt x="2190649" y="1117361"/>
                    <a:pt x="2205929" y="1101725"/>
                    <a:pt x="2224780" y="1101725"/>
                  </a:cubicBezTo>
                  <a:close/>
                  <a:moveTo>
                    <a:pt x="2139054" y="1101725"/>
                  </a:moveTo>
                  <a:cubicBezTo>
                    <a:pt x="2157905" y="1101725"/>
                    <a:pt x="2173187" y="1117361"/>
                    <a:pt x="2173187" y="1136650"/>
                  </a:cubicBezTo>
                  <a:cubicBezTo>
                    <a:pt x="2173187" y="1155939"/>
                    <a:pt x="2157905" y="1171575"/>
                    <a:pt x="2139054" y="1171575"/>
                  </a:cubicBezTo>
                  <a:cubicBezTo>
                    <a:pt x="2120204" y="1171575"/>
                    <a:pt x="2104922" y="1155939"/>
                    <a:pt x="2104922" y="1136650"/>
                  </a:cubicBezTo>
                  <a:cubicBezTo>
                    <a:pt x="2104922" y="1117361"/>
                    <a:pt x="2120204" y="1101725"/>
                    <a:pt x="2139054" y="1101725"/>
                  </a:cubicBezTo>
                  <a:close/>
                  <a:moveTo>
                    <a:pt x="2055711" y="1101725"/>
                  </a:moveTo>
                  <a:cubicBezTo>
                    <a:pt x="2075877" y="1101725"/>
                    <a:pt x="2092225" y="1117361"/>
                    <a:pt x="2092225" y="1136650"/>
                  </a:cubicBezTo>
                  <a:cubicBezTo>
                    <a:pt x="2092225" y="1155939"/>
                    <a:pt x="2075877" y="1171575"/>
                    <a:pt x="2055711" y="1171575"/>
                  </a:cubicBezTo>
                  <a:cubicBezTo>
                    <a:pt x="2035545" y="1171575"/>
                    <a:pt x="2019199" y="1155939"/>
                    <a:pt x="2019199" y="1136650"/>
                  </a:cubicBezTo>
                  <a:cubicBezTo>
                    <a:pt x="2019199" y="1117361"/>
                    <a:pt x="2035545" y="1101725"/>
                    <a:pt x="2055711" y="1101725"/>
                  </a:cubicBezTo>
                  <a:close/>
                  <a:moveTo>
                    <a:pt x="1973163" y="1101725"/>
                  </a:moveTo>
                  <a:cubicBezTo>
                    <a:pt x="1992452" y="1101725"/>
                    <a:pt x="2008088" y="1117361"/>
                    <a:pt x="2008088" y="1136650"/>
                  </a:cubicBezTo>
                  <a:cubicBezTo>
                    <a:pt x="2008088" y="1155939"/>
                    <a:pt x="1992452" y="1171575"/>
                    <a:pt x="1973163" y="1171575"/>
                  </a:cubicBezTo>
                  <a:cubicBezTo>
                    <a:pt x="1953874" y="1171575"/>
                    <a:pt x="1938238" y="1155939"/>
                    <a:pt x="1938238" y="1136650"/>
                  </a:cubicBezTo>
                  <a:cubicBezTo>
                    <a:pt x="1938238" y="1117361"/>
                    <a:pt x="1953874" y="1101725"/>
                    <a:pt x="1973163" y="1101725"/>
                  </a:cubicBezTo>
                  <a:close/>
                  <a:moveTo>
                    <a:pt x="1888235" y="1101725"/>
                  </a:moveTo>
                  <a:cubicBezTo>
                    <a:pt x="1907085" y="1101725"/>
                    <a:pt x="1922366" y="1117361"/>
                    <a:pt x="1922366" y="1136650"/>
                  </a:cubicBezTo>
                  <a:cubicBezTo>
                    <a:pt x="1922366" y="1155939"/>
                    <a:pt x="1907085" y="1171575"/>
                    <a:pt x="1888235" y="1171575"/>
                  </a:cubicBezTo>
                  <a:cubicBezTo>
                    <a:pt x="1869384" y="1171575"/>
                    <a:pt x="1854103" y="1155939"/>
                    <a:pt x="1854103" y="1136650"/>
                  </a:cubicBezTo>
                  <a:cubicBezTo>
                    <a:pt x="1854103" y="1117361"/>
                    <a:pt x="1869384" y="1101725"/>
                    <a:pt x="1888235" y="1101725"/>
                  </a:cubicBezTo>
                  <a:close/>
                  <a:moveTo>
                    <a:pt x="1802510" y="1101725"/>
                  </a:moveTo>
                  <a:cubicBezTo>
                    <a:pt x="1821361" y="1101725"/>
                    <a:pt x="1836642" y="1117361"/>
                    <a:pt x="1836642" y="1136650"/>
                  </a:cubicBezTo>
                  <a:cubicBezTo>
                    <a:pt x="1836642" y="1155939"/>
                    <a:pt x="1821361" y="1171575"/>
                    <a:pt x="1802510" y="1171575"/>
                  </a:cubicBezTo>
                  <a:cubicBezTo>
                    <a:pt x="1783659" y="1171575"/>
                    <a:pt x="1768379" y="1155939"/>
                    <a:pt x="1768379" y="1136650"/>
                  </a:cubicBezTo>
                  <a:cubicBezTo>
                    <a:pt x="1768379" y="1117361"/>
                    <a:pt x="1783659" y="1101725"/>
                    <a:pt x="1802510" y="1101725"/>
                  </a:cubicBezTo>
                  <a:close/>
                  <a:moveTo>
                    <a:pt x="1719169" y="1101725"/>
                  </a:moveTo>
                  <a:cubicBezTo>
                    <a:pt x="1739335" y="1101725"/>
                    <a:pt x="1755682" y="1117361"/>
                    <a:pt x="1755682" y="1136650"/>
                  </a:cubicBezTo>
                  <a:cubicBezTo>
                    <a:pt x="1755682" y="1155939"/>
                    <a:pt x="1739335" y="1171575"/>
                    <a:pt x="1719169" y="1171575"/>
                  </a:cubicBezTo>
                  <a:cubicBezTo>
                    <a:pt x="1699003" y="1171575"/>
                    <a:pt x="1682656" y="1155939"/>
                    <a:pt x="1682656" y="1136650"/>
                  </a:cubicBezTo>
                  <a:cubicBezTo>
                    <a:pt x="1682656" y="1117361"/>
                    <a:pt x="1699003" y="1101725"/>
                    <a:pt x="1719169" y="1101725"/>
                  </a:cubicBezTo>
                  <a:close/>
                  <a:moveTo>
                    <a:pt x="1636604" y="1101725"/>
                  </a:moveTo>
                  <a:cubicBezTo>
                    <a:pt x="1655892" y="1101725"/>
                    <a:pt x="1671529" y="1117361"/>
                    <a:pt x="1671529" y="1136650"/>
                  </a:cubicBezTo>
                  <a:cubicBezTo>
                    <a:pt x="1671529" y="1155939"/>
                    <a:pt x="1655892" y="1171575"/>
                    <a:pt x="1636604" y="1171575"/>
                  </a:cubicBezTo>
                  <a:cubicBezTo>
                    <a:pt x="1617315" y="1171575"/>
                    <a:pt x="1601679" y="1155939"/>
                    <a:pt x="1601679" y="1136650"/>
                  </a:cubicBezTo>
                  <a:cubicBezTo>
                    <a:pt x="1601679" y="1117361"/>
                    <a:pt x="1617315" y="1101725"/>
                    <a:pt x="1636604" y="1101725"/>
                  </a:cubicBezTo>
                  <a:close/>
                  <a:moveTo>
                    <a:pt x="1551671" y="1101725"/>
                  </a:moveTo>
                  <a:cubicBezTo>
                    <a:pt x="1570522" y="1101725"/>
                    <a:pt x="1585803" y="1117361"/>
                    <a:pt x="1585803" y="1136650"/>
                  </a:cubicBezTo>
                  <a:cubicBezTo>
                    <a:pt x="1585803" y="1155939"/>
                    <a:pt x="1570522" y="1171575"/>
                    <a:pt x="1551671" y="1171575"/>
                  </a:cubicBezTo>
                  <a:cubicBezTo>
                    <a:pt x="1532819" y="1171575"/>
                    <a:pt x="1517539" y="1155939"/>
                    <a:pt x="1517539" y="1136650"/>
                  </a:cubicBezTo>
                  <a:cubicBezTo>
                    <a:pt x="1517539" y="1117361"/>
                    <a:pt x="1532819" y="1101725"/>
                    <a:pt x="1551671" y="1101725"/>
                  </a:cubicBezTo>
                  <a:close/>
                  <a:moveTo>
                    <a:pt x="1465953" y="1101725"/>
                  </a:moveTo>
                  <a:cubicBezTo>
                    <a:pt x="1484805" y="1101725"/>
                    <a:pt x="1500086" y="1117361"/>
                    <a:pt x="1500086" y="1136650"/>
                  </a:cubicBezTo>
                  <a:cubicBezTo>
                    <a:pt x="1500086" y="1155939"/>
                    <a:pt x="1484805" y="1171575"/>
                    <a:pt x="1465953" y="1171575"/>
                  </a:cubicBezTo>
                  <a:cubicBezTo>
                    <a:pt x="1447102" y="1171575"/>
                    <a:pt x="1431822" y="1155939"/>
                    <a:pt x="1431822" y="1136650"/>
                  </a:cubicBezTo>
                  <a:cubicBezTo>
                    <a:pt x="1431822" y="1117361"/>
                    <a:pt x="1447102" y="1101725"/>
                    <a:pt x="1465953" y="1101725"/>
                  </a:cubicBezTo>
                  <a:close/>
                  <a:moveTo>
                    <a:pt x="1380228" y="1101725"/>
                  </a:moveTo>
                  <a:cubicBezTo>
                    <a:pt x="1399079" y="1101725"/>
                    <a:pt x="1414360" y="1117361"/>
                    <a:pt x="1414360" y="1136650"/>
                  </a:cubicBezTo>
                  <a:cubicBezTo>
                    <a:pt x="1414360" y="1155939"/>
                    <a:pt x="1399079" y="1171575"/>
                    <a:pt x="1380228" y="1171575"/>
                  </a:cubicBezTo>
                  <a:cubicBezTo>
                    <a:pt x="1361377" y="1171575"/>
                    <a:pt x="1346096" y="1155939"/>
                    <a:pt x="1346096" y="1136650"/>
                  </a:cubicBezTo>
                  <a:cubicBezTo>
                    <a:pt x="1346096" y="1117361"/>
                    <a:pt x="1361377" y="1101725"/>
                    <a:pt x="1380228" y="1101725"/>
                  </a:cubicBezTo>
                  <a:close/>
                  <a:moveTo>
                    <a:pt x="1300222" y="1101725"/>
                  </a:moveTo>
                  <a:cubicBezTo>
                    <a:pt x="1319509" y="1101725"/>
                    <a:pt x="1335148" y="1117361"/>
                    <a:pt x="1335148" y="1136650"/>
                  </a:cubicBezTo>
                  <a:cubicBezTo>
                    <a:pt x="1335148" y="1155939"/>
                    <a:pt x="1319509" y="1171575"/>
                    <a:pt x="1300222" y="1171575"/>
                  </a:cubicBezTo>
                  <a:cubicBezTo>
                    <a:pt x="1280933" y="1171575"/>
                    <a:pt x="1265297" y="1155939"/>
                    <a:pt x="1265297" y="1136650"/>
                  </a:cubicBezTo>
                  <a:cubicBezTo>
                    <a:pt x="1265297" y="1117361"/>
                    <a:pt x="1280933" y="1101725"/>
                    <a:pt x="1300222" y="1101725"/>
                  </a:cubicBezTo>
                  <a:close/>
                  <a:moveTo>
                    <a:pt x="456290" y="1101725"/>
                  </a:moveTo>
                  <a:cubicBezTo>
                    <a:pt x="475141" y="1101725"/>
                    <a:pt x="490422" y="1117361"/>
                    <a:pt x="490422" y="1136650"/>
                  </a:cubicBezTo>
                  <a:cubicBezTo>
                    <a:pt x="490422" y="1155939"/>
                    <a:pt x="475141" y="1171575"/>
                    <a:pt x="456290" y="1171575"/>
                  </a:cubicBezTo>
                  <a:cubicBezTo>
                    <a:pt x="437439" y="1171575"/>
                    <a:pt x="422158" y="1155939"/>
                    <a:pt x="422158" y="1136650"/>
                  </a:cubicBezTo>
                  <a:cubicBezTo>
                    <a:pt x="422158" y="1117361"/>
                    <a:pt x="437439" y="1101725"/>
                    <a:pt x="456290" y="1101725"/>
                  </a:cubicBezTo>
                  <a:close/>
                  <a:moveTo>
                    <a:pt x="370565" y="1101725"/>
                  </a:moveTo>
                  <a:cubicBezTo>
                    <a:pt x="389416" y="1101725"/>
                    <a:pt x="404697" y="1117361"/>
                    <a:pt x="404697" y="1136650"/>
                  </a:cubicBezTo>
                  <a:cubicBezTo>
                    <a:pt x="404697" y="1155939"/>
                    <a:pt x="389416" y="1171575"/>
                    <a:pt x="370565" y="1171575"/>
                  </a:cubicBezTo>
                  <a:cubicBezTo>
                    <a:pt x="351714" y="1171575"/>
                    <a:pt x="336433" y="1155939"/>
                    <a:pt x="336433" y="1136650"/>
                  </a:cubicBezTo>
                  <a:cubicBezTo>
                    <a:pt x="336433" y="1117361"/>
                    <a:pt x="351714" y="1101725"/>
                    <a:pt x="370565" y="1101725"/>
                  </a:cubicBezTo>
                  <a:close/>
                  <a:moveTo>
                    <a:pt x="9474877" y="1016000"/>
                  </a:moveTo>
                  <a:cubicBezTo>
                    <a:pt x="9493728" y="1016000"/>
                    <a:pt x="9509009" y="1031636"/>
                    <a:pt x="9509009" y="1050925"/>
                  </a:cubicBezTo>
                  <a:cubicBezTo>
                    <a:pt x="9509009" y="1070214"/>
                    <a:pt x="9493728" y="1085850"/>
                    <a:pt x="9474877" y="1085850"/>
                  </a:cubicBezTo>
                  <a:cubicBezTo>
                    <a:pt x="9456026" y="1085850"/>
                    <a:pt x="9440745" y="1070214"/>
                    <a:pt x="9440745" y="1050925"/>
                  </a:cubicBezTo>
                  <a:cubicBezTo>
                    <a:pt x="9440745" y="1031636"/>
                    <a:pt x="9456026" y="1016000"/>
                    <a:pt x="9474877" y="1016000"/>
                  </a:cubicBezTo>
                  <a:close/>
                  <a:moveTo>
                    <a:pt x="9389152" y="1016000"/>
                  </a:moveTo>
                  <a:cubicBezTo>
                    <a:pt x="9408003" y="1016000"/>
                    <a:pt x="9423284" y="1031636"/>
                    <a:pt x="9423284" y="1050925"/>
                  </a:cubicBezTo>
                  <a:cubicBezTo>
                    <a:pt x="9423284" y="1070214"/>
                    <a:pt x="9408003" y="1085850"/>
                    <a:pt x="9389152" y="1085850"/>
                  </a:cubicBezTo>
                  <a:cubicBezTo>
                    <a:pt x="9370301" y="1085850"/>
                    <a:pt x="9355020" y="1070214"/>
                    <a:pt x="9355020" y="1050925"/>
                  </a:cubicBezTo>
                  <a:cubicBezTo>
                    <a:pt x="9355020" y="1031636"/>
                    <a:pt x="9370301" y="1016000"/>
                    <a:pt x="9389152" y="1016000"/>
                  </a:cubicBezTo>
                  <a:close/>
                  <a:moveTo>
                    <a:pt x="8801777" y="1016000"/>
                  </a:moveTo>
                  <a:cubicBezTo>
                    <a:pt x="8820628" y="1016000"/>
                    <a:pt x="8835909" y="1031636"/>
                    <a:pt x="8835909" y="1050925"/>
                  </a:cubicBezTo>
                  <a:cubicBezTo>
                    <a:pt x="8835909" y="1070214"/>
                    <a:pt x="8820628" y="1085850"/>
                    <a:pt x="8801777" y="1085850"/>
                  </a:cubicBezTo>
                  <a:cubicBezTo>
                    <a:pt x="8782926" y="1085850"/>
                    <a:pt x="8767645" y="1070214"/>
                    <a:pt x="8767645" y="1050925"/>
                  </a:cubicBezTo>
                  <a:cubicBezTo>
                    <a:pt x="8767645" y="1031636"/>
                    <a:pt x="8782926" y="1016000"/>
                    <a:pt x="8801777" y="1016000"/>
                  </a:cubicBezTo>
                  <a:close/>
                  <a:moveTo>
                    <a:pt x="8716052" y="1016000"/>
                  </a:moveTo>
                  <a:cubicBezTo>
                    <a:pt x="8734903" y="1016000"/>
                    <a:pt x="8750184" y="1031636"/>
                    <a:pt x="8750184" y="1050925"/>
                  </a:cubicBezTo>
                  <a:cubicBezTo>
                    <a:pt x="8750184" y="1070214"/>
                    <a:pt x="8734903" y="1085850"/>
                    <a:pt x="8716052" y="1085850"/>
                  </a:cubicBezTo>
                  <a:cubicBezTo>
                    <a:pt x="8697201" y="1085850"/>
                    <a:pt x="8681920" y="1070214"/>
                    <a:pt x="8681920" y="1050925"/>
                  </a:cubicBezTo>
                  <a:cubicBezTo>
                    <a:pt x="8681920" y="1031636"/>
                    <a:pt x="8697201" y="1016000"/>
                    <a:pt x="8716052" y="1016000"/>
                  </a:cubicBezTo>
                  <a:close/>
                  <a:moveTo>
                    <a:pt x="8630327" y="1016000"/>
                  </a:moveTo>
                  <a:cubicBezTo>
                    <a:pt x="8649178" y="1016000"/>
                    <a:pt x="8664459" y="1031636"/>
                    <a:pt x="8664459" y="1050925"/>
                  </a:cubicBezTo>
                  <a:cubicBezTo>
                    <a:pt x="8664459" y="1070214"/>
                    <a:pt x="8649178" y="1085850"/>
                    <a:pt x="8630327" y="1085850"/>
                  </a:cubicBezTo>
                  <a:cubicBezTo>
                    <a:pt x="8611476" y="1085850"/>
                    <a:pt x="8596195" y="1070214"/>
                    <a:pt x="8596195" y="1050925"/>
                  </a:cubicBezTo>
                  <a:cubicBezTo>
                    <a:pt x="8596195" y="1031636"/>
                    <a:pt x="8611476" y="1016000"/>
                    <a:pt x="8630327" y="1016000"/>
                  </a:cubicBezTo>
                  <a:close/>
                  <a:moveTo>
                    <a:pt x="8544602" y="1016000"/>
                  </a:moveTo>
                  <a:cubicBezTo>
                    <a:pt x="8563453" y="1016000"/>
                    <a:pt x="8578734" y="1031636"/>
                    <a:pt x="8578734" y="1050925"/>
                  </a:cubicBezTo>
                  <a:cubicBezTo>
                    <a:pt x="8578734" y="1070214"/>
                    <a:pt x="8563453" y="1085850"/>
                    <a:pt x="8544602" y="1085850"/>
                  </a:cubicBezTo>
                  <a:cubicBezTo>
                    <a:pt x="8525751" y="1085850"/>
                    <a:pt x="8510470" y="1070214"/>
                    <a:pt x="8510470" y="1050925"/>
                  </a:cubicBezTo>
                  <a:cubicBezTo>
                    <a:pt x="8510470" y="1031636"/>
                    <a:pt x="8525751" y="1016000"/>
                    <a:pt x="8544602" y="1016000"/>
                  </a:cubicBezTo>
                  <a:close/>
                  <a:moveTo>
                    <a:pt x="8465227" y="1016000"/>
                  </a:moveTo>
                  <a:cubicBezTo>
                    <a:pt x="8484078" y="1016000"/>
                    <a:pt x="8499359" y="1031636"/>
                    <a:pt x="8499359" y="1050925"/>
                  </a:cubicBezTo>
                  <a:cubicBezTo>
                    <a:pt x="8499359" y="1070214"/>
                    <a:pt x="8484078" y="1085850"/>
                    <a:pt x="8465227" y="1085850"/>
                  </a:cubicBezTo>
                  <a:cubicBezTo>
                    <a:pt x="8446376" y="1085850"/>
                    <a:pt x="8431095" y="1070214"/>
                    <a:pt x="8431095" y="1050925"/>
                  </a:cubicBezTo>
                  <a:cubicBezTo>
                    <a:pt x="8431095" y="1031636"/>
                    <a:pt x="8446376" y="1016000"/>
                    <a:pt x="8465227" y="1016000"/>
                  </a:cubicBezTo>
                  <a:close/>
                  <a:moveTo>
                    <a:pt x="8379502" y="1016000"/>
                  </a:moveTo>
                  <a:cubicBezTo>
                    <a:pt x="8398353" y="1016000"/>
                    <a:pt x="8413634" y="1031636"/>
                    <a:pt x="8413634" y="1050925"/>
                  </a:cubicBezTo>
                  <a:cubicBezTo>
                    <a:pt x="8413634" y="1070214"/>
                    <a:pt x="8398353" y="1085850"/>
                    <a:pt x="8379502" y="1085850"/>
                  </a:cubicBezTo>
                  <a:cubicBezTo>
                    <a:pt x="8360651" y="1085850"/>
                    <a:pt x="8345370" y="1070214"/>
                    <a:pt x="8345370" y="1050925"/>
                  </a:cubicBezTo>
                  <a:cubicBezTo>
                    <a:pt x="8345370" y="1031636"/>
                    <a:pt x="8360651" y="1016000"/>
                    <a:pt x="8379502" y="1016000"/>
                  </a:cubicBezTo>
                  <a:close/>
                  <a:moveTo>
                    <a:pt x="8293777" y="1016000"/>
                  </a:moveTo>
                  <a:cubicBezTo>
                    <a:pt x="8312628" y="1016000"/>
                    <a:pt x="8327909" y="1031636"/>
                    <a:pt x="8327909" y="1050925"/>
                  </a:cubicBezTo>
                  <a:cubicBezTo>
                    <a:pt x="8327909" y="1070214"/>
                    <a:pt x="8312628" y="1085850"/>
                    <a:pt x="8293777" y="1085850"/>
                  </a:cubicBezTo>
                  <a:cubicBezTo>
                    <a:pt x="8274926" y="1085850"/>
                    <a:pt x="8259645" y="1070214"/>
                    <a:pt x="8259645" y="1050925"/>
                  </a:cubicBezTo>
                  <a:cubicBezTo>
                    <a:pt x="8259645" y="1031636"/>
                    <a:pt x="8274926" y="1016000"/>
                    <a:pt x="8293777" y="1016000"/>
                  </a:cubicBezTo>
                  <a:close/>
                  <a:moveTo>
                    <a:pt x="8208052" y="1016000"/>
                  </a:moveTo>
                  <a:cubicBezTo>
                    <a:pt x="8226903" y="1016000"/>
                    <a:pt x="8242184" y="1031636"/>
                    <a:pt x="8242184" y="1050925"/>
                  </a:cubicBezTo>
                  <a:cubicBezTo>
                    <a:pt x="8242184" y="1070214"/>
                    <a:pt x="8226903" y="1085850"/>
                    <a:pt x="8208052" y="1085850"/>
                  </a:cubicBezTo>
                  <a:cubicBezTo>
                    <a:pt x="8189201" y="1085850"/>
                    <a:pt x="8173920" y="1070214"/>
                    <a:pt x="8173920" y="1050925"/>
                  </a:cubicBezTo>
                  <a:cubicBezTo>
                    <a:pt x="8173920" y="1031636"/>
                    <a:pt x="8189201" y="1016000"/>
                    <a:pt x="8208052" y="1016000"/>
                  </a:cubicBezTo>
                  <a:close/>
                  <a:moveTo>
                    <a:pt x="8125502" y="1016000"/>
                  </a:moveTo>
                  <a:cubicBezTo>
                    <a:pt x="8146106" y="1016000"/>
                    <a:pt x="8162809" y="1031636"/>
                    <a:pt x="8162809" y="1050925"/>
                  </a:cubicBezTo>
                  <a:cubicBezTo>
                    <a:pt x="8162809" y="1070214"/>
                    <a:pt x="8146106" y="1085850"/>
                    <a:pt x="8125502" y="1085850"/>
                  </a:cubicBezTo>
                  <a:cubicBezTo>
                    <a:pt x="8104898" y="1085850"/>
                    <a:pt x="8088195" y="1070214"/>
                    <a:pt x="8088195" y="1050925"/>
                  </a:cubicBezTo>
                  <a:cubicBezTo>
                    <a:pt x="8088195" y="1031636"/>
                    <a:pt x="8104898" y="1016000"/>
                    <a:pt x="8125502" y="1016000"/>
                  </a:cubicBezTo>
                  <a:close/>
                  <a:moveTo>
                    <a:pt x="8042952" y="1016000"/>
                  </a:moveTo>
                  <a:cubicBezTo>
                    <a:pt x="8061803" y="1016000"/>
                    <a:pt x="8077084" y="1031636"/>
                    <a:pt x="8077084" y="1050925"/>
                  </a:cubicBezTo>
                  <a:cubicBezTo>
                    <a:pt x="8077084" y="1070214"/>
                    <a:pt x="8061803" y="1085850"/>
                    <a:pt x="8042952" y="1085850"/>
                  </a:cubicBezTo>
                  <a:cubicBezTo>
                    <a:pt x="8024101" y="1085850"/>
                    <a:pt x="8008820" y="1070214"/>
                    <a:pt x="8008820" y="1050925"/>
                  </a:cubicBezTo>
                  <a:cubicBezTo>
                    <a:pt x="8008820" y="1031636"/>
                    <a:pt x="8024101" y="1016000"/>
                    <a:pt x="8042952" y="1016000"/>
                  </a:cubicBezTo>
                  <a:close/>
                  <a:moveTo>
                    <a:pt x="7957227" y="1016000"/>
                  </a:moveTo>
                  <a:cubicBezTo>
                    <a:pt x="7976078" y="1016000"/>
                    <a:pt x="7991359" y="1031636"/>
                    <a:pt x="7991359" y="1050925"/>
                  </a:cubicBezTo>
                  <a:cubicBezTo>
                    <a:pt x="7991359" y="1070214"/>
                    <a:pt x="7976078" y="1085850"/>
                    <a:pt x="7957227" y="1085850"/>
                  </a:cubicBezTo>
                  <a:cubicBezTo>
                    <a:pt x="7938376" y="1085850"/>
                    <a:pt x="7923095" y="1070214"/>
                    <a:pt x="7923095" y="1050925"/>
                  </a:cubicBezTo>
                  <a:cubicBezTo>
                    <a:pt x="7923095" y="1031636"/>
                    <a:pt x="7938376" y="1016000"/>
                    <a:pt x="7957227" y="1016000"/>
                  </a:cubicBezTo>
                  <a:close/>
                  <a:moveTo>
                    <a:pt x="7871502" y="1016000"/>
                  </a:moveTo>
                  <a:cubicBezTo>
                    <a:pt x="7890353" y="1016000"/>
                    <a:pt x="7905634" y="1031636"/>
                    <a:pt x="7905634" y="1050925"/>
                  </a:cubicBezTo>
                  <a:cubicBezTo>
                    <a:pt x="7905634" y="1070214"/>
                    <a:pt x="7890353" y="1085850"/>
                    <a:pt x="7871502" y="1085850"/>
                  </a:cubicBezTo>
                  <a:cubicBezTo>
                    <a:pt x="7852651" y="1085850"/>
                    <a:pt x="7837370" y="1070214"/>
                    <a:pt x="7837370" y="1050925"/>
                  </a:cubicBezTo>
                  <a:cubicBezTo>
                    <a:pt x="7837370" y="1031636"/>
                    <a:pt x="7852651" y="1016000"/>
                    <a:pt x="7871502" y="1016000"/>
                  </a:cubicBezTo>
                  <a:close/>
                  <a:moveTo>
                    <a:pt x="7785777" y="1016000"/>
                  </a:moveTo>
                  <a:cubicBezTo>
                    <a:pt x="7804628" y="1016000"/>
                    <a:pt x="7819909" y="1031636"/>
                    <a:pt x="7819909" y="1050925"/>
                  </a:cubicBezTo>
                  <a:cubicBezTo>
                    <a:pt x="7819909" y="1070214"/>
                    <a:pt x="7804628" y="1085850"/>
                    <a:pt x="7785777" y="1085850"/>
                  </a:cubicBezTo>
                  <a:cubicBezTo>
                    <a:pt x="7766926" y="1085850"/>
                    <a:pt x="7751645" y="1070214"/>
                    <a:pt x="7751645" y="1050925"/>
                  </a:cubicBezTo>
                  <a:cubicBezTo>
                    <a:pt x="7751645" y="1031636"/>
                    <a:pt x="7766926" y="1016000"/>
                    <a:pt x="7785777" y="1016000"/>
                  </a:cubicBezTo>
                  <a:close/>
                  <a:moveTo>
                    <a:pt x="7706402" y="1016000"/>
                  </a:moveTo>
                  <a:cubicBezTo>
                    <a:pt x="7725253" y="1016000"/>
                    <a:pt x="7740534" y="1031636"/>
                    <a:pt x="7740534" y="1050925"/>
                  </a:cubicBezTo>
                  <a:cubicBezTo>
                    <a:pt x="7740534" y="1070214"/>
                    <a:pt x="7725253" y="1085850"/>
                    <a:pt x="7706402" y="1085850"/>
                  </a:cubicBezTo>
                  <a:cubicBezTo>
                    <a:pt x="7687551" y="1085850"/>
                    <a:pt x="7672270" y="1070214"/>
                    <a:pt x="7672270" y="1050925"/>
                  </a:cubicBezTo>
                  <a:cubicBezTo>
                    <a:pt x="7672270" y="1031636"/>
                    <a:pt x="7687551" y="1016000"/>
                    <a:pt x="7706402" y="1016000"/>
                  </a:cubicBezTo>
                  <a:close/>
                  <a:moveTo>
                    <a:pt x="7620677" y="1016000"/>
                  </a:moveTo>
                  <a:cubicBezTo>
                    <a:pt x="7639528" y="1016000"/>
                    <a:pt x="7654809" y="1031636"/>
                    <a:pt x="7654809" y="1050925"/>
                  </a:cubicBezTo>
                  <a:cubicBezTo>
                    <a:pt x="7654809" y="1070214"/>
                    <a:pt x="7639528" y="1085850"/>
                    <a:pt x="7620677" y="1085850"/>
                  </a:cubicBezTo>
                  <a:cubicBezTo>
                    <a:pt x="7601826" y="1085850"/>
                    <a:pt x="7586545" y="1070214"/>
                    <a:pt x="7586545" y="1050925"/>
                  </a:cubicBezTo>
                  <a:cubicBezTo>
                    <a:pt x="7586545" y="1031636"/>
                    <a:pt x="7601826" y="1016000"/>
                    <a:pt x="7620677" y="1016000"/>
                  </a:cubicBezTo>
                  <a:close/>
                  <a:moveTo>
                    <a:pt x="7534952" y="1016000"/>
                  </a:moveTo>
                  <a:cubicBezTo>
                    <a:pt x="7553803" y="1016000"/>
                    <a:pt x="7569084" y="1031636"/>
                    <a:pt x="7569084" y="1050925"/>
                  </a:cubicBezTo>
                  <a:cubicBezTo>
                    <a:pt x="7569084" y="1070214"/>
                    <a:pt x="7553803" y="1085850"/>
                    <a:pt x="7534952" y="1085850"/>
                  </a:cubicBezTo>
                  <a:cubicBezTo>
                    <a:pt x="7516101" y="1085850"/>
                    <a:pt x="7500820" y="1070214"/>
                    <a:pt x="7500820" y="1050925"/>
                  </a:cubicBezTo>
                  <a:cubicBezTo>
                    <a:pt x="7500820" y="1031636"/>
                    <a:pt x="7516101" y="1016000"/>
                    <a:pt x="7534952" y="1016000"/>
                  </a:cubicBezTo>
                  <a:close/>
                  <a:moveTo>
                    <a:pt x="7449227" y="1016000"/>
                  </a:moveTo>
                  <a:cubicBezTo>
                    <a:pt x="7468078" y="1016000"/>
                    <a:pt x="7483359" y="1031636"/>
                    <a:pt x="7483359" y="1050925"/>
                  </a:cubicBezTo>
                  <a:cubicBezTo>
                    <a:pt x="7483359" y="1070214"/>
                    <a:pt x="7468078" y="1085850"/>
                    <a:pt x="7449227" y="1085850"/>
                  </a:cubicBezTo>
                  <a:cubicBezTo>
                    <a:pt x="7430376" y="1085850"/>
                    <a:pt x="7415095" y="1070214"/>
                    <a:pt x="7415095" y="1050925"/>
                  </a:cubicBezTo>
                  <a:cubicBezTo>
                    <a:pt x="7415095" y="1031636"/>
                    <a:pt x="7430376" y="1016000"/>
                    <a:pt x="7449227" y="1016000"/>
                  </a:cubicBezTo>
                  <a:close/>
                  <a:moveTo>
                    <a:pt x="7366677" y="1016000"/>
                  </a:moveTo>
                  <a:cubicBezTo>
                    <a:pt x="7387281" y="1016000"/>
                    <a:pt x="7403984" y="1031636"/>
                    <a:pt x="7403984" y="1050925"/>
                  </a:cubicBezTo>
                  <a:cubicBezTo>
                    <a:pt x="7403984" y="1070214"/>
                    <a:pt x="7387281" y="1085850"/>
                    <a:pt x="7366677" y="1085850"/>
                  </a:cubicBezTo>
                  <a:cubicBezTo>
                    <a:pt x="7346073" y="1085850"/>
                    <a:pt x="7329370" y="1070214"/>
                    <a:pt x="7329370" y="1050925"/>
                  </a:cubicBezTo>
                  <a:cubicBezTo>
                    <a:pt x="7329370" y="1031636"/>
                    <a:pt x="7346073" y="1016000"/>
                    <a:pt x="7366677" y="1016000"/>
                  </a:cubicBezTo>
                  <a:close/>
                  <a:moveTo>
                    <a:pt x="7284127" y="1016000"/>
                  </a:moveTo>
                  <a:cubicBezTo>
                    <a:pt x="7302978" y="1016000"/>
                    <a:pt x="7318259" y="1031636"/>
                    <a:pt x="7318259" y="1050925"/>
                  </a:cubicBezTo>
                  <a:cubicBezTo>
                    <a:pt x="7318259" y="1070214"/>
                    <a:pt x="7302978" y="1085850"/>
                    <a:pt x="7284127" y="1085850"/>
                  </a:cubicBezTo>
                  <a:cubicBezTo>
                    <a:pt x="7265276" y="1085850"/>
                    <a:pt x="7249995" y="1070214"/>
                    <a:pt x="7249995" y="1050925"/>
                  </a:cubicBezTo>
                  <a:cubicBezTo>
                    <a:pt x="7249995" y="1031636"/>
                    <a:pt x="7265276" y="1016000"/>
                    <a:pt x="7284127" y="1016000"/>
                  </a:cubicBezTo>
                  <a:close/>
                  <a:moveTo>
                    <a:pt x="7198402" y="1016000"/>
                  </a:moveTo>
                  <a:cubicBezTo>
                    <a:pt x="7217253" y="1016000"/>
                    <a:pt x="7232534" y="1031636"/>
                    <a:pt x="7232534" y="1050925"/>
                  </a:cubicBezTo>
                  <a:cubicBezTo>
                    <a:pt x="7232534" y="1070214"/>
                    <a:pt x="7217253" y="1085850"/>
                    <a:pt x="7198402" y="1085850"/>
                  </a:cubicBezTo>
                  <a:cubicBezTo>
                    <a:pt x="7179551" y="1085850"/>
                    <a:pt x="7164270" y="1070214"/>
                    <a:pt x="7164270" y="1050925"/>
                  </a:cubicBezTo>
                  <a:cubicBezTo>
                    <a:pt x="7164270" y="1031636"/>
                    <a:pt x="7179551" y="1016000"/>
                    <a:pt x="7198402" y="1016000"/>
                  </a:cubicBezTo>
                  <a:close/>
                  <a:moveTo>
                    <a:pt x="7112677" y="1016000"/>
                  </a:moveTo>
                  <a:cubicBezTo>
                    <a:pt x="7131528" y="1016000"/>
                    <a:pt x="7146809" y="1031636"/>
                    <a:pt x="7146809" y="1050925"/>
                  </a:cubicBezTo>
                  <a:cubicBezTo>
                    <a:pt x="7146809" y="1070214"/>
                    <a:pt x="7131528" y="1085850"/>
                    <a:pt x="7112677" y="1085850"/>
                  </a:cubicBezTo>
                  <a:cubicBezTo>
                    <a:pt x="7093826" y="1085850"/>
                    <a:pt x="7078545" y="1070214"/>
                    <a:pt x="7078545" y="1050925"/>
                  </a:cubicBezTo>
                  <a:cubicBezTo>
                    <a:pt x="7078545" y="1031636"/>
                    <a:pt x="7093826" y="1016000"/>
                    <a:pt x="7112677" y="1016000"/>
                  </a:cubicBezTo>
                  <a:close/>
                  <a:moveTo>
                    <a:pt x="7027745" y="1016000"/>
                  </a:moveTo>
                  <a:cubicBezTo>
                    <a:pt x="7047034" y="1016000"/>
                    <a:pt x="7062670" y="1031636"/>
                    <a:pt x="7062670" y="1050925"/>
                  </a:cubicBezTo>
                  <a:cubicBezTo>
                    <a:pt x="7062670" y="1070214"/>
                    <a:pt x="7047034" y="1085850"/>
                    <a:pt x="7027745" y="1085850"/>
                  </a:cubicBezTo>
                  <a:cubicBezTo>
                    <a:pt x="7008456" y="1085850"/>
                    <a:pt x="6992820" y="1070214"/>
                    <a:pt x="6992820" y="1050925"/>
                  </a:cubicBezTo>
                  <a:cubicBezTo>
                    <a:pt x="6992820" y="1031636"/>
                    <a:pt x="7008456" y="1016000"/>
                    <a:pt x="7027745" y="1016000"/>
                  </a:cubicBezTo>
                  <a:close/>
                  <a:moveTo>
                    <a:pt x="6947577" y="1016000"/>
                  </a:moveTo>
                  <a:cubicBezTo>
                    <a:pt x="6966428" y="1016000"/>
                    <a:pt x="6981709" y="1031636"/>
                    <a:pt x="6981709" y="1050925"/>
                  </a:cubicBezTo>
                  <a:cubicBezTo>
                    <a:pt x="6981709" y="1070214"/>
                    <a:pt x="6966428" y="1085850"/>
                    <a:pt x="6947577" y="1085850"/>
                  </a:cubicBezTo>
                  <a:cubicBezTo>
                    <a:pt x="6928726" y="1085850"/>
                    <a:pt x="6913445" y="1070214"/>
                    <a:pt x="6913445" y="1050925"/>
                  </a:cubicBezTo>
                  <a:cubicBezTo>
                    <a:pt x="6913445" y="1031636"/>
                    <a:pt x="6928726" y="1016000"/>
                    <a:pt x="6947577" y="1016000"/>
                  </a:cubicBezTo>
                  <a:close/>
                  <a:moveTo>
                    <a:pt x="6861852" y="1016000"/>
                  </a:moveTo>
                  <a:cubicBezTo>
                    <a:pt x="6880703" y="1016000"/>
                    <a:pt x="6895984" y="1031636"/>
                    <a:pt x="6895984" y="1050925"/>
                  </a:cubicBezTo>
                  <a:cubicBezTo>
                    <a:pt x="6895984" y="1070214"/>
                    <a:pt x="6880703" y="1085850"/>
                    <a:pt x="6861852" y="1085850"/>
                  </a:cubicBezTo>
                  <a:cubicBezTo>
                    <a:pt x="6843001" y="1085850"/>
                    <a:pt x="6827720" y="1070214"/>
                    <a:pt x="6827720" y="1050925"/>
                  </a:cubicBezTo>
                  <a:cubicBezTo>
                    <a:pt x="6827720" y="1031636"/>
                    <a:pt x="6843001" y="1016000"/>
                    <a:pt x="6861852" y="1016000"/>
                  </a:cubicBezTo>
                  <a:close/>
                  <a:moveTo>
                    <a:pt x="6776127" y="1016000"/>
                  </a:moveTo>
                  <a:cubicBezTo>
                    <a:pt x="6794978" y="1016000"/>
                    <a:pt x="6810259" y="1031636"/>
                    <a:pt x="6810259" y="1050925"/>
                  </a:cubicBezTo>
                  <a:cubicBezTo>
                    <a:pt x="6810259" y="1070214"/>
                    <a:pt x="6794978" y="1085850"/>
                    <a:pt x="6776127" y="1085850"/>
                  </a:cubicBezTo>
                  <a:cubicBezTo>
                    <a:pt x="6757276" y="1085850"/>
                    <a:pt x="6741995" y="1070214"/>
                    <a:pt x="6741995" y="1050925"/>
                  </a:cubicBezTo>
                  <a:cubicBezTo>
                    <a:pt x="6741995" y="1031636"/>
                    <a:pt x="6757276" y="1016000"/>
                    <a:pt x="6776127" y="1016000"/>
                  </a:cubicBezTo>
                  <a:close/>
                  <a:moveTo>
                    <a:pt x="6691195" y="1016000"/>
                  </a:moveTo>
                  <a:cubicBezTo>
                    <a:pt x="6710484" y="1016000"/>
                    <a:pt x="6726120" y="1031636"/>
                    <a:pt x="6726120" y="1050925"/>
                  </a:cubicBezTo>
                  <a:cubicBezTo>
                    <a:pt x="6726120" y="1070214"/>
                    <a:pt x="6710484" y="1085850"/>
                    <a:pt x="6691195" y="1085850"/>
                  </a:cubicBezTo>
                  <a:cubicBezTo>
                    <a:pt x="6671906" y="1085850"/>
                    <a:pt x="6656270" y="1070214"/>
                    <a:pt x="6656270" y="1050925"/>
                  </a:cubicBezTo>
                  <a:cubicBezTo>
                    <a:pt x="6656270" y="1031636"/>
                    <a:pt x="6671906" y="1016000"/>
                    <a:pt x="6691195" y="1016000"/>
                  </a:cubicBezTo>
                  <a:close/>
                  <a:moveTo>
                    <a:pt x="6607852" y="1016000"/>
                  </a:moveTo>
                  <a:cubicBezTo>
                    <a:pt x="6628456" y="1016000"/>
                    <a:pt x="6645159" y="1031636"/>
                    <a:pt x="6645159" y="1050925"/>
                  </a:cubicBezTo>
                  <a:cubicBezTo>
                    <a:pt x="6645159" y="1070214"/>
                    <a:pt x="6628456" y="1085850"/>
                    <a:pt x="6607852" y="1085850"/>
                  </a:cubicBezTo>
                  <a:cubicBezTo>
                    <a:pt x="6587248" y="1085850"/>
                    <a:pt x="6570545" y="1070214"/>
                    <a:pt x="6570545" y="1050925"/>
                  </a:cubicBezTo>
                  <a:cubicBezTo>
                    <a:pt x="6570545" y="1031636"/>
                    <a:pt x="6587248" y="1016000"/>
                    <a:pt x="6607852" y="1016000"/>
                  </a:cubicBezTo>
                  <a:close/>
                  <a:moveTo>
                    <a:pt x="6525302" y="1016000"/>
                  </a:moveTo>
                  <a:cubicBezTo>
                    <a:pt x="6544153" y="1016000"/>
                    <a:pt x="6559434" y="1031636"/>
                    <a:pt x="6559434" y="1050925"/>
                  </a:cubicBezTo>
                  <a:cubicBezTo>
                    <a:pt x="6559434" y="1070214"/>
                    <a:pt x="6544153" y="1085850"/>
                    <a:pt x="6525302" y="1085850"/>
                  </a:cubicBezTo>
                  <a:cubicBezTo>
                    <a:pt x="6506451" y="1085850"/>
                    <a:pt x="6491170" y="1070214"/>
                    <a:pt x="6491170" y="1050925"/>
                  </a:cubicBezTo>
                  <a:cubicBezTo>
                    <a:pt x="6491170" y="1031636"/>
                    <a:pt x="6506451" y="1016000"/>
                    <a:pt x="6525302" y="1016000"/>
                  </a:cubicBezTo>
                  <a:close/>
                  <a:moveTo>
                    <a:pt x="6439577" y="1016000"/>
                  </a:moveTo>
                  <a:cubicBezTo>
                    <a:pt x="6458428" y="1016000"/>
                    <a:pt x="6473709" y="1031636"/>
                    <a:pt x="6473709" y="1050925"/>
                  </a:cubicBezTo>
                  <a:cubicBezTo>
                    <a:pt x="6473709" y="1070214"/>
                    <a:pt x="6458428" y="1085850"/>
                    <a:pt x="6439577" y="1085850"/>
                  </a:cubicBezTo>
                  <a:cubicBezTo>
                    <a:pt x="6420726" y="1085850"/>
                    <a:pt x="6405445" y="1070214"/>
                    <a:pt x="6405445" y="1050925"/>
                  </a:cubicBezTo>
                  <a:cubicBezTo>
                    <a:pt x="6405445" y="1031636"/>
                    <a:pt x="6420726" y="1016000"/>
                    <a:pt x="6439577" y="1016000"/>
                  </a:cubicBezTo>
                  <a:close/>
                  <a:moveTo>
                    <a:pt x="6353852" y="1016000"/>
                  </a:moveTo>
                  <a:cubicBezTo>
                    <a:pt x="6372703" y="1016000"/>
                    <a:pt x="6387984" y="1031636"/>
                    <a:pt x="6387984" y="1050925"/>
                  </a:cubicBezTo>
                  <a:cubicBezTo>
                    <a:pt x="6387984" y="1070214"/>
                    <a:pt x="6372703" y="1085850"/>
                    <a:pt x="6353852" y="1085850"/>
                  </a:cubicBezTo>
                  <a:cubicBezTo>
                    <a:pt x="6335001" y="1085850"/>
                    <a:pt x="6319720" y="1070214"/>
                    <a:pt x="6319720" y="1050925"/>
                  </a:cubicBezTo>
                  <a:cubicBezTo>
                    <a:pt x="6319720" y="1031636"/>
                    <a:pt x="6335001" y="1016000"/>
                    <a:pt x="6353852" y="1016000"/>
                  </a:cubicBezTo>
                  <a:close/>
                  <a:moveTo>
                    <a:pt x="6268920" y="1016000"/>
                  </a:moveTo>
                  <a:cubicBezTo>
                    <a:pt x="6288209" y="1016000"/>
                    <a:pt x="6303845" y="1031636"/>
                    <a:pt x="6303845" y="1050925"/>
                  </a:cubicBezTo>
                  <a:cubicBezTo>
                    <a:pt x="6303845" y="1070214"/>
                    <a:pt x="6288209" y="1085850"/>
                    <a:pt x="6268920" y="1085850"/>
                  </a:cubicBezTo>
                  <a:cubicBezTo>
                    <a:pt x="6249631" y="1085850"/>
                    <a:pt x="6233995" y="1070214"/>
                    <a:pt x="6233995" y="1050925"/>
                  </a:cubicBezTo>
                  <a:cubicBezTo>
                    <a:pt x="6233995" y="1031636"/>
                    <a:pt x="6249631" y="1016000"/>
                    <a:pt x="6268920" y="1016000"/>
                  </a:cubicBezTo>
                  <a:close/>
                  <a:moveTo>
                    <a:pt x="6188752" y="1016000"/>
                  </a:moveTo>
                  <a:cubicBezTo>
                    <a:pt x="6207603" y="1016000"/>
                    <a:pt x="6222884" y="1031636"/>
                    <a:pt x="6222884" y="1050925"/>
                  </a:cubicBezTo>
                  <a:cubicBezTo>
                    <a:pt x="6222884" y="1070214"/>
                    <a:pt x="6207603" y="1085850"/>
                    <a:pt x="6188752" y="1085850"/>
                  </a:cubicBezTo>
                  <a:cubicBezTo>
                    <a:pt x="6169901" y="1085850"/>
                    <a:pt x="6154620" y="1070214"/>
                    <a:pt x="6154620" y="1050925"/>
                  </a:cubicBezTo>
                  <a:cubicBezTo>
                    <a:pt x="6154620" y="1031636"/>
                    <a:pt x="6169901" y="1016000"/>
                    <a:pt x="6188752" y="1016000"/>
                  </a:cubicBezTo>
                  <a:close/>
                  <a:moveTo>
                    <a:pt x="6103027" y="1016000"/>
                  </a:moveTo>
                  <a:cubicBezTo>
                    <a:pt x="6121878" y="1016000"/>
                    <a:pt x="6137159" y="1031636"/>
                    <a:pt x="6137159" y="1050925"/>
                  </a:cubicBezTo>
                  <a:cubicBezTo>
                    <a:pt x="6137159" y="1070214"/>
                    <a:pt x="6121878" y="1085850"/>
                    <a:pt x="6103027" y="1085850"/>
                  </a:cubicBezTo>
                  <a:cubicBezTo>
                    <a:pt x="6084176" y="1085850"/>
                    <a:pt x="6068895" y="1070214"/>
                    <a:pt x="6068895" y="1050925"/>
                  </a:cubicBezTo>
                  <a:cubicBezTo>
                    <a:pt x="6068895" y="1031636"/>
                    <a:pt x="6084176" y="1016000"/>
                    <a:pt x="6103027" y="1016000"/>
                  </a:cubicBezTo>
                  <a:close/>
                  <a:moveTo>
                    <a:pt x="5766477" y="1016000"/>
                  </a:moveTo>
                  <a:cubicBezTo>
                    <a:pt x="5785328" y="1016000"/>
                    <a:pt x="5800609" y="1031636"/>
                    <a:pt x="5800609" y="1050925"/>
                  </a:cubicBezTo>
                  <a:cubicBezTo>
                    <a:pt x="5800609" y="1070214"/>
                    <a:pt x="5785328" y="1085850"/>
                    <a:pt x="5766477" y="1085850"/>
                  </a:cubicBezTo>
                  <a:cubicBezTo>
                    <a:pt x="5747626" y="1085850"/>
                    <a:pt x="5732345" y="1070214"/>
                    <a:pt x="5732345" y="1050925"/>
                  </a:cubicBezTo>
                  <a:cubicBezTo>
                    <a:pt x="5732345" y="1031636"/>
                    <a:pt x="5747626" y="1016000"/>
                    <a:pt x="5766477" y="1016000"/>
                  </a:cubicBezTo>
                  <a:close/>
                  <a:moveTo>
                    <a:pt x="5680752" y="1016000"/>
                  </a:moveTo>
                  <a:cubicBezTo>
                    <a:pt x="5699603" y="1016000"/>
                    <a:pt x="5714884" y="1031636"/>
                    <a:pt x="5714884" y="1050925"/>
                  </a:cubicBezTo>
                  <a:cubicBezTo>
                    <a:pt x="5714884" y="1070214"/>
                    <a:pt x="5699603" y="1085850"/>
                    <a:pt x="5680752" y="1085850"/>
                  </a:cubicBezTo>
                  <a:cubicBezTo>
                    <a:pt x="5661901" y="1085850"/>
                    <a:pt x="5646620" y="1070214"/>
                    <a:pt x="5646620" y="1050925"/>
                  </a:cubicBezTo>
                  <a:cubicBezTo>
                    <a:pt x="5646620" y="1031636"/>
                    <a:pt x="5661901" y="1016000"/>
                    <a:pt x="5680752" y="1016000"/>
                  </a:cubicBezTo>
                  <a:close/>
                  <a:moveTo>
                    <a:pt x="5510095" y="1016000"/>
                  </a:moveTo>
                  <a:cubicBezTo>
                    <a:pt x="5529384" y="1016000"/>
                    <a:pt x="5545020" y="1031636"/>
                    <a:pt x="5545020" y="1050925"/>
                  </a:cubicBezTo>
                  <a:cubicBezTo>
                    <a:pt x="5545020" y="1070214"/>
                    <a:pt x="5529384" y="1085850"/>
                    <a:pt x="5510095" y="1085850"/>
                  </a:cubicBezTo>
                  <a:cubicBezTo>
                    <a:pt x="5490806" y="1085850"/>
                    <a:pt x="5475170" y="1070214"/>
                    <a:pt x="5475170" y="1050925"/>
                  </a:cubicBezTo>
                  <a:cubicBezTo>
                    <a:pt x="5475170" y="1031636"/>
                    <a:pt x="5490806" y="1016000"/>
                    <a:pt x="5510095" y="1016000"/>
                  </a:cubicBezTo>
                  <a:close/>
                  <a:moveTo>
                    <a:pt x="5429927" y="1016000"/>
                  </a:moveTo>
                  <a:cubicBezTo>
                    <a:pt x="5448778" y="1016000"/>
                    <a:pt x="5464059" y="1031636"/>
                    <a:pt x="5464059" y="1050925"/>
                  </a:cubicBezTo>
                  <a:cubicBezTo>
                    <a:pt x="5464059" y="1070214"/>
                    <a:pt x="5448778" y="1085850"/>
                    <a:pt x="5429927" y="1085850"/>
                  </a:cubicBezTo>
                  <a:cubicBezTo>
                    <a:pt x="5411076" y="1085850"/>
                    <a:pt x="5395795" y="1070214"/>
                    <a:pt x="5395795" y="1050925"/>
                  </a:cubicBezTo>
                  <a:cubicBezTo>
                    <a:pt x="5395795" y="1031636"/>
                    <a:pt x="5411076" y="1016000"/>
                    <a:pt x="5429927" y="1016000"/>
                  </a:cubicBezTo>
                  <a:close/>
                  <a:moveTo>
                    <a:pt x="5344202" y="1016000"/>
                  </a:moveTo>
                  <a:cubicBezTo>
                    <a:pt x="5363053" y="1016000"/>
                    <a:pt x="5378334" y="1031636"/>
                    <a:pt x="5378334" y="1050925"/>
                  </a:cubicBezTo>
                  <a:cubicBezTo>
                    <a:pt x="5378334" y="1070214"/>
                    <a:pt x="5363053" y="1085850"/>
                    <a:pt x="5344202" y="1085850"/>
                  </a:cubicBezTo>
                  <a:cubicBezTo>
                    <a:pt x="5325351" y="1085850"/>
                    <a:pt x="5310070" y="1070214"/>
                    <a:pt x="5310070" y="1050925"/>
                  </a:cubicBezTo>
                  <a:cubicBezTo>
                    <a:pt x="5310070" y="1031636"/>
                    <a:pt x="5325351" y="1016000"/>
                    <a:pt x="5344202" y="1016000"/>
                  </a:cubicBezTo>
                  <a:close/>
                  <a:moveTo>
                    <a:pt x="4585377" y="1016000"/>
                  </a:moveTo>
                  <a:cubicBezTo>
                    <a:pt x="4604228" y="1016000"/>
                    <a:pt x="4619509" y="1031636"/>
                    <a:pt x="4619509" y="1050925"/>
                  </a:cubicBezTo>
                  <a:cubicBezTo>
                    <a:pt x="4619509" y="1070214"/>
                    <a:pt x="4604228" y="1085850"/>
                    <a:pt x="4585377" y="1085850"/>
                  </a:cubicBezTo>
                  <a:cubicBezTo>
                    <a:pt x="4566526" y="1085850"/>
                    <a:pt x="4551245" y="1070214"/>
                    <a:pt x="4551245" y="1050925"/>
                  </a:cubicBezTo>
                  <a:cubicBezTo>
                    <a:pt x="4551245" y="1031636"/>
                    <a:pt x="4566526" y="1016000"/>
                    <a:pt x="4585377" y="1016000"/>
                  </a:cubicBezTo>
                  <a:close/>
                  <a:moveTo>
                    <a:pt x="4415515" y="1016000"/>
                  </a:moveTo>
                  <a:cubicBezTo>
                    <a:pt x="4434366" y="1016000"/>
                    <a:pt x="4449647" y="1031636"/>
                    <a:pt x="4449647" y="1050925"/>
                  </a:cubicBezTo>
                  <a:cubicBezTo>
                    <a:pt x="4449647" y="1070214"/>
                    <a:pt x="4434366" y="1085850"/>
                    <a:pt x="4415515" y="1085850"/>
                  </a:cubicBezTo>
                  <a:cubicBezTo>
                    <a:pt x="4396664" y="1085850"/>
                    <a:pt x="4381383" y="1070214"/>
                    <a:pt x="4381383" y="1050925"/>
                  </a:cubicBezTo>
                  <a:cubicBezTo>
                    <a:pt x="4381383" y="1031636"/>
                    <a:pt x="4396664" y="1016000"/>
                    <a:pt x="4415515" y="1016000"/>
                  </a:cubicBezTo>
                  <a:close/>
                  <a:moveTo>
                    <a:pt x="3912277" y="1016000"/>
                  </a:moveTo>
                  <a:cubicBezTo>
                    <a:pt x="3931128" y="1016000"/>
                    <a:pt x="3946409" y="1031636"/>
                    <a:pt x="3946409" y="1050925"/>
                  </a:cubicBezTo>
                  <a:cubicBezTo>
                    <a:pt x="3946409" y="1070214"/>
                    <a:pt x="3931128" y="1085850"/>
                    <a:pt x="3912277" y="1085850"/>
                  </a:cubicBezTo>
                  <a:cubicBezTo>
                    <a:pt x="3893426" y="1085850"/>
                    <a:pt x="3878145" y="1070214"/>
                    <a:pt x="3878145" y="1050925"/>
                  </a:cubicBezTo>
                  <a:cubicBezTo>
                    <a:pt x="3878145" y="1031636"/>
                    <a:pt x="3893426" y="1016000"/>
                    <a:pt x="3912277" y="1016000"/>
                  </a:cubicBezTo>
                  <a:close/>
                  <a:moveTo>
                    <a:pt x="3826552" y="1016000"/>
                  </a:moveTo>
                  <a:cubicBezTo>
                    <a:pt x="3845403" y="1016000"/>
                    <a:pt x="3860684" y="1031636"/>
                    <a:pt x="3860684" y="1050925"/>
                  </a:cubicBezTo>
                  <a:cubicBezTo>
                    <a:pt x="3860684" y="1070214"/>
                    <a:pt x="3845403" y="1085850"/>
                    <a:pt x="3826552" y="1085850"/>
                  </a:cubicBezTo>
                  <a:cubicBezTo>
                    <a:pt x="3807701" y="1085850"/>
                    <a:pt x="3792420" y="1070214"/>
                    <a:pt x="3792420" y="1050925"/>
                  </a:cubicBezTo>
                  <a:cubicBezTo>
                    <a:pt x="3792420" y="1031636"/>
                    <a:pt x="3807701" y="1016000"/>
                    <a:pt x="3826552" y="1016000"/>
                  </a:cubicBezTo>
                  <a:close/>
                  <a:moveTo>
                    <a:pt x="3741620" y="1016000"/>
                  </a:moveTo>
                  <a:cubicBezTo>
                    <a:pt x="3760909" y="1016000"/>
                    <a:pt x="3776545" y="1031636"/>
                    <a:pt x="3776545" y="1050925"/>
                  </a:cubicBezTo>
                  <a:cubicBezTo>
                    <a:pt x="3776545" y="1070214"/>
                    <a:pt x="3760909" y="1085850"/>
                    <a:pt x="3741620" y="1085850"/>
                  </a:cubicBezTo>
                  <a:cubicBezTo>
                    <a:pt x="3722331" y="1085850"/>
                    <a:pt x="3706695" y="1070214"/>
                    <a:pt x="3706695" y="1050925"/>
                  </a:cubicBezTo>
                  <a:cubicBezTo>
                    <a:pt x="3706695" y="1031636"/>
                    <a:pt x="3722331" y="1016000"/>
                    <a:pt x="3741620" y="1016000"/>
                  </a:cubicBezTo>
                  <a:close/>
                  <a:moveTo>
                    <a:pt x="3234415" y="1016000"/>
                  </a:moveTo>
                  <a:cubicBezTo>
                    <a:pt x="3253266" y="1016000"/>
                    <a:pt x="3268547" y="1031636"/>
                    <a:pt x="3268547" y="1050925"/>
                  </a:cubicBezTo>
                  <a:cubicBezTo>
                    <a:pt x="3268547" y="1070214"/>
                    <a:pt x="3253266" y="1085850"/>
                    <a:pt x="3234415" y="1085850"/>
                  </a:cubicBezTo>
                  <a:cubicBezTo>
                    <a:pt x="3215564" y="1085850"/>
                    <a:pt x="3200283" y="1070214"/>
                    <a:pt x="3200283" y="1050925"/>
                  </a:cubicBezTo>
                  <a:cubicBezTo>
                    <a:pt x="3200283" y="1031636"/>
                    <a:pt x="3215564" y="1016000"/>
                    <a:pt x="3234415" y="1016000"/>
                  </a:cubicBezTo>
                  <a:close/>
                  <a:moveTo>
                    <a:pt x="3153452" y="1016000"/>
                  </a:moveTo>
                  <a:cubicBezTo>
                    <a:pt x="3172303" y="1016000"/>
                    <a:pt x="3187584" y="1031636"/>
                    <a:pt x="3187584" y="1050925"/>
                  </a:cubicBezTo>
                  <a:cubicBezTo>
                    <a:pt x="3187584" y="1070214"/>
                    <a:pt x="3172303" y="1085850"/>
                    <a:pt x="3153452" y="1085850"/>
                  </a:cubicBezTo>
                  <a:cubicBezTo>
                    <a:pt x="3134601" y="1085850"/>
                    <a:pt x="3119320" y="1070214"/>
                    <a:pt x="3119320" y="1050925"/>
                  </a:cubicBezTo>
                  <a:cubicBezTo>
                    <a:pt x="3119320" y="1031636"/>
                    <a:pt x="3134601" y="1016000"/>
                    <a:pt x="3153452" y="1016000"/>
                  </a:cubicBezTo>
                  <a:close/>
                  <a:moveTo>
                    <a:pt x="2814520" y="1016000"/>
                  </a:moveTo>
                  <a:cubicBezTo>
                    <a:pt x="2834686" y="1016000"/>
                    <a:pt x="2851033" y="1031636"/>
                    <a:pt x="2851033" y="1050925"/>
                  </a:cubicBezTo>
                  <a:cubicBezTo>
                    <a:pt x="2851033" y="1070214"/>
                    <a:pt x="2834686" y="1085850"/>
                    <a:pt x="2814520" y="1085850"/>
                  </a:cubicBezTo>
                  <a:cubicBezTo>
                    <a:pt x="2794354" y="1085850"/>
                    <a:pt x="2778007" y="1070214"/>
                    <a:pt x="2778007" y="1050925"/>
                  </a:cubicBezTo>
                  <a:cubicBezTo>
                    <a:pt x="2778007" y="1031636"/>
                    <a:pt x="2794354" y="1016000"/>
                    <a:pt x="2814520" y="1016000"/>
                  </a:cubicBezTo>
                  <a:close/>
                  <a:moveTo>
                    <a:pt x="2475627" y="1016000"/>
                  </a:moveTo>
                  <a:cubicBezTo>
                    <a:pt x="2494477" y="1016000"/>
                    <a:pt x="2509759" y="1031636"/>
                    <a:pt x="2509759" y="1050925"/>
                  </a:cubicBezTo>
                  <a:cubicBezTo>
                    <a:pt x="2509759" y="1070214"/>
                    <a:pt x="2494477" y="1085850"/>
                    <a:pt x="2475627" y="1085850"/>
                  </a:cubicBezTo>
                  <a:cubicBezTo>
                    <a:pt x="2456775" y="1085850"/>
                    <a:pt x="2441494" y="1070214"/>
                    <a:pt x="2441494" y="1050925"/>
                  </a:cubicBezTo>
                  <a:cubicBezTo>
                    <a:pt x="2441494" y="1031636"/>
                    <a:pt x="2456775" y="1016000"/>
                    <a:pt x="2475627" y="1016000"/>
                  </a:cubicBezTo>
                  <a:close/>
                  <a:moveTo>
                    <a:pt x="2394790" y="1016000"/>
                  </a:moveTo>
                  <a:cubicBezTo>
                    <a:pt x="2413638" y="1016000"/>
                    <a:pt x="2428919" y="1031636"/>
                    <a:pt x="2428919" y="1050925"/>
                  </a:cubicBezTo>
                  <a:cubicBezTo>
                    <a:pt x="2428919" y="1070214"/>
                    <a:pt x="2413638" y="1085850"/>
                    <a:pt x="2394790" y="1085850"/>
                  </a:cubicBezTo>
                  <a:cubicBezTo>
                    <a:pt x="2375933" y="1085850"/>
                    <a:pt x="2360656" y="1070214"/>
                    <a:pt x="2360656" y="1050925"/>
                  </a:cubicBezTo>
                  <a:cubicBezTo>
                    <a:pt x="2360656" y="1031636"/>
                    <a:pt x="2375933" y="1016000"/>
                    <a:pt x="2394790" y="1016000"/>
                  </a:cubicBezTo>
                  <a:close/>
                  <a:moveTo>
                    <a:pt x="2309856" y="1016000"/>
                  </a:moveTo>
                  <a:cubicBezTo>
                    <a:pt x="2329141" y="1016000"/>
                    <a:pt x="2344781" y="1031636"/>
                    <a:pt x="2344781" y="1050925"/>
                  </a:cubicBezTo>
                  <a:cubicBezTo>
                    <a:pt x="2344781" y="1070214"/>
                    <a:pt x="2329141" y="1085850"/>
                    <a:pt x="2309856" y="1085850"/>
                  </a:cubicBezTo>
                  <a:cubicBezTo>
                    <a:pt x="2290564" y="1085850"/>
                    <a:pt x="2274920" y="1070214"/>
                    <a:pt x="2274920" y="1050925"/>
                  </a:cubicBezTo>
                  <a:cubicBezTo>
                    <a:pt x="2274920" y="1031636"/>
                    <a:pt x="2290564" y="1016000"/>
                    <a:pt x="2309856" y="1016000"/>
                  </a:cubicBezTo>
                  <a:close/>
                  <a:moveTo>
                    <a:pt x="2224804" y="1016000"/>
                  </a:moveTo>
                  <a:cubicBezTo>
                    <a:pt x="2243654" y="1016000"/>
                    <a:pt x="2258936" y="1031636"/>
                    <a:pt x="2258936" y="1050925"/>
                  </a:cubicBezTo>
                  <a:cubicBezTo>
                    <a:pt x="2258936" y="1070214"/>
                    <a:pt x="2243654" y="1085850"/>
                    <a:pt x="2224804" y="1085850"/>
                  </a:cubicBezTo>
                  <a:cubicBezTo>
                    <a:pt x="2205952" y="1085850"/>
                    <a:pt x="2190671" y="1070214"/>
                    <a:pt x="2190671" y="1050925"/>
                  </a:cubicBezTo>
                  <a:cubicBezTo>
                    <a:pt x="2190671" y="1031636"/>
                    <a:pt x="2205952" y="1016000"/>
                    <a:pt x="2224804" y="1016000"/>
                  </a:cubicBezTo>
                  <a:close/>
                  <a:moveTo>
                    <a:pt x="2139055" y="1016000"/>
                  </a:moveTo>
                  <a:cubicBezTo>
                    <a:pt x="2157906" y="1016000"/>
                    <a:pt x="2173187" y="1031636"/>
                    <a:pt x="2173187" y="1050925"/>
                  </a:cubicBezTo>
                  <a:cubicBezTo>
                    <a:pt x="2173187" y="1070214"/>
                    <a:pt x="2157906" y="1085850"/>
                    <a:pt x="2139055" y="1085850"/>
                  </a:cubicBezTo>
                  <a:cubicBezTo>
                    <a:pt x="2120204" y="1085850"/>
                    <a:pt x="2104924" y="1070214"/>
                    <a:pt x="2104924" y="1050925"/>
                  </a:cubicBezTo>
                  <a:cubicBezTo>
                    <a:pt x="2104924" y="1031636"/>
                    <a:pt x="2120204" y="1016000"/>
                    <a:pt x="2139055" y="1016000"/>
                  </a:cubicBezTo>
                  <a:close/>
                  <a:moveTo>
                    <a:pt x="2055712" y="1016000"/>
                  </a:moveTo>
                  <a:cubicBezTo>
                    <a:pt x="2075877" y="1016000"/>
                    <a:pt x="2092225" y="1031636"/>
                    <a:pt x="2092225" y="1050925"/>
                  </a:cubicBezTo>
                  <a:cubicBezTo>
                    <a:pt x="2092225" y="1070214"/>
                    <a:pt x="2075877" y="1085850"/>
                    <a:pt x="2055712" y="1085850"/>
                  </a:cubicBezTo>
                  <a:cubicBezTo>
                    <a:pt x="2035546" y="1085850"/>
                    <a:pt x="2019199" y="1070214"/>
                    <a:pt x="2019199" y="1050925"/>
                  </a:cubicBezTo>
                  <a:cubicBezTo>
                    <a:pt x="2019199" y="1031636"/>
                    <a:pt x="2035546" y="1016000"/>
                    <a:pt x="2055712" y="1016000"/>
                  </a:cubicBezTo>
                  <a:close/>
                  <a:moveTo>
                    <a:pt x="1973163" y="1016000"/>
                  </a:moveTo>
                  <a:cubicBezTo>
                    <a:pt x="1992452" y="1016000"/>
                    <a:pt x="2008087" y="1031636"/>
                    <a:pt x="2008087" y="1050925"/>
                  </a:cubicBezTo>
                  <a:cubicBezTo>
                    <a:pt x="2008087" y="1070214"/>
                    <a:pt x="1992452" y="1085850"/>
                    <a:pt x="1973163" y="1085850"/>
                  </a:cubicBezTo>
                  <a:cubicBezTo>
                    <a:pt x="1953874" y="1085850"/>
                    <a:pt x="1938238" y="1070214"/>
                    <a:pt x="1938238" y="1050925"/>
                  </a:cubicBezTo>
                  <a:cubicBezTo>
                    <a:pt x="1938238" y="1031636"/>
                    <a:pt x="1953874" y="1016000"/>
                    <a:pt x="1973163" y="1016000"/>
                  </a:cubicBezTo>
                  <a:close/>
                  <a:moveTo>
                    <a:pt x="1802507" y="1016000"/>
                  </a:moveTo>
                  <a:cubicBezTo>
                    <a:pt x="1821358" y="1016000"/>
                    <a:pt x="1836638" y="1031636"/>
                    <a:pt x="1836638" y="1050925"/>
                  </a:cubicBezTo>
                  <a:cubicBezTo>
                    <a:pt x="1836638" y="1070214"/>
                    <a:pt x="1821358" y="1085850"/>
                    <a:pt x="1802507" y="1085850"/>
                  </a:cubicBezTo>
                  <a:cubicBezTo>
                    <a:pt x="1783656" y="1085850"/>
                    <a:pt x="1768375" y="1070214"/>
                    <a:pt x="1768375" y="1050925"/>
                  </a:cubicBezTo>
                  <a:cubicBezTo>
                    <a:pt x="1768375" y="1031636"/>
                    <a:pt x="1783656" y="1016000"/>
                    <a:pt x="1802507" y="1016000"/>
                  </a:cubicBezTo>
                  <a:close/>
                  <a:moveTo>
                    <a:pt x="1719169" y="1016000"/>
                  </a:moveTo>
                  <a:cubicBezTo>
                    <a:pt x="1739335" y="1016000"/>
                    <a:pt x="1755682" y="1031636"/>
                    <a:pt x="1755682" y="1050925"/>
                  </a:cubicBezTo>
                  <a:cubicBezTo>
                    <a:pt x="1755682" y="1070214"/>
                    <a:pt x="1739335" y="1085850"/>
                    <a:pt x="1719169" y="1085850"/>
                  </a:cubicBezTo>
                  <a:cubicBezTo>
                    <a:pt x="1699003" y="1085850"/>
                    <a:pt x="1682656" y="1070214"/>
                    <a:pt x="1682656" y="1050925"/>
                  </a:cubicBezTo>
                  <a:cubicBezTo>
                    <a:pt x="1682656" y="1031636"/>
                    <a:pt x="1699003" y="1016000"/>
                    <a:pt x="1719169" y="1016000"/>
                  </a:cubicBezTo>
                  <a:close/>
                  <a:moveTo>
                    <a:pt x="1636604" y="1016000"/>
                  </a:moveTo>
                  <a:cubicBezTo>
                    <a:pt x="1655892" y="1016000"/>
                    <a:pt x="1671529" y="1031636"/>
                    <a:pt x="1671529" y="1050925"/>
                  </a:cubicBezTo>
                  <a:cubicBezTo>
                    <a:pt x="1671529" y="1070214"/>
                    <a:pt x="1655892" y="1085850"/>
                    <a:pt x="1636604" y="1085850"/>
                  </a:cubicBezTo>
                  <a:cubicBezTo>
                    <a:pt x="1617314" y="1085850"/>
                    <a:pt x="1601679" y="1070214"/>
                    <a:pt x="1601679" y="1050925"/>
                  </a:cubicBezTo>
                  <a:cubicBezTo>
                    <a:pt x="1601679" y="1031636"/>
                    <a:pt x="1617314" y="1016000"/>
                    <a:pt x="1636604" y="1016000"/>
                  </a:cubicBezTo>
                  <a:close/>
                  <a:moveTo>
                    <a:pt x="1551671" y="1016000"/>
                  </a:moveTo>
                  <a:cubicBezTo>
                    <a:pt x="1570522" y="1016000"/>
                    <a:pt x="1585803" y="1031636"/>
                    <a:pt x="1585803" y="1050925"/>
                  </a:cubicBezTo>
                  <a:cubicBezTo>
                    <a:pt x="1585803" y="1070214"/>
                    <a:pt x="1570522" y="1085850"/>
                    <a:pt x="1551671" y="1085850"/>
                  </a:cubicBezTo>
                  <a:cubicBezTo>
                    <a:pt x="1532820" y="1085850"/>
                    <a:pt x="1517539" y="1070214"/>
                    <a:pt x="1517539" y="1050925"/>
                  </a:cubicBezTo>
                  <a:cubicBezTo>
                    <a:pt x="1517539" y="1031636"/>
                    <a:pt x="1532820" y="1016000"/>
                    <a:pt x="1551671" y="1016000"/>
                  </a:cubicBezTo>
                  <a:close/>
                  <a:moveTo>
                    <a:pt x="1465946" y="1016000"/>
                  </a:moveTo>
                  <a:cubicBezTo>
                    <a:pt x="1484797" y="1016000"/>
                    <a:pt x="1500078" y="1031636"/>
                    <a:pt x="1500078" y="1050925"/>
                  </a:cubicBezTo>
                  <a:cubicBezTo>
                    <a:pt x="1500078" y="1070214"/>
                    <a:pt x="1484797" y="1085850"/>
                    <a:pt x="1465946" y="1085850"/>
                  </a:cubicBezTo>
                  <a:cubicBezTo>
                    <a:pt x="1447095" y="1085850"/>
                    <a:pt x="1431814" y="1070214"/>
                    <a:pt x="1431814" y="1050925"/>
                  </a:cubicBezTo>
                  <a:cubicBezTo>
                    <a:pt x="1431814" y="1031636"/>
                    <a:pt x="1447095" y="1016000"/>
                    <a:pt x="1465946" y="1016000"/>
                  </a:cubicBezTo>
                  <a:close/>
                  <a:moveTo>
                    <a:pt x="1380229" y="1016000"/>
                  </a:moveTo>
                  <a:cubicBezTo>
                    <a:pt x="1399080" y="1016000"/>
                    <a:pt x="1414360" y="1031636"/>
                    <a:pt x="1414360" y="1050925"/>
                  </a:cubicBezTo>
                  <a:cubicBezTo>
                    <a:pt x="1414360" y="1070214"/>
                    <a:pt x="1399080" y="1085850"/>
                    <a:pt x="1380229" y="1085850"/>
                  </a:cubicBezTo>
                  <a:cubicBezTo>
                    <a:pt x="1361377" y="1085850"/>
                    <a:pt x="1346096" y="1070214"/>
                    <a:pt x="1346096" y="1050925"/>
                  </a:cubicBezTo>
                  <a:cubicBezTo>
                    <a:pt x="1346096" y="1031636"/>
                    <a:pt x="1361377" y="1016000"/>
                    <a:pt x="1380229" y="1016000"/>
                  </a:cubicBezTo>
                  <a:close/>
                  <a:moveTo>
                    <a:pt x="1300222" y="1016000"/>
                  </a:moveTo>
                  <a:cubicBezTo>
                    <a:pt x="1319509" y="1016000"/>
                    <a:pt x="1335148" y="1031636"/>
                    <a:pt x="1335148" y="1050925"/>
                  </a:cubicBezTo>
                  <a:cubicBezTo>
                    <a:pt x="1335148" y="1070214"/>
                    <a:pt x="1319509" y="1085850"/>
                    <a:pt x="1300222" y="1085850"/>
                  </a:cubicBezTo>
                  <a:cubicBezTo>
                    <a:pt x="1280933" y="1085850"/>
                    <a:pt x="1265297" y="1070214"/>
                    <a:pt x="1265297" y="1050925"/>
                  </a:cubicBezTo>
                  <a:cubicBezTo>
                    <a:pt x="1265297" y="1031636"/>
                    <a:pt x="1280933" y="1016000"/>
                    <a:pt x="1300222" y="1016000"/>
                  </a:cubicBezTo>
                  <a:close/>
                  <a:moveTo>
                    <a:pt x="621390" y="1016000"/>
                  </a:moveTo>
                  <a:cubicBezTo>
                    <a:pt x="640241" y="1016000"/>
                    <a:pt x="655522" y="1031636"/>
                    <a:pt x="655522" y="1050925"/>
                  </a:cubicBezTo>
                  <a:cubicBezTo>
                    <a:pt x="655522" y="1070214"/>
                    <a:pt x="640241" y="1085850"/>
                    <a:pt x="621390" y="1085850"/>
                  </a:cubicBezTo>
                  <a:cubicBezTo>
                    <a:pt x="602539" y="1085850"/>
                    <a:pt x="587258" y="1070214"/>
                    <a:pt x="587258" y="1050925"/>
                  </a:cubicBezTo>
                  <a:cubicBezTo>
                    <a:pt x="587258" y="1031636"/>
                    <a:pt x="602539" y="1016000"/>
                    <a:pt x="621390" y="1016000"/>
                  </a:cubicBezTo>
                  <a:close/>
                  <a:moveTo>
                    <a:pt x="541221" y="1016000"/>
                  </a:moveTo>
                  <a:cubicBezTo>
                    <a:pt x="560510" y="1016000"/>
                    <a:pt x="576146" y="1031636"/>
                    <a:pt x="576146" y="1050925"/>
                  </a:cubicBezTo>
                  <a:cubicBezTo>
                    <a:pt x="576146" y="1070214"/>
                    <a:pt x="560510" y="1085850"/>
                    <a:pt x="541221" y="1085850"/>
                  </a:cubicBezTo>
                  <a:cubicBezTo>
                    <a:pt x="521932" y="1085850"/>
                    <a:pt x="506296" y="1070214"/>
                    <a:pt x="506296" y="1050925"/>
                  </a:cubicBezTo>
                  <a:cubicBezTo>
                    <a:pt x="506296" y="1031636"/>
                    <a:pt x="521932" y="1016000"/>
                    <a:pt x="541221" y="1016000"/>
                  </a:cubicBezTo>
                  <a:close/>
                  <a:moveTo>
                    <a:pt x="9474877" y="936625"/>
                  </a:moveTo>
                  <a:cubicBezTo>
                    <a:pt x="9493728" y="936625"/>
                    <a:pt x="9509009" y="951906"/>
                    <a:pt x="9509009" y="970757"/>
                  </a:cubicBezTo>
                  <a:cubicBezTo>
                    <a:pt x="9509009" y="989608"/>
                    <a:pt x="9493728" y="1004889"/>
                    <a:pt x="9474877" y="1004889"/>
                  </a:cubicBezTo>
                  <a:cubicBezTo>
                    <a:pt x="9456026" y="1004889"/>
                    <a:pt x="9440745" y="989608"/>
                    <a:pt x="9440745" y="970757"/>
                  </a:cubicBezTo>
                  <a:cubicBezTo>
                    <a:pt x="9440745" y="951906"/>
                    <a:pt x="9456026" y="936625"/>
                    <a:pt x="9474877" y="936625"/>
                  </a:cubicBezTo>
                  <a:close/>
                  <a:moveTo>
                    <a:pt x="9389152" y="936625"/>
                  </a:moveTo>
                  <a:cubicBezTo>
                    <a:pt x="9408003" y="936625"/>
                    <a:pt x="9423284" y="951906"/>
                    <a:pt x="9423284" y="970757"/>
                  </a:cubicBezTo>
                  <a:cubicBezTo>
                    <a:pt x="9423284" y="989608"/>
                    <a:pt x="9408003" y="1004889"/>
                    <a:pt x="9389152" y="1004889"/>
                  </a:cubicBezTo>
                  <a:cubicBezTo>
                    <a:pt x="9370301" y="1004889"/>
                    <a:pt x="9355020" y="989608"/>
                    <a:pt x="9355020" y="970757"/>
                  </a:cubicBezTo>
                  <a:cubicBezTo>
                    <a:pt x="9355020" y="951906"/>
                    <a:pt x="9370301" y="936625"/>
                    <a:pt x="9389152" y="936625"/>
                  </a:cubicBezTo>
                  <a:close/>
                  <a:moveTo>
                    <a:pt x="8884327" y="936625"/>
                  </a:moveTo>
                  <a:cubicBezTo>
                    <a:pt x="8904931" y="936625"/>
                    <a:pt x="8921634" y="951906"/>
                    <a:pt x="8921634" y="970757"/>
                  </a:cubicBezTo>
                  <a:cubicBezTo>
                    <a:pt x="8921634" y="989608"/>
                    <a:pt x="8904931" y="1004889"/>
                    <a:pt x="8884327" y="1004889"/>
                  </a:cubicBezTo>
                  <a:cubicBezTo>
                    <a:pt x="8863723" y="1004889"/>
                    <a:pt x="8847020" y="989608"/>
                    <a:pt x="8847020" y="970757"/>
                  </a:cubicBezTo>
                  <a:cubicBezTo>
                    <a:pt x="8847020" y="951906"/>
                    <a:pt x="8863723" y="936625"/>
                    <a:pt x="8884327" y="936625"/>
                  </a:cubicBezTo>
                  <a:close/>
                  <a:moveTo>
                    <a:pt x="8801777" y="936625"/>
                  </a:moveTo>
                  <a:cubicBezTo>
                    <a:pt x="8820628" y="936625"/>
                    <a:pt x="8835909" y="951906"/>
                    <a:pt x="8835909" y="970757"/>
                  </a:cubicBezTo>
                  <a:cubicBezTo>
                    <a:pt x="8835909" y="989608"/>
                    <a:pt x="8820628" y="1004889"/>
                    <a:pt x="8801777" y="1004889"/>
                  </a:cubicBezTo>
                  <a:cubicBezTo>
                    <a:pt x="8782926" y="1004889"/>
                    <a:pt x="8767645" y="989608"/>
                    <a:pt x="8767645" y="970757"/>
                  </a:cubicBezTo>
                  <a:cubicBezTo>
                    <a:pt x="8767645" y="951906"/>
                    <a:pt x="8782926" y="936625"/>
                    <a:pt x="8801777" y="936625"/>
                  </a:cubicBezTo>
                  <a:close/>
                  <a:moveTo>
                    <a:pt x="8716052" y="936625"/>
                  </a:moveTo>
                  <a:cubicBezTo>
                    <a:pt x="8734903" y="936625"/>
                    <a:pt x="8750184" y="951906"/>
                    <a:pt x="8750184" y="970757"/>
                  </a:cubicBezTo>
                  <a:cubicBezTo>
                    <a:pt x="8750184" y="989608"/>
                    <a:pt x="8734903" y="1004889"/>
                    <a:pt x="8716052" y="1004889"/>
                  </a:cubicBezTo>
                  <a:cubicBezTo>
                    <a:pt x="8697201" y="1004889"/>
                    <a:pt x="8681920" y="989608"/>
                    <a:pt x="8681920" y="970757"/>
                  </a:cubicBezTo>
                  <a:cubicBezTo>
                    <a:pt x="8681920" y="951906"/>
                    <a:pt x="8697201" y="936625"/>
                    <a:pt x="8716052" y="936625"/>
                  </a:cubicBezTo>
                  <a:close/>
                  <a:moveTo>
                    <a:pt x="8630327" y="936625"/>
                  </a:moveTo>
                  <a:cubicBezTo>
                    <a:pt x="8649178" y="936625"/>
                    <a:pt x="8664459" y="951906"/>
                    <a:pt x="8664459" y="970757"/>
                  </a:cubicBezTo>
                  <a:cubicBezTo>
                    <a:pt x="8664459" y="989608"/>
                    <a:pt x="8649178" y="1004889"/>
                    <a:pt x="8630327" y="1004889"/>
                  </a:cubicBezTo>
                  <a:cubicBezTo>
                    <a:pt x="8611476" y="1004889"/>
                    <a:pt x="8596195" y="989608"/>
                    <a:pt x="8596195" y="970757"/>
                  </a:cubicBezTo>
                  <a:cubicBezTo>
                    <a:pt x="8596195" y="951906"/>
                    <a:pt x="8611476" y="936625"/>
                    <a:pt x="8630327" y="936625"/>
                  </a:cubicBezTo>
                  <a:close/>
                  <a:moveTo>
                    <a:pt x="8544602" y="936625"/>
                  </a:moveTo>
                  <a:cubicBezTo>
                    <a:pt x="8563453" y="936625"/>
                    <a:pt x="8578734" y="951906"/>
                    <a:pt x="8578734" y="970757"/>
                  </a:cubicBezTo>
                  <a:cubicBezTo>
                    <a:pt x="8578734" y="989608"/>
                    <a:pt x="8563453" y="1004889"/>
                    <a:pt x="8544602" y="1004889"/>
                  </a:cubicBezTo>
                  <a:cubicBezTo>
                    <a:pt x="8525751" y="1004889"/>
                    <a:pt x="8510470" y="989608"/>
                    <a:pt x="8510470" y="970757"/>
                  </a:cubicBezTo>
                  <a:cubicBezTo>
                    <a:pt x="8510470" y="951906"/>
                    <a:pt x="8525751" y="936625"/>
                    <a:pt x="8544602" y="936625"/>
                  </a:cubicBezTo>
                  <a:close/>
                  <a:moveTo>
                    <a:pt x="8465227" y="936625"/>
                  </a:moveTo>
                  <a:cubicBezTo>
                    <a:pt x="8484078" y="936625"/>
                    <a:pt x="8499359" y="951906"/>
                    <a:pt x="8499359" y="970757"/>
                  </a:cubicBezTo>
                  <a:cubicBezTo>
                    <a:pt x="8499359" y="989608"/>
                    <a:pt x="8484078" y="1004889"/>
                    <a:pt x="8465227" y="1004889"/>
                  </a:cubicBezTo>
                  <a:cubicBezTo>
                    <a:pt x="8446376" y="1004889"/>
                    <a:pt x="8431095" y="989608"/>
                    <a:pt x="8431095" y="970757"/>
                  </a:cubicBezTo>
                  <a:cubicBezTo>
                    <a:pt x="8431095" y="951906"/>
                    <a:pt x="8446376" y="936625"/>
                    <a:pt x="8465227" y="936625"/>
                  </a:cubicBezTo>
                  <a:close/>
                  <a:moveTo>
                    <a:pt x="8379502" y="936625"/>
                  </a:moveTo>
                  <a:cubicBezTo>
                    <a:pt x="8398353" y="936625"/>
                    <a:pt x="8413634" y="951906"/>
                    <a:pt x="8413634" y="970757"/>
                  </a:cubicBezTo>
                  <a:cubicBezTo>
                    <a:pt x="8413634" y="989608"/>
                    <a:pt x="8398353" y="1004889"/>
                    <a:pt x="8379502" y="1004889"/>
                  </a:cubicBezTo>
                  <a:cubicBezTo>
                    <a:pt x="8360651" y="1004889"/>
                    <a:pt x="8345370" y="989608"/>
                    <a:pt x="8345370" y="970757"/>
                  </a:cubicBezTo>
                  <a:cubicBezTo>
                    <a:pt x="8345370" y="951906"/>
                    <a:pt x="8360651" y="936625"/>
                    <a:pt x="8379502" y="936625"/>
                  </a:cubicBezTo>
                  <a:close/>
                  <a:moveTo>
                    <a:pt x="8293777" y="936625"/>
                  </a:moveTo>
                  <a:cubicBezTo>
                    <a:pt x="8312628" y="936625"/>
                    <a:pt x="8327909" y="951906"/>
                    <a:pt x="8327909" y="970757"/>
                  </a:cubicBezTo>
                  <a:cubicBezTo>
                    <a:pt x="8327909" y="989608"/>
                    <a:pt x="8312628" y="1004889"/>
                    <a:pt x="8293777" y="1004889"/>
                  </a:cubicBezTo>
                  <a:cubicBezTo>
                    <a:pt x="8274926" y="1004889"/>
                    <a:pt x="8259645" y="989608"/>
                    <a:pt x="8259645" y="970757"/>
                  </a:cubicBezTo>
                  <a:cubicBezTo>
                    <a:pt x="8259645" y="951906"/>
                    <a:pt x="8274926" y="936625"/>
                    <a:pt x="8293777" y="936625"/>
                  </a:cubicBezTo>
                  <a:close/>
                  <a:moveTo>
                    <a:pt x="8208052" y="936625"/>
                  </a:moveTo>
                  <a:cubicBezTo>
                    <a:pt x="8226903" y="936625"/>
                    <a:pt x="8242184" y="951906"/>
                    <a:pt x="8242184" y="970757"/>
                  </a:cubicBezTo>
                  <a:cubicBezTo>
                    <a:pt x="8242184" y="989608"/>
                    <a:pt x="8226903" y="1004889"/>
                    <a:pt x="8208052" y="1004889"/>
                  </a:cubicBezTo>
                  <a:cubicBezTo>
                    <a:pt x="8189201" y="1004889"/>
                    <a:pt x="8173920" y="989608"/>
                    <a:pt x="8173920" y="970757"/>
                  </a:cubicBezTo>
                  <a:cubicBezTo>
                    <a:pt x="8173920" y="951906"/>
                    <a:pt x="8189201" y="936625"/>
                    <a:pt x="8208052" y="936625"/>
                  </a:cubicBezTo>
                  <a:close/>
                  <a:moveTo>
                    <a:pt x="8125502" y="936625"/>
                  </a:moveTo>
                  <a:cubicBezTo>
                    <a:pt x="8146106" y="936625"/>
                    <a:pt x="8162809" y="951906"/>
                    <a:pt x="8162809" y="970757"/>
                  </a:cubicBezTo>
                  <a:cubicBezTo>
                    <a:pt x="8162809" y="989608"/>
                    <a:pt x="8146106" y="1004889"/>
                    <a:pt x="8125502" y="1004889"/>
                  </a:cubicBezTo>
                  <a:cubicBezTo>
                    <a:pt x="8104898" y="1004889"/>
                    <a:pt x="8088195" y="989608"/>
                    <a:pt x="8088195" y="970757"/>
                  </a:cubicBezTo>
                  <a:cubicBezTo>
                    <a:pt x="8088195" y="951906"/>
                    <a:pt x="8104898" y="936625"/>
                    <a:pt x="8125502" y="936625"/>
                  </a:cubicBezTo>
                  <a:close/>
                  <a:moveTo>
                    <a:pt x="8042952" y="936625"/>
                  </a:moveTo>
                  <a:cubicBezTo>
                    <a:pt x="8061803" y="936625"/>
                    <a:pt x="8077084" y="951906"/>
                    <a:pt x="8077084" y="970757"/>
                  </a:cubicBezTo>
                  <a:cubicBezTo>
                    <a:pt x="8077084" y="989608"/>
                    <a:pt x="8061803" y="1004889"/>
                    <a:pt x="8042952" y="1004889"/>
                  </a:cubicBezTo>
                  <a:cubicBezTo>
                    <a:pt x="8024101" y="1004889"/>
                    <a:pt x="8008820" y="989608"/>
                    <a:pt x="8008820" y="970757"/>
                  </a:cubicBezTo>
                  <a:cubicBezTo>
                    <a:pt x="8008820" y="951906"/>
                    <a:pt x="8024101" y="936625"/>
                    <a:pt x="8042952" y="936625"/>
                  </a:cubicBezTo>
                  <a:close/>
                  <a:moveTo>
                    <a:pt x="7957227" y="936625"/>
                  </a:moveTo>
                  <a:cubicBezTo>
                    <a:pt x="7976078" y="936625"/>
                    <a:pt x="7991359" y="951906"/>
                    <a:pt x="7991359" y="970757"/>
                  </a:cubicBezTo>
                  <a:cubicBezTo>
                    <a:pt x="7991359" y="989608"/>
                    <a:pt x="7976078" y="1004889"/>
                    <a:pt x="7957227" y="1004889"/>
                  </a:cubicBezTo>
                  <a:cubicBezTo>
                    <a:pt x="7938376" y="1004889"/>
                    <a:pt x="7923095" y="989608"/>
                    <a:pt x="7923095" y="970757"/>
                  </a:cubicBezTo>
                  <a:cubicBezTo>
                    <a:pt x="7923095" y="951906"/>
                    <a:pt x="7938376" y="936625"/>
                    <a:pt x="7957227" y="936625"/>
                  </a:cubicBezTo>
                  <a:close/>
                  <a:moveTo>
                    <a:pt x="7871502" y="936625"/>
                  </a:moveTo>
                  <a:cubicBezTo>
                    <a:pt x="7890353" y="936625"/>
                    <a:pt x="7905634" y="951906"/>
                    <a:pt x="7905634" y="970757"/>
                  </a:cubicBezTo>
                  <a:cubicBezTo>
                    <a:pt x="7905634" y="989608"/>
                    <a:pt x="7890353" y="1004889"/>
                    <a:pt x="7871502" y="1004889"/>
                  </a:cubicBezTo>
                  <a:cubicBezTo>
                    <a:pt x="7852651" y="1004889"/>
                    <a:pt x="7837370" y="989608"/>
                    <a:pt x="7837370" y="970757"/>
                  </a:cubicBezTo>
                  <a:cubicBezTo>
                    <a:pt x="7837370" y="951906"/>
                    <a:pt x="7852651" y="936625"/>
                    <a:pt x="7871502" y="936625"/>
                  </a:cubicBezTo>
                  <a:close/>
                  <a:moveTo>
                    <a:pt x="7785777" y="936625"/>
                  </a:moveTo>
                  <a:cubicBezTo>
                    <a:pt x="7804628" y="936625"/>
                    <a:pt x="7819909" y="951906"/>
                    <a:pt x="7819909" y="970757"/>
                  </a:cubicBezTo>
                  <a:cubicBezTo>
                    <a:pt x="7819909" y="989608"/>
                    <a:pt x="7804628" y="1004889"/>
                    <a:pt x="7785777" y="1004889"/>
                  </a:cubicBezTo>
                  <a:cubicBezTo>
                    <a:pt x="7766926" y="1004889"/>
                    <a:pt x="7751645" y="989608"/>
                    <a:pt x="7751645" y="970757"/>
                  </a:cubicBezTo>
                  <a:cubicBezTo>
                    <a:pt x="7751645" y="951906"/>
                    <a:pt x="7766926" y="936625"/>
                    <a:pt x="7785777" y="936625"/>
                  </a:cubicBezTo>
                  <a:close/>
                  <a:moveTo>
                    <a:pt x="7706402" y="936625"/>
                  </a:moveTo>
                  <a:cubicBezTo>
                    <a:pt x="7725253" y="936625"/>
                    <a:pt x="7740534" y="951906"/>
                    <a:pt x="7740534" y="970757"/>
                  </a:cubicBezTo>
                  <a:cubicBezTo>
                    <a:pt x="7740534" y="989608"/>
                    <a:pt x="7725253" y="1004889"/>
                    <a:pt x="7706402" y="1004889"/>
                  </a:cubicBezTo>
                  <a:cubicBezTo>
                    <a:pt x="7687551" y="1004889"/>
                    <a:pt x="7672270" y="989608"/>
                    <a:pt x="7672270" y="970757"/>
                  </a:cubicBezTo>
                  <a:cubicBezTo>
                    <a:pt x="7672270" y="951906"/>
                    <a:pt x="7687551" y="936625"/>
                    <a:pt x="7706402" y="936625"/>
                  </a:cubicBezTo>
                  <a:close/>
                  <a:moveTo>
                    <a:pt x="7620677" y="936625"/>
                  </a:moveTo>
                  <a:cubicBezTo>
                    <a:pt x="7639528" y="936625"/>
                    <a:pt x="7654809" y="951906"/>
                    <a:pt x="7654809" y="970757"/>
                  </a:cubicBezTo>
                  <a:cubicBezTo>
                    <a:pt x="7654809" y="989608"/>
                    <a:pt x="7639528" y="1004889"/>
                    <a:pt x="7620677" y="1004889"/>
                  </a:cubicBezTo>
                  <a:cubicBezTo>
                    <a:pt x="7601826" y="1004889"/>
                    <a:pt x="7586545" y="989608"/>
                    <a:pt x="7586545" y="970757"/>
                  </a:cubicBezTo>
                  <a:cubicBezTo>
                    <a:pt x="7586545" y="951906"/>
                    <a:pt x="7601826" y="936625"/>
                    <a:pt x="7620677" y="936625"/>
                  </a:cubicBezTo>
                  <a:close/>
                  <a:moveTo>
                    <a:pt x="7534952" y="936625"/>
                  </a:moveTo>
                  <a:cubicBezTo>
                    <a:pt x="7553803" y="936625"/>
                    <a:pt x="7569084" y="951906"/>
                    <a:pt x="7569084" y="970757"/>
                  </a:cubicBezTo>
                  <a:cubicBezTo>
                    <a:pt x="7569084" y="989608"/>
                    <a:pt x="7553803" y="1004889"/>
                    <a:pt x="7534952" y="1004889"/>
                  </a:cubicBezTo>
                  <a:cubicBezTo>
                    <a:pt x="7516101" y="1004889"/>
                    <a:pt x="7500820" y="989608"/>
                    <a:pt x="7500820" y="970757"/>
                  </a:cubicBezTo>
                  <a:cubicBezTo>
                    <a:pt x="7500820" y="951906"/>
                    <a:pt x="7516101" y="936625"/>
                    <a:pt x="7534952" y="936625"/>
                  </a:cubicBezTo>
                  <a:close/>
                  <a:moveTo>
                    <a:pt x="7449227" y="936625"/>
                  </a:moveTo>
                  <a:cubicBezTo>
                    <a:pt x="7468078" y="936625"/>
                    <a:pt x="7483359" y="951906"/>
                    <a:pt x="7483359" y="970757"/>
                  </a:cubicBezTo>
                  <a:cubicBezTo>
                    <a:pt x="7483359" y="989608"/>
                    <a:pt x="7468078" y="1004889"/>
                    <a:pt x="7449227" y="1004889"/>
                  </a:cubicBezTo>
                  <a:cubicBezTo>
                    <a:pt x="7430376" y="1004889"/>
                    <a:pt x="7415095" y="989608"/>
                    <a:pt x="7415095" y="970757"/>
                  </a:cubicBezTo>
                  <a:cubicBezTo>
                    <a:pt x="7415095" y="951906"/>
                    <a:pt x="7430376" y="936625"/>
                    <a:pt x="7449227" y="936625"/>
                  </a:cubicBezTo>
                  <a:close/>
                  <a:moveTo>
                    <a:pt x="7366677" y="936625"/>
                  </a:moveTo>
                  <a:cubicBezTo>
                    <a:pt x="7387281" y="936625"/>
                    <a:pt x="7403984" y="951906"/>
                    <a:pt x="7403984" y="970757"/>
                  </a:cubicBezTo>
                  <a:cubicBezTo>
                    <a:pt x="7403984" y="989608"/>
                    <a:pt x="7387281" y="1004889"/>
                    <a:pt x="7366677" y="1004889"/>
                  </a:cubicBezTo>
                  <a:cubicBezTo>
                    <a:pt x="7346073" y="1004889"/>
                    <a:pt x="7329370" y="989608"/>
                    <a:pt x="7329370" y="970757"/>
                  </a:cubicBezTo>
                  <a:cubicBezTo>
                    <a:pt x="7329370" y="951906"/>
                    <a:pt x="7346073" y="936625"/>
                    <a:pt x="7366677" y="936625"/>
                  </a:cubicBezTo>
                  <a:close/>
                  <a:moveTo>
                    <a:pt x="7284127" y="936625"/>
                  </a:moveTo>
                  <a:cubicBezTo>
                    <a:pt x="7302978" y="936625"/>
                    <a:pt x="7318259" y="951906"/>
                    <a:pt x="7318259" y="970757"/>
                  </a:cubicBezTo>
                  <a:cubicBezTo>
                    <a:pt x="7318259" y="989608"/>
                    <a:pt x="7302978" y="1004889"/>
                    <a:pt x="7284127" y="1004889"/>
                  </a:cubicBezTo>
                  <a:cubicBezTo>
                    <a:pt x="7265276" y="1004889"/>
                    <a:pt x="7249995" y="989608"/>
                    <a:pt x="7249995" y="970757"/>
                  </a:cubicBezTo>
                  <a:cubicBezTo>
                    <a:pt x="7249995" y="951906"/>
                    <a:pt x="7265276" y="936625"/>
                    <a:pt x="7284127" y="936625"/>
                  </a:cubicBezTo>
                  <a:close/>
                  <a:moveTo>
                    <a:pt x="7198402" y="936625"/>
                  </a:moveTo>
                  <a:cubicBezTo>
                    <a:pt x="7217253" y="936625"/>
                    <a:pt x="7232534" y="951906"/>
                    <a:pt x="7232534" y="970757"/>
                  </a:cubicBezTo>
                  <a:cubicBezTo>
                    <a:pt x="7232534" y="989608"/>
                    <a:pt x="7217253" y="1004889"/>
                    <a:pt x="7198402" y="1004889"/>
                  </a:cubicBezTo>
                  <a:cubicBezTo>
                    <a:pt x="7179551" y="1004889"/>
                    <a:pt x="7164270" y="989608"/>
                    <a:pt x="7164270" y="970757"/>
                  </a:cubicBezTo>
                  <a:cubicBezTo>
                    <a:pt x="7164270" y="951906"/>
                    <a:pt x="7179551" y="936625"/>
                    <a:pt x="7198402" y="936625"/>
                  </a:cubicBezTo>
                  <a:close/>
                  <a:moveTo>
                    <a:pt x="7112677" y="936625"/>
                  </a:moveTo>
                  <a:cubicBezTo>
                    <a:pt x="7131528" y="936625"/>
                    <a:pt x="7146809" y="951906"/>
                    <a:pt x="7146809" y="970757"/>
                  </a:cubicBezTo>
                  <a:cubicBezTo>
                    <a:pt x="7146809" y="989608"/>
                    <a:pt x="7131528" y="1004889"/>
                    <a:pt x="7112677" y="1004889"/>
                  </a:cubicBezTo>
                  <a:cubicBezTo>
                    <a:pt x="7093826" y="1004889"/>
                    <a:pt x="7078545" y="989608"/>
                    <a:pt x="7078545" y="970757"/>
                  </a:cubicBezTo>
                  <a:cubicBezTo>
                    <a:pt x="7078545" y="951906"/>
                    <a:pt x="7093826" y="936625"/>
                    <a:pt x="7112677" y="936625"/>
                  </a:cubicBezTo>
                  <a:close/>
                  <a:moveTo>
                    <a:pt x="7027745" y="936625"/>
                  </a:moveTo>
                  <a:cubicBezTo>
                    <a:pt x="7047034" y="936625"/>
                    <a:pt x="7062670" y="951906"/>
                    <a:pt x="7062670" y="970757"/>
                  </a:cubicBezTo>
                  <a:cubicBezTo>
                    <a:pt x="7062670" y="989608"/>
                    <a:pt x="7047034" y="1004889"/>
                    <a:pt x="7027745" y="1004889"/>
                  </a:cubicBezTo>
                  <a:cubicBezTo>
                    <a:pt x="7008456" y="1004889"/>
                    <a:pt x="6992820" y="989608"/>
                    <a:pt x="6992820" y="970757"/>
                  </a:cubicBezTo>
                  <a:cubicBezTo>
                    <a:pt x="6992820" y="951906"/>
                    <a:pt x="7008456" y="936625"/>
                    <a:pt x="7027745" y="936625"/>
                  </a:cubicBezTo>
                  <a:close/>
                  <a:moveTo>
                    <a:pt x="6947577" y="936625"/>
                  </a:moveTo>
                  <a:cubicBezTo>
                    <a:pt x="6966428" y="936625"/>
                    <a:pt x="6981709" y="951906"/>
                    <a:pt x="6981709" y="970757"/>
                  </a:cubicBezTo>
                  <a:cubicBezTo>
                    <a:pt x="6981709" y="989608"/>
                    <a:pt x="6966428" y="1004889"/>
                    <a:pt x="6947577" y="1004889"/>
                  </a:cubicBezTo>
                  <a:cubicBezTo>
                    <a:pt x="6928726" y="1004889"/>
                    <a:pt x="6913445" y="989608"/>
                    <a:pt x="6913445" y="970757"/>
                  </a:cubicBezTo>
                  <a:cubicBezTo>
                    <a:pt x="6913445" y="951906"/>
                    <a:pt x="6928726" y="936625"/>
                    <a:pt x="6947577" y="936625"/>
                  </a:cubicBezTo>
                  <a:close/>
                  <a:moveTo>
                    <a:pt x="6861852" y="936625"/>
                  </a:moveTo>
                  <a:cubicBezTo>
                    <a:pt x="6880703" y="936625"/>
                    <a:pt x="6895984" y="951906"/>
                    <a:pt x="6895984" y="970757"/>
                  </a:cubicBezTo>
                  <a:cubicBezTo>
                    <a:pt x="6895984" y="989608"/>
                    <a:pt x="6880703" y="1004889"/>
                    <a:pt x="6861852" y="1004889"/>
                  </a:cubicBezTo>
                  <a:cubicBezTo>
                    <a:pt x="6843001" y="1004889"/>
                    <a:pt x="6827720" y="989608"/>
                    <a:pt x="6827720" y="970757"/>
                  </a:cubicBezTo>
                  <a:cubicBezTo>
                    <a:pt x="6827720" y="951906"/>
                    <a:pt x="6843001" y="936625"/>
                    <a:pt x="6861852" y="936625"/>
                  </a:cubicBezTo>
                  <a:close/>
                  <a:moveTo>
                    <a:pt x="6776127" y="936625"/>
                  </a:moveTo>
                  <a:cubicBezTo>
                    <a:pt x="6794978" y="936625"/>
                    <a:pt x="6810259" y="951906"/>
                    <a:pt x="6810259" y="970757"/>
                  </a:cubicBezTo>
                  <a:cubicBezTo>
                    <a:pt x="6810259" y="989608"/>
                    <a:pt x="6794978" y="1004889"/>
                    <a:pt x="6776127" y="1004889"/>
                  </a:cubicBezTo>
                  <a:cubicBezTo>
                    <a:pt x="6757276" y="1004889"/>
                    <a:pt x="6741995" y="989608"/>
                    <a:pt x="6741995" y="970757"/>
                  </a:cubicBezTo>
                  <a:cubicBezTo>
                    <a:pt x="6741995" y="951906"/>
                    <a:pt x="6757276" y="936625"/>
                    <a:pt x="6776127" y="936625"/>
                  </a:cubicBezTo>
                  <a:close/>
                  <a:moveTo>
                    <a:pt x="6691195" y="936625"/>
                  </a:moveTo>
                  <a:cubicBezTo>
                    <a:pt x="6710484" y="936625"/>
                    <a:pt x="6726120" y="951906"/>
                    <a:pt x="6726120" y="970757"/>
                  </a:cubicBezTo>
                  <a:cubicBezTo>
                    <a:pt x="6726120" y="989608"/>
                    <a:pt x="6710484" y="1004889"/>
                    <a:pt x="6691195" y="1004889"/>
                  </a:cubicBezTo>
                  <a:cubicBezTo>
                    <a:pt x="6671906" y="1004889"/>
                    <a:pt x="6656270" y="989608"/>
                    <a:pt x="6656270" y="970757"/>
                  </a:cubicBezTo>
                  <a:cubicBezTo>
                    <a:pt x="6656270" y="951906"/>
                    <a:pt x="6671906" y="936625"/>
                    <a:pt x="6691195" y="936625"/>
                  </a:cubicBezTo>
                  <a:close/>
                  <a:moveTo>
                    <a:pt x="6607852" y="936625"/>
                  </a:moveTo>
                  <a:cubicBezTo>
                    <a:pt x="6628456" y="936625"/>
                    <a:pt x="6645159" y="951906"/>
                    <a:pt x="6645159" y="970757"/>
                  </a:cubicBezTo>
                  <a:cubicBezTo>
                    <a:pt x="6645159" y="989608"/>
                    <a:pt x="6628456" y="1004889"/>
                    <a:pt x="6607852" y="1004889"/>
                  </a:cubicBezTo>
                  <a:cubicBezTo>
                    <a:pt x="6587248" y="1004889"/>
                    <a:pt x="6570545" y="989608"/>
                    <a:pt x="6570545" y="970757"/>
                  </a:cubicBezTo>
                  <a:cubicBezTo>
                    <a:pt x="6570545" y="951906"/>
                    <a:pt x="6587248" y="936625"/>
                    <a:pt x="6607852" y="936625"/>
                  </a:cubicBezTo>
                  <a:close/>
                  <a:moveTo>
                    <a:pt x="6525302" y="936625"/>
                  </a:moveTo>
                  <a:cubicBezTo>
                    <a:pt x="6544153" y="936625"/>
                    <a:pt x="6559434" y="951906"/>
                    <a:pt x="6559434" y="970757"/>
                  </a:cubicBezTo>
                  <a:cubicBezTo>
                    <a:pt x="6559434" y="989608"/>
                    <a:pt x="6544153" y="1004889"/>
                    <a:pt x="6525302" y="1004889"/>
                  </a:cubicBezTo>
                  <a:cubicBezTo>
                    <a:pt x="6506451" y="1004889"/>
                    <a:pt x="6491170" y="989608"/>
                    <a:pt x="6491170" y="970757"/>
                  </a:cubicBezTo>
                  <a:cubicBezTo>
                    <a:pt x="6491170" y="951906"/>
                    <a:pt x="6506451" y="936625"/>
                    <a:pt x="6525302" y="936625"/>
                  </a:cubicBezTo>
                  <a:close/>
                  <a:moveTo>
                    <a:pt x="6439577" y="936625"/>
                  </a:moveTo>
                  <a:cubicBezTo>
                    <a:pt x="6458428" y="936625"/>
                    <a:pt x="6473709" y="951906"/>
                    <a:pt x="6473709" y="970757"/>
                  </a:cubicBezTo>
                  <a:cubicBezTo>
                    <a:pt x="6473709" y="989608"/>
                    <a:pt x="6458428" y="1004889"/>
                    <a:pt x="6439577" y="1004889"/>
                  </a:cubicBezTo>
                  <a:cubicBezTo>
                    <a:pt x="6420726" y="1004889"/>
                    <a:pt x="6405445" y="989608"/>
                    <a:pt x="6405445" y="970757"/>
                  </a:cubicBezTo>
                  <a:cubicBezTo>
                    <a:pt x="6405445" y="951906"/>
                    <a:pt x="6420726" y="936625"/>
                    <a:pt x="6439577" y="936625"/>
                  </a:cubicBezTo>
                  <a:close/>
                  <a:moveTo>
                    <a:pt x="6353852" y="936625"/>
                  </a:moveTo>
                  <a:cubicBezTo>
                    <a:pt x="6372703" y="936625"/>
                    <a:pt x="6387984" y="951906"/>
                    <a:pt x="6387984" y="970757"/>
                  </a:cubicBezTo>
                  <a:cubicBezTo>
                    <a:pt x="6387984" y="989608"/>
                    <a:pt x="6372703" y="1004889"/>
                    <a:pt x="6353852" y="1004889"/>
                  </a:cubicBezTo>
                  <a:cubicBezTo>
                    <a:pt x="6335001" y="1004889"/>
                    <a:pt x="6319720" y="989608"/>
                    <a:pt x="6319720" y="970757"/>
                  </a:cubicBezTo>
                  <a:cubicBezTo>
                    <a:pt x="6319720" y="951906"/>
                    <a:pt x="6335001" y="936625"/>
                    <a:pt x="6353852" y="936625"/>
                  </a:cubicBezTo>
                  <a:close/>
                  <a:moveTo>
                    <a:pt x="6268920" y="936625"/>
                  </a:moveTo>
                  <a:cubicBezTo>
                    <a:pt x="6288209" y="936625"/>
                    <a:pt x="6303845" y="951906"/>
                    <a:pt x="6303845" y="970757"/>
                  </a:cubicBezTo>
                  <a:cubicBezTo>
                    <a:pt x="6303845" y="989608"/>
                    <a:pt x="6288209" y="1004889"/>
                    <a:pt x="6268920" y="1004889"/>
                  </a:cubicBezTo>
                  <a:cubicBezTo>
                    <a:pt x="6249631" y="1004889"/>
                    <a:pt x="6233995" y="989608"/>
                    <a:pt x="6233995" y="970757"/>
                  </a:cubicBezTo>
                  <a:cubicBezTo>
                    <a:pt x="6233995" y="951906"/>
                    <a:pt x="6249631" y="936625"/>
                    <a:pt x="6268920" y="936625"/>
                  </a:cubicBezTo>
                  <a:close/>
                  <a:moveTo>
                    <a:pt x="6188752" y="936625"/>
                  </a:moveTo>
                  <a:cubicBezTo>
                    <a:pt x="6207603" y="936625"/>
                    <a:pt x="6222884" y="951906"/>
                    <a:pt x="6222884" y="970757"/>
                  </a:cubicBezTo>
                  <a:cubicBezTo>
                    <a:pt x="6222884" y="989608"/>
                    <a:pt x="6207603" y="1004889"/>
                    <a:pt x="6188752" y="1004889"/>
                  </a:cubicBezTo>
                  <a:cubicBezTo>
                    <a:pt x="6169901" y="1004889"/>
                    <a:pt x="6154620" y="989608"/>
                    <a:pt x="6154620" y="970757"/>
                  </a:cubicBezTo>
                  <a:cubicBezTo>
                    <a:pt x="6154620" y="951906"/>
                    <a:pt x="6169901" y="936625"/>
                    <a:pt x="6188752" y="936625"/>
                  </a:cubicBezTo>
                  <a:close/>
                  <a:moveTo>
                    <a:pt x="5932370" y="936625"/>
                  </a:moveTo>
                  <a:cubicBezTo>
                    <a:pt x="5951659" y="936625"/>
                    <a:pt x="5967295" y="951906"/>
                    <a:pt x="5967295" y="970757"/>
                  </a:cubicBezTo>
                  <a:cubicBezTo>
                    <a:pt x="5967295" y="989608"/>
                    <a:pt x="5951659" y="1004889"/>
                    <a:pt x="5932370" y="1004889"/>
                  </a:cubicBezTo>
                  <a:cubicBezTo>
                    <a:pt x="5913081" y="1004889"/>
                    <a:pt x="5897445" y="989608"/>
                    <a:pt x="5897445" y="970757"/>
                  </a:cubicBezTo>
                  <a:cubicBezTo>
                    <a:pt x="5897445" y="951906"/>
                    <a:pt x="5913081" y="936625"/>
                    <a:pt x="5932370" y="936625"/>
                  </a:cubicBezTo>
                  <a:close/>
                  <a:moveTo>
                    <a:pt x="5849821" y="936625"/>
                  </a:moveTo>
                  <a:cubicBezTo>
                    <a:pt x="5869987" y="936625"/>
                    <a:pt x="5886334" y="951906"/>
                    <a:pt x="5886334" y="970757"/>
                  </a:cubicBezTo>
                  <a:cubicBezTo>
                    <a:pt x="5886334" y="989608"/>
                    <a:pt x="5869987" y="1004889"/>
                    <a:pt x="5849821" y="1004889"/>
                  </a:cubicBezTo>
                  <a:cubicBezTo>
                    <a:pt x="5829655" y="1004889"/>
                    <a:pt x="5813308" y="989608"/>
                    <a:pt x="5813308" y="970757"/>
                  </a:cubicBezTo>
                  <a:cubicBezTo>
                    <a:pt x="5813308" y="951906"/>
                    <a:pt x="5829655" y="936625"/>
                    <a:pt x="5849821" y="936625"/>
                  </a:cubicBezTo>
                  <a:close/>
                  <a:moveTo>
                    <a:pt x="5766477" y="936625"/>
                  </a:moveTo>
                  <a:cubicBezTo>
                    <a:pt x="5785328" y="936625"/>
                    <a:pt x="5800609" y="951906"/>
                    <a:pt x="5800609" y="970757"/>
                  </a:cubicBezTo>
                  <a:cubicBezTo>
                    <a:pt x="5800609" y="989608"/>
                    <a:pt x="5785328" y="1004889"/>
                    <a:pt x="5766477" y="1004889"/>
                  </a:cubicBezTo>
                  <a:cubicBezTo>
                    <a:pt x="5747626" y="1004889"/>
                    <a:pt x="5732345" y="989608"/>
                    <a:pt x="5732345" y="970757"/>
                  </a:cubicBezTo>
                  <a:cubicBezTo>
                    <a:pt x="5732345" y="951906"/>
                    <a:pt x="5747626" y="936625"/>
                    <a:pt x="5766477" y="936625"/>
                  </a:cubicBezTo>
                  <a:close/>
                  <a:moveTo>
                    <a:pt x="5680752" y="936625"/>
                  </a:moveTo>
                  <a:cubicBezTo>
                    <a:pt x="5699603" y="936625"/>
                    <a:pt x="5714884" y="951906"/>
                    <a:pt x="5714884" y="970757"/>
                  </a:cubicBezTo>
                  <a:cubicBezTo>
                    <a:pt x="5714884" y="989608"/>
                    <a:pt x="5699603" y="1004889"/>
                    <a:pt x="5680752" y="1004889"/>
                  </a:cubicBezTo>
                  <a:cubicBezTo>
                    <a:pt x="5661901" y="1004889"/>
                    <a:pt x="5646620" y="989608"/>
                    <a:pt x="5646620" y="970757"/>
                  </a:cubicBezTo>
                  <a:cubicBezTo>
                    <a:pt x="5646620" y="951906"/>
                    <a:pt x="5661901" y="936625"/>
                    <a:pt x="5680752" y="936625"/>
                  </a:cubicBezTo>
                  <a:close/>
                  <a:moveTo>
                    <a:pt x="5595820" y="936625"/>
                  </a:moveTo>
                  <a:cubicBezTo>
                    <a:pt x="5615109" y="936625"/>
                    <a:pt x="5630745" y="951906"/>
                    <a:pt x="5630745" y="970757"/>
                  </a:cubicBezTo>
                  <a:cubicBezTo>
                    <a:pt x="5630745" y="989608"/>
                    <a:pt x="5615109" y="1004889"/>
                    <a:pt x="5595820" y="1004889"/>
                  </a:cubicBezTo>
                  <a:cubicBezTo>
                    <a:pt x="5576531" y="1004889"/>
                    <a:pt x="5560895" y="989608"/>
                    <a:pt x="5560895" y="970757"/>
                  </a:cubicBezTo>
                  <a:cubicBezTo>
                    <a:pt x="5560895" y="951906"/>
                    <a:pt x="5576531" y="936625"/>
                    <a:pt x="5595820" y="936625"/>
                  </a:cubicBezTo>
                  <a:close/>
                  <a:moveTo>
                    <a:pt x="5510095" y="936625"/>
                  </a:moveTo>
                  <a:cubicBezTo>
                    <a:pt x="5529384" y="936625"/>
                    <a:pt x="5545020" y="951906"/>
                    <a:pt x="5545020" y="970757"/>
                  </a:cubicBezTo>
                  <a:cubicBezTo>
                    <a:pt x="5545020" y="989608"/>
                    <a:pt x="5529384" y="1004889"/>
                    <a:pt x="5510095" y="1004889"/>
                  </a:cubicBezTo>
                  <a:cubicBezTo>
                    <a:pt x="5490806" y="1004889"/>
                    <a:pt x="5475170" y="989608"/>
                    <a:pt x="5475170" y="970757"/>
                  </a:cubicBezTo>
                  <a:cubicBezTo>
                    <a:pt x="5475170" y="951906"/>
                    <a:pt x="5490806" y="936625"/>
                    <a:pt x="5510095" y="936625"/>
                  </a:cubicBezTo>
                  <a:close/>
                  <a:moveTo>
                    <a:pt x="5429927" y="936625"/>
                  </a:moveTo>
                  <a:cubicBezTo>
                    <a:pt x="5448778" y="936625"/>
                    <a:pt x="5464059" y="951906"/>
                    <a:pt x="5464059" y="970757"/>
                  </a:cubicBezTo>
                  <a:cubicBezTo>
                    <a:pt x="5464059" y="989608"/>
                    <a:pt x="5448778" y="1004889"/>
                    <a:pt x="5429927" y="1004889"/>
                  </a:cubicBezTo>
                  <a:cubicBezTo>
                    <a:pt x="5411076" y="1004889"/>
                    <a:pt x="5395795" y="989608"/>
                    <a:pt x="5395795" y="970757"/>
                  </a:cubicBezTo>
                  <a:cubicBezTo>
                    <a:pt x="5395795" y="951906"/>
                    <a:pt x="5411076" y="936625"/>
                    <a:pt x="5429927" y="936625"/>
                  </a:cubicBezTo>
                  <a:close/>
                  <a:moveTo>
                    <a:pt x="4078170" y="936625"/>
                  </a:moveTo>
                  <a:cubicBezTo>
                    <a:pt x="4097459" y="936625"/>
                    <a:pt x="4113095" y="951906"/>
                    <a:pt x="4113095" y="970757"/>
                  </a:cubicBezTo>
                  <a:cubicBezTo>
                    <a:pt x="4113095" y="989608"/>
                    <a:pt x="4097459" y="1004889"/>
                    <a:pt x="4078170" y="1004889"/>
                  </a:cubicBezTo>
                  <a:cubicBezTo>
                    <a:pt x="4058881" y="1004889"/>
                    <a:pt x="4043245" y="989608"/>
                    <a:pt x="4043245" y="970757"/>
                  </a:cubicBezTo>
                  <a:cubicBezTo>
                    <a:pt x="4043245" y="951906"/>
                    <a:pt x="4058881" y="936625"/>
                    <a:pt x="4078170" y="936625"/>
                  </a:cubicBezTo>
                  <a:close/>
                  <a:moveTo>
                    <a:pt x="3993240" y="936625"/>
                  </a:moveTo>
                  <a:cubicBezTo>
                    <a:pt x="4012091" y="936625"/>
                    <a:pt x="4027372" y="951906"/>
                    <a:pt x="4027372" y="970757"/>
                  </a:cubicBezTo>
                  <a:cubicBezTo>
                    <a:pt x="4027372" y="989608"/>
                    <a:pt x="4012091" y="1004889"/>
                    <a:pt x="3993240" y="1004889"/>
                  </a:cubicBezTo>
                  <a:cubicBezTo>
                    <a:pt x="3974389" y="1004889"/>
                    <a:pt x="3959108" y="989608"/>
                    <a:pt x="3959108" y="970757"/>
                  </a:cubicBezTo>
                  <a:cubicBezTo>
                    <a:pt x="3959108" y="951906"/>
                    <a:pt x="3974389" y="936625"/>
                    <a:pt x="3993240" y="936625"/>
                  </a:cubicBezTo>
                  <a:close/>
                  <a:moveTo>
                    <a:pt x="3912277" y="936625"/>
                  </a:moveTo>
                  <a:cubicBezTo>
                    <a:pt x="3931128" y="936625"/>
                    <a:pt x="3946409" y="951906"/>
                    <a:pt x="3946409" y="970757"/>
                  </a:cubicBezTo>
                  <a:cubicBezTo>
                    <a:pt x="3946409" y="989608"/>
                    <a:pt x="3931128" y="1004889"/>
                    <a:pt x="3912277" y="1004889"/>
                  </a:cubicBezTo>
                  <a:cubicBezTo>
                    <a:pt x="3893426" y="1004889"/>
                    <a:pt x="3878145" y="989608"/>
                    <a:pt x="3878145" y="970757"/>
                  </a:cubicBezTo>
                  <a:cubicBezTo>
                    <a:pt x="3878145" y="951906"/>
                    <a:pt x="3893426" y="936625"/>
                    <a:pt x="3912277" y="936625"/>
                  </a:cubicBezTo>
                  <a:close/>
                  <a:moveTo>
                    <a:pt x="3826552" y="936625"/>
                  </a:moveTo>
                  <a:cubicBezTo>
                    <a:pt x="3845403" y="936625"/>
                    <a:pt x="3860684" y="951906"/>
                    <a:pt x="3860684" y="970757"/>
                  </a:cubicBezTo>
                  <a:cubicBezTo>
                    <a:pt x="3860684" y="989608"/>
                    <a:pt x="3845403" y="1004889"/>
                    <a:pt x="3826552" y="1004889"/>
                  </a:cubicBezTo>
                  <a:cubicBezTo>
                    <a:pt x="3807701" y="1004889"/>
                    <a:pt x="3792420" y="989608"/>
                    <a:pt x="3792420" y="970757"/>
                  </a:cubicBezTo>
                  <a:cubicBezTo>
                    <a:pt x="3792420" y="951906"/>
                    <a:pt x="3807701" y="936625"/>
                    <a:pt x="3826552" y="936625"/>
                  </a:cubicBezTo>
                  <a:close/>
                  <a:moveTo>
                    <a:pt x="3741620" y="936625"/>
                  </a:moveTo>
                  <a:cubicBezTo>
                    <a:pt x="3760909" y="936625"/>
                    <a:pt x="3776545" y="951906"/>
                    <a:pt x="3776545" y="970757"/>
                  </a:cubicBezTo>
                  <a:cubicBezTo>
                    <a:pt x="3776545" y="989608"/>
                    <a:pt x="3760909" y="1004889"/>
                    <a:pt x="3741620" y="1004889"/>
                  </a:cubicBezTo>
                  <a:cubicBezTo>
                    <a:pt x="3722331" y="1004889"/>
                    <a:pt x="3706695" y="989608"/>
                    <a:pt x="3706695" y="970757"/>
                  </a:cubicBezTo>
                  <a:cubicBezTo>
                    <a:pt x="3706695" y="951906"/>
                    <a:pt x="3722331" y="936625"/>
                    <a:pt x="3741620" y="936625"/>
                  </a:cubicBezTo>
                  <a:close/>
                  <a:moveTo>
                    <a:pt x="3656690" y="936625"/>
                  </a:moveTo>
                  <a:cubicBezTo>
                    <a:pt x="3675541" y="936625"/>
                    <a:pt x="3690822" y="951906"/>
                    <a:pt x="3690822" y="970757"/>
                  </a:cubicBezTo>
                  <a:cubicBezTo>
                    <a:pt x="3690822" y="989608"/>
                    <a:pt x="3675541" y="1004889"/>
                    <a:pt x="3656690" y="1004889"/>
                  </a:cubicBezTo>
                  <a:cubicBezTo>
                    <a:pt x="3637839" y="1004889"/>
                    <a:pt x="3622558" y="989608"/>
                    <a:pt x="3622558" y="970757"/>
                  </a:cubicBezTo>
                  <a:cubicBezTo>
                    <a:pt x="3622558" y="951906"/>
                    <a:pt x="3637839" y="936625"/>
                    <a:pt x="3656690" y="936625"/>
                  </a:cubicBezTo>
                  <a:close/>
                  <a:moveTo>
                    <a:pt x="3405070" y="936625"/>
                  </a:moveTo>
                  <a:cubicBezTo>
                    <a:pt x="3424359" y="936625"/>
                    <a:pt x="3439995" y="951906"/>
                    <a:pt x="3439995" y="970757"/>
                  </a:cubicBezTo>
                  <a:cubicBezTo>
                    <a:pt x="3439995" y="989608"/>
                    <a:pt x="3424359" y="1004889"/>
                    <a:pt x="3405070" y="1004889"/>
                  </a:cubicBezTo>
                  <a:cubicBezTo>
                    <a:pt x="3385781" y="1004889"/>
                    <a:pt x="3370145" y="989608"/>
                    <a:pt x="3370145" y="970757"/>
                  </a:cubicBezTo>
                  <a:cubicBezTo>
                    <a:pt x="3370145" y="951906"/>
                    <a:pt x="3385781" y="936625"/>
                    <a:pt x="3405070" y="936625"/>
                  </a:cubicBezTo>
                  <a:close/>
                  <a:moveTo>
                    <a:pt x="3234415" y="936625"/>
                  </a:moveTo>
                  <a:cubicBezTo>
                    <a:pt x="3253266" y="936625"/>
                    <a:pt x="3268547" y="951906"/>
                    <a:pt x="3268547" y="970757"/>
                  </a:cubicBezTo>
                  <a:cubicBezTo>
                    <a:pt x="3268547" y="989608"/>
                    <a:pt x="3253266" y="1004889"/>
                    <a:pt x="3234415" y="1004889"/>
                  </a:cubicBezTo>
                  <a:cubicBezTo>
                    <a:pt x="3215564" y="1004889"/>
                    <a:pt x="3200283" y="989608"/>
                    <a:pt x="3200283" y="970757"/>
                  </a:cubicBezTo>
                  <a:cubicBezTo>
                    <a:pt x="3200283" y="951906"/>
                    <a:pt x="3215564" y="936625"/>
                    <a:pt x="3234415" y="936625"/>
                  </a:cubicBezTo>
                  <a:close/>
                  <a:moveTo>
                    <a:pt x="3153452" y="936625"/>
                  </a:moveTo>
                  <a:cubicBezTo>
                    <a:pt x="3172303" y="936625"/>
                    <a:pt x="3187584" y="951906"/>
                    <a:pt x="3187584" y="970757"/>
                  </a:cubicBezTo>
                  <a:cubicBezTo>
                    <a:pt x="3187584" y="989608"/>
                    <a:pt x="3172303" y="1004889"/>
                    <a:pt x="3153452" y="1004889"/>
                  </a:cubicBezTo>
                  <a:cubicBezTo>
                    <a:pt x="3134601" y="1004889"/>
                    <a:pt x="3119320" y="989608"/>
                    <a:pt x="3119320" y="970757"/>
                  </a:cubicBezTo>
                  <a:cubicBezTo>
                    <a:pt x="3119320" y="951906"/>
                    <a:pt x="3134601" y="936625"/>
                    <a:pt x="3153452" y="936625"/>
                  </a:cubicBezTo>
                  <a:close/>
                  <a:moveTo>
                    <a:pt x="3068520" y="936625"/>
                  </a:moveTo>
                  <a:cubicBezTo>
                    <a:pt x="3087809" y="936625"/>
                    <a:pt x="3103445" y="951906"/>
                    <a:pt x="3103445" y="970757"/>
                  </a:cubicBezTo>
                  <a:cubicBezTo>
                    <a:pt x="3103445" y="989608"/>
                    <a:pt x="3087809" y="1004889"/>
                    <a:pt x="3068520" y="1004889"/>
                  </a:cubicBezTo>
                  <a:cubicBezTo>
                    <a:pt x="3049231" y="1004889"/>
                    <a:pt x="3033595" y="989608"/>
                    <a:pt x="3033595" y="970757"/>
                  </a:cubicBezTo>
                  <a:cubicBezTo>
                    <a:pt x="3033595" y="951906"/>
                    <a:pt x="3049231" y="936625"/>
                    <a:pt x="3068520" y="936625"/>
                  </a:cubicBezTo>
                  <a:close/>
                  <a:moveTo>
                    <a:pt x="2983590" y="936625"/>
                  </a:moveTo>
                  <a:cubicBezTo>
                    <a:pt x="3002441" y="936625"/>
                    <a:pt x="3017722" y="951906"/>
                    <a:pt x="3017722" y="970757"/>
                  </a:cubicBezTo>
                  <a:cubicBezTo>
                    <a:pt x="3017722" y="989608"/>
                    <a:pt x="3002441" y="1004889"/>
                    <a:pt x="2983590" y="1004889"/>
                  </a:cubicBezTo>
                  <a:cubicBezTo>
                    <a:pt x="2964739" y="1004889"/>
                    <a:pt x="2949458" y="989608"/>
                    <a:pt x="2949458" y="970757"/>
                  </a:cubicBezTo>
                  <a:cubicBezTo>
                    <a:pt x="2949458" y="951906"/>
                    <a:pt x="2964739" y="936625"/>
                    <a:pt x="2983590" y="936625"/>
                  </a:cubicBezTo>
                  <a:close/>
                  <a:moveTo>
                    <a:pt x="2814521" y="936625"/>
                  </a:moveTo>
                  <a:cubicBezTo>
                    <a:pt x="2834687" y="936625"/>
                    <a:pt x="2851034" y="951906"/>
                    <a:pt x="2851034" y="970757"/>
                  </a:cubicBezTo>
                  <a:cubicBezTo>
                    <a:pt x="2851034" y="989608"/>
                    <a:pt x="2834687" y="1004889"/>
                    <a:pt x="2814521" y="1004889"/>
                  </a:cubicBezTo>
                  <a:cubicBezTo>
                    <a:pt x="2794355" y="1004889"/>
                    <a:pt x="2778008" y="989608"/>
                    <a:pt x="2778008" y="970757"/>
                  </a:cubicBezTo>
                  <a:cubicBezTo>
                    <a:pt x="2778008" y="951906"/>
                    <a:pt x="2794355" y="936625"/>
                    <a:pt x="2814521" y="936625"/>
                  </a:cubicBezTo>
                  <a:close/>
                  <a:moveTo>
                    <a:pt x="2731998" y="936625"/>
                  </a:moveTo>
                  <a:cubicBezTo>
                    <a:pt x="2751287" y="936625"/>
                    <a:pt x="2766922" y="951906"/>
                    <a:pt x="2766922" y="970757"/>
                  </a:cubicBezTo>
                  <a:cubicBezTo>
                    <a:pt x="2766922" y="989608"/>
                    <a:pt x="2751287" y="1004889"/>
                    <a:pt x="2731998" y="1004889"/>
                  </a:cubicBezTo>
                  <a:cubicBezTo>
                    <a:pt x="2712709" y="1004889"/>
                    <a:pt x="2697073" y="989608"/>
                    <a:pt x="2697073" y="970757"/>
                  </a:cubicBezTo>
                  <a:cubicBezTo>
                    <a:pt x="2697073" y="951906"/>
                    <a:pt x="2712709" y="936625"/>
                    <a:pt x="2731998" y="936625"/>
                  </a:cubicBezTo>
                  <a:close/>
                  <a:moveTo>
                    <a:pt x="2561352" y="936625"/>
                  </a:moveTo>
                  <a:cubicBezTo>
                    <a:pt x="2580203" y="936625"/>
                    <a:pt x="2595485" y="951906"/>
                    <a:pt x="2595485" y="970757"/>
                  </a:cubicBezTo>
                  <a:cubicBezTo>
                    <a:pt x="2595485" y="989608"/>
                    <a:pt x="2580203" y="1004889"/>
                    <a:pt x="2561352" y="1004889"/>
                  </a:cubicBezTo>
                  <a:cubicBezTo>
                    <a:pt x="2542501" y="1004889"/>
                    <a:pt x="2527220" y="989608"/>
                    <a:pt x="2527220" y="970757"/>
                  </a:cubicBezTo>
                  <a:cubicBezTo>
                    <a:pt x="2527220" y="951906"/>
                    <a:pt x="2542501" y="936625"/>
                    <a:pt x="2561352" y="936625"/>
                  </a:cubicBezTo>
                  <a:close/>
                  <a:moveTo>
                    <a:pt x="2475627" y="936625"/>
                  </a:moveTo>
                  <a:cubicBezTo>
                    <a:pt x="2494477" y="936625"/>
                    <a:pt x="2509759" y="951906"/>
                    <a:pt x="2509759" y="970757"/>
                  </a:cubicBezTo>
                  <a:cubicBezTo>
                    <a:pt x="2509759" y="989608"/>
                    <a:pt x="2494477" y="1004889"/>
                    <a:pt x="2475627" y="1004889"/>
                  </a:cubicBezTo>
                  <a:cubicBezTo>
                    <a:pt x="2456775" y="1004889"/>
                    <a:pt x="2441494" y="989608"/>
                    <a:pt x="2441494" y="970757"/>
                  </a:cubicBezTo>
                  <a:cubicBezTo>
                    <a:pt x="2441494" y="951906"/>
                    <a:pt x="2456775" y="936625"/>
                    <a:pt x="2475627" y="936625"/>
                  </a:cubicBezTo>
                  <a:close/>
                  <a:moveTo>
                    <a:pt x="2309735" y="936625"/>
                  </a:moveTo>
                  <a:cubicBezTo>
                    <a:pt x="2329020" y="936625"/>
                    <a:pt x="2344660" y="951906"/>
                    <a:pt x="2344660" y="970757"/>
                  </a:cubicBezTo>
                  <a:cubicBezTo>
                    <a:pt x="2344660" y="989608"/>
                    <a:pt x="2329020" y="1004889"/>
                    <a:pt x="2309735" y="1004889"/>
                  </a:cubicBezTo>
                  <a:cubicBezTo>
                    <a:pt x="2290444" y="1004889"/>
                    <a:pt x="2274810" y="989608"/>
                    <a:pt x="2274810" y="970757"/>
                  </a:cubicBezTo>
                  <a:cubicBezTo>
                    <a:pt x="2274810" y="951906"/>
                    <a:pt x="2290444" y="936625"/>
                    <a:pt x="2309735" y="936625"/>
                  </a:cubicBezTo>
                  <a:close/>
                  <a:moveTo>
                    <a:pt x="2224804" y="936625"/>
                  </a:moveTo>
                  <a:cubicBezTo>
                    <a:pt x="2243654" y="936625"/>
                    <a:pt x="2258936" y="951906"/>
                    <a:pt x="2258936" y="970757"/>
                  </a:cubicBezTo>
                  <a:cubicBezTo>
                    <a:pt x="2258936" y="989608"/>
                    <a:pt x="2243654" y="1004889"/>
                    <a:pt x="2224804" y="1004889"/>
                  </a:cubicBezTo>
                  <a:cubicBezTo>
                    <a:pt x="2205952" y="1004889"/>
                    <a:pt x="2190671" y="989608"/>
                    <a:pt x="2190671" y="970757"/>
                  </a:cubicBezTo>
                  <a:cubicBezTo>
                    <a:pt x="2190671" y="951906"/>
                    <a:pt x="2205952" y="936625"/>
                    <a:pt x="2224804" y="936625"/>
                  </a:cubicBezTo>
                  <a:close/>
                  <a:moveTo>
                    <a:pt x="2139055" y="936625"/>
                  </a:moveTo>
                  <a:cubicBezTo>
                    <a:pt x="2157906" y="936625"/>
                    <a:pt x="2173187" y="951906"/>
                    <a:pt x="2173187" y="970757"/>
                  </a:cubicBezTo>
                  <a:cubicBezTo>
                    <a:pt x="2173187" y="989608"/>
                    <a:pt x="2157906" y="1004889"/>
                    <a:pt x="2139055" y="1004889"/>
                  </a:cubicBezTo>
                  <a:cubicBezTo>
                    <a:pt x="2120204" y="1004889"/>
                    <a:pt x="2104924" y="989608"/>
                    <a:pt x="2104924" y="970757"/>
                  </a:cubicBezTo>
                  <a:cubicBezTo>
                    <a:pt x="2104924" y="951906"/>
                    <a:pt x="2120204" y="936625"/>
                    <a:pt x="2139055" y="936625"/>
                  </a:cubicBezTo>
                  <a:close/>
                  <a:moveTo>
                    <a:pt x="1888238" y="936625"/>
                  </a:moveTo>
                  <a:cubicBezTo>
                    <a:pt x="1907089" y="936625"/>
                    <a:pt x="1922370" y="951906"/>
                    <a:pt x="1922370" y="970757"/>
                  </a:cubicBezTo>
                  <a:cubicBezTo>
                    <a:pt x="1922370" y="989608"/>
                    <a:pt x="1907089" y="1004889"/>
                    <a:pt x="1888238" y="1004889"/>
                  </a:cubicBezTo>
                  <a:cubicBezTo>
                    <a:pt x="1869387" y="1004889"/>
                    <a:pt x="1854106" y="989608"/>
                    <a:pt x="1854106" y="970757"/>
                  </a:cubicBezTo>
                  <a:cubicBezTo>
                    <a:pt x="1854106" y="951906"/>
                    <a:pt x="1869387" y="936625"/>
                    <a:pt x="1888238" y="936625"/>
                  </a:cubicBezTo>
                  <a:close/>
                  <a:moveTo>
                    <a:pt x="1802514" y="936625"/>
                  </a:moveTo>
                  <a:cubicBezTo>
                    <a:pt x="1821365" y="936625"/>
                    <a:pt x="1836646" y="951906"/>
                    <a:pt x="1836646" y="970757"/>
                  </a:cubicBezTo>
                  <a:cubicBezTo>
                    <a:pt x="1836646" y="989608"/>
                    <a:pt x="1821365" y="1004889"/>
                    <a:pt x="1802514" y="1004889"/>
                  </a:cubicBezTo>
                  <a:cubicBezTo>
                    <a:pt x="1783663" y="1004889"/>
                    <a:pt x="1768382" y="989608"/>
                    <a:pt x="1768382" y="970757"/>
                  </a:cubicBezTo>
                  <a:cubicBezTo>
                    <a:pt x="1768382" y="951906"/>
                    <a:pt x="1783663" y="936625"/>
                    <a:pt x="1802514" y="936625"/>
                  </a:cubicBezTo>
                  <a:close/>
                  <a:moveTo>
                    <a:pt x="1719169" y="936625"/>
                  </a:moveTo>
                  <a:cubicBezTo>
                    <a:pt x="1739335" y="936625"/>
                    <a:pt x="1755682" y="951906"/>
                    <a:pt x="1755682" y="970757"/>
                  </a:cubicBezTo>
                  <a:cubicBezTo>
                    <a:pt x="1755682" y="989608"/>
                    <a:pt x="1739335" y="1004889"/>
                    <a:pt x="1719169" y="1004889"/>
                  </a:cubicBezTo>
                  <a:cubicBezTo>
                    <a:pt x="1699004" y="1004889"/>
                    <a:pt x="1682656" y="989608"/>
                    <a:pt x="1682656" y="970757"/>
                  </a:cubicBezTo>
                  <a:cubicBezTo>
                    <a:pt x="1682656" y="951906"/>
                    <a:pt x="1699004" y="936625"/>
                    <a:pt x="1719169" y="936625"/>
                  </a:cubicBezTo>
                  <a:close/>
                  <a:moveTo>
                    <a:pt x="1636603" y="936625"/>
                  </a:moveTo>
                  <a:cubicBezTo>
                    <a:pt x="1655892" y="936625"/>
                    <a:pt x="1671528" y="951906"/>
                    <a:pt x="1671528" y="970757"/>
                  </a:cubicBezTo>
                  <a:cubicBezTo>
                    <a:pt x="1671528" y="989608"/>
                    <a:pt x="1655892" y="1004889"/>
                    <a:pt x="1636603" y="1004889"/>
                  </a:cubicBezTo>
                  <a:cubicBezTo>
                    <a:pt x="1617314" y="1004889"/>
                    <a:pt x="1601678" y="989608"/>
                    <a:pt x="1601678" y="970757"/>
                  </a:cubicBezTo>
                  <a:cubicBezTo>
                    <a:pt x="1601678" y="951906"/>
                    <a:pt x="1617314" y="936625"/>
                    <a:pt x="1636603" y="936625"/>
                  </a:cubicBezTo>
                  <a:close/>
                  <a:moveTo>
                    <a:pt x="1551672" y="936625"/>
                  </a:moveTo>
                  <a:cubicBezTo>
                    <a:pt x="1570523" y="936625"/>
                    <a:pt x="1585804" y="951906"/>
                    <a:pt x="1585804" y="970757"/>
                  </a:cubicBezTo>
                  <a:cubicBezTo>
                    <a:pt x="1585804" y="989608"/>
                    <a:pt x="1570523" y="1004889"/>
                    <a:pt x="1551672" y="1004889"/>
                  </a:cubicBezTo>
                  <a:cubicBezTo>
                    <a:pt x="1532821" y="1004889"/>
                    <a:pt x="1517540" y="989608"/>
                    <a:pt x="1517540" y="970757"/>
                  </a:cubicBezTo>
                  <a:cubicBezTo>
                    <a:pt x="1517540" y="951906"/>
                    <a:pt x="1532821" y="936625"/>
                    <a:pt x="1551672" y="936625"/>
                  </a:cubicBezTo>
                  <a:close/>
                  <a:moveTo>
                    <a:pt x="1465946" y="936625"/>
                  </a:moveTo>
                  <a:cubicBezTo>
                    <a:pt x="1484798" y="936625"/>
                    <a:pt x="1500078" y="951906"/>
                    <a:pt x="1500078" y="970757"/>
                  </a:cubicBezTo>
                  <a:cubicBezTo>
                    <a:pt x="1500078" y="989608"/>
                    <a:pt x="1484798" y="1004889"/>
                    <a:pt x="1465946" y="1004889"/>
                  </a:cubicBezTo>
                  <a:cubicBezTo>
                    <a:pt x="1447095" y="1004889"/>
                    <a:pt x="1431814" y="989608"/>
                    <a:pt x="1431814" y="970757"/>
                  </a:cubicBezTo>
                  <a:cubicBezTo>
                    <a:pt x="1431814" y="951906"/>
                    <a:pt x="1447095" y="936625"/>
                    <a:pt x="1465946" y="936625"/>
                  </a:cubicBezTo>
                  <a:close/>
                  <a:moveTo>
                    <a:pt x="1380229" y="936625"/>
                  </a:moveTo>
                  <a:cubicBezTo>
                    <a:pt x="1399080" y="936625"/>
                    <a:pt x="1414361" y="951906"/>
                    <a:pt x="1414361" y="970757"/>
                  </a:cubicBezTo>
                  <a:cubicBezTo>
                    <a:pt x="1414361" y="989608"/>
                    <a:pt x="1399080" y="1004889"/>
                    <a:pt x="1380229" y="1004889"/>
                  </a:cubicBezTo>
                  <a:cubicBezTo>
                    <a:pt x="1361378" y="1004889"/>
                    <a:pt x="1346096" y="989608"/>
                    <a:pt x="1346096" y="970757"/>
                  </a:cubicBezTo>
                  <a:cubicBezTo>
                    <a:pt x="1346096" y="951906"/>
                    <a:pt x="1361378" y="936625"/>
                    <a:pt x="1380229" y="936625"/>
                  </a:cubicBezTo>
                  <a:close/>
                  <a:moveTo>
                    <a:pt x="1300222" y="936625"/>
                  </a:moveTo>
                  <a:cubicBezTo>
                    <a:pt x="1319509" y="936625"/>
                    <a:pt x="1335148" y="951906"/>
                    <a:pt x="1335148" y="970757"/>
                  </a:cubicBezTo>
                  <a:cubicBezTo>
                    <a:pt x="1335148" y="989608"/>
                    <a:pt x="1319509" y="1004889"/>
                    <a:pt x="1300222" y="1004889"/>
                  </a:cubicBezTo>
                  <a:cubicBezTo>
                    <a:pt x="1280933" y="1004889"/>
                    <a:pt x="1265297" y="989608"/>
                    <a:pt x="1265297" y="970757"/>
                  </a:cubicBezTo>
                  <a:cubicBezTo>
                    <a:pt x="1265297" y="951906"/>
                    <a:pt x="1280933" y="936625"/>
                    <a:pt x="1300222" y="936625"/>
                  </a:cubicBezTo>
                  <a:close/>
                  <a:moveTo>
                    <a:pt x="1214500" y="936625"/>
                  </a:moveTo>
                  <a:cubicBezTo>
                    <a:pt x="1233787" y="936625"/>
                    <a:pt x="1249422" y="951906"/>
                    <a:pt x="1249422" y="970757"/>
                  </a:cubicBezTo>
                  <a:cubicBezTo>
                    <a:pt x="1249422" y="989608"/>
                    <a:pt x="1233787" y="1004889"/>
                    <a:pt x="1214500" y="1004889"/>
                  </a:cubicBezTo>
                  <a:cubicBezTo>
                    <a:pt x="1195210" y="1004889"/>
                    <a:pt x="1179573" y="989608"/>
                    <a:pt x="1179573" y="970757"/>
                  </a:cubicBezTo>
                  <a:cubicBezTo>
                    <a:pt x="1179573" y="951906"/>
                    <a:pt x="1195210" y="936625"/>
                    <a:pt x="1214500" y="936625"/>
                  </a:cubicBezTo>
                  <a:close/>
                  <a:moveTo>
                    <a:pt x="707116" y="936625"/>
                  </a:moveTo>
                  <a:cubicBezTo>
                    <a:pt x="725967" y="936625"/>
                    <a:pt x="741248" y="951906"/>
                    <a:pt x="741248" y="970757"/>
                  </a:cubicBezTo>
                  <a:cubicBezTo>
                    <a:pt x="741248" y="989608"/>
                    <a:pt x="725967" y="1004889"/>
                    <a:pt x="707116" y="1004889"/>
                  </a:cubicBezTo>
                  <a:cubicBezTo>
                    <a:pt x="688264" y="1004889"/>
                    <a:pt x="672984" y="989608"/>
                    <a:pt x="672984" y="970757"/>
                  </a:cubicBezTo>
                  <a:cubicBezTo>
                    <a:pt x="672984" y="951906"/>
                    <a:pt x="688264" y="936625"/>
                    <a:pt x="707116" y="936625"/>
                  </a:cubicBezTo>
                  <a:close/>
                  <a:moveTo>
                    <a:pt x="9389152" y="849313"/>
                  </a:moveTo>
                  <a:cubicBezTo>
                    <a:pt x="9408003" y="849313"/>
                    <a:pt x="9423284" y="864949"/>
                    <a:pt x="9423284" y="884238"/>
                  </a:cubicBezTo>
                  <a:cubicBezTo>
                    <a:pt x="9423284" y="903527"/>
                    <a:pt x="9408003" y="919163"/>
                    <a:pt x="9389152" y="919163"/>
                  </a:cubicBezTo>
                  <a:cubicBezTo>
                    <a:pt x="9370301" y="919163"/>
                    <a:pt x="9355020" y="903527"/>
                    <a:pt x="9355020" y="884238"/>
                  </a:cubicBezTo>
                  <a:cubicBezTo>
                    <a:pt x="9355020" y="864949"/>
                    <a:pt x="9370301" y="849313"/>
                    <a:pt x="9389152" y="849313"/>
                  </a:cubicBezTo>
                  <a:close/>
                  <a:moveTo>
                    <a:pt x="9138327" y="849313"/>
                  </a:moveTo>
                  <a:cubicBezTo>
                    <a:pt x="9157178" y="849313"/>
                    <a:pt x="9172459" y="864949"/>
                    <a:pt x="9172459" y="884238"/>
                  </a:cubicBezTo>
                  <a:cubicBezTo>
                    <a:pt x="9172459" y="903527"/>
                    <a:pt x="9157178" y="919163"/>
                    <a:pt x="9138327" y="919163"/>
                  </a:cubicBezTo>
                  <a:cubicBezTo>
                    <a:pt x="9119476" y="919163"/>
                    <a:pt x="9104195" y="903527"/>
                    <a:pt x="9104195" y="884238"/>
                  </a:cubicBezTo>
                  <a:cubicBezTo>
                    <a:pt x="9104195" y="864949"/>
                    <a:pt x="9119476" y="849313"/>
                    <a:pt x="9138327" y="849313"/>
                  </a:cubicBezTo>
                  <a:close/>
                  <a:moveTo>
                    <a:pt x="9052602" y="849313"/>
                  </a:moveTo>
                  <a:cubicBezTo>
                    <a:pt x="9071453" y="849313"/>
                    <a:pt x="9086734" y="864949"/>
                    <a:pt x="9086734" y="884238"/>
                  </a:cubicBezTo>
                  <a:cubicBezTo>
                    <a:pt x="9086734" y="903527"/>
                    <a:pt x="9071453" y="919163"/>
                    <a:pt x="9052602" y="919163"/>
                  </a:cubicBezTo>
                  <a:cubicBezTo>
                    <a:pt x="9033751" y="919163"/>
                    <a:pt x="9018470" y="903527"/>
                    <a:pt x="9018470" y="884238"/>
                  </a:cubicBezTo>
                  <a:cubicBezTo>
                    <a:pt x="9018470" y="864949"/>
                    <a:pt x="9033751" y="849313"/>
                    <a:pt x="9052602" y="849313"/>
                  </a:cubicBezTo>
                  <a:close/>
                  <a:moveTo>
                    <a:pt x="8966877" y="849313"/>
                  </a:moveTo>
                  <a:cubicBezTo>
                    <a:pt x="8985728" y="849313"/>
                    <a:pt x="9001009" y="864949"/>
                    <a:pt x="9001009" y="884238"/>
                  </a:cubicBezTo>
                  <a:cubicBezTo>
                    <a:pt x="9001009" y="903527"/>
                    <a:pt x="8985728" y="919163"/>
                    <a:pt x="8966877" y="919163"/>
                  </a:cubicBezTo>
                  <a:cubicBezTo>
                    <a:pt x="8948026" y="919163"/>
                    <a:pt x="8932745" y="903527"/>
                    <a:pt x="8932745" y="884238"/>
                  </a:cubicBezTo>
                  <a:cubicBezTo>
                    <a:pt x="8932745" y="864949"/>
                    <a:pt x="8948026" y="849313"/>
                    <a:pt x="8966877" y="849313"/>
                  </a:cubicBezTo>
                  <a:close/>
                  <a:moveTo>
                    <a:pt x="8884327" y="849313"/>
                  </a:moveTo>
                  <a:cubicBezTo>
                    <a:pt x="8904931" y="849313"/>
                    <a:pt x="8921634" y="864949"/>
                    <a:pt x="8921634" y="884238"/>
                  </a:cubicBezTo>
                  <a:cubicBezTo>
                    <a:pt x="8921634" y="903527"/>
                    <a:pt x="8904931" y="919163"/>
                    <a:pt x="8884327" y="919163"/>
                  </a:cubicBezTo>
                  <a:cubicBezTo>
                    <a:pt x="8863723" y="919163"/>
                    <a:pt x="8847020" y="903527"/>
                    <a:pt x="8847020" y="884238"/>
                  </a:cubicBezTo>
                  <a:cubicBezTo>
                    <a:pt x="8847020" y="864949"/>
                    <a:pt x="8863723" y="849313"/>
                    <a:pt x="8884327" y="849313"/>
                  </a:cubicBezTo>
                  <a:close/>
                  <a:moveTo>
                    <a:pt x="8801777" y="849313"/>
                  </a:moveTo>
                  <a:cubicBezTo>
                    <a:pt x="8820628" y="849313"/>
                    <a:pt x="8835909" y="864949"/>
                    <a:pt x="8835909" y="884238"/>
                  </a:cubicBezTo>
                  <a:cubicBezTo>
                    <a:pt x="8835909" y="903527"/>
                    <a:pt x="8820628" y="919163"/>
                    <a:pt x="8801777" y="919163"/>
                  </a:cubicBezTo>
                  <a:cubicBezTo>
                    <a:pt x="8782926" y="919163"/>
                    <a:pt x="8767645" y="903527"/>
                    <a:pt x="8767645" y="884238"/>
                  </a:cubicBezTo>
                  <a:cubicBezTo>
                    <a:pt x="8767645" y="864949"/>
                    <a:pt x="8782926" y="849313"/>
                    <a:pt x="8801777" y="849313"/>
                  </a:cubicBezTo>
                  <a:close/>
                  <a:moveTo>
                    <a:pt x="8716052" y="849313"/>
                  </a:moveTo>
                  <a:cubicBezTo>
                    <a:pt x="8734903" y="849313"/>
                    <a:pt x="8750184" y="864949"/>
                    <a:pt x="8750184" y="884238"/>
                  </a:cubicBezTo>
                  <a:cubicBezTo>
                    <a:pt x="8750184" y="903527"/>
                    <a:pt x="8734903" y="919163"/>
                    <a:pt x="8716052" y="919163"/>
                  </a:cubicBezTo>
                  <a:cubicBezTo>
                    <a:pt x="8697201" y="919163"/>
                    <a:pt x="8681920" y="903527"/>
                    <a:pt x="8681920" y="884238"/>
                  </a:cubicBezTo>
                  <a:cubicBezTo>
                    <a:pt x="8681920" y="864949"/>
                    <a:pt x="8697201" y="849313"/>
                    <a:pt x="8716052" y="849313"/>
                  </a:cubicBezTo>
                  <a:close/>
                  <a:moveTo>
                    <a:pt x="8630327" y="849313"/>
                  </a:moveTo>
                  <a:cubicBezTo>
                    <a:pt x="8649178" y="849313"/>
                    <a:pt x="8664459" y="864949"/>
                    <a:pt x="8664459" y="884238"/>
                  </a:cubicBezTo>
                  <a:cubicBezTo>
                    <a:pt x="8664459" y="903527"/>
                    <a:pt x="8649178" y="919163"/>
                    <a:pt x="8630327" y="919163"/>
                  </a:cubicBezTo>
                  <a:cubicBezTo>
                    <a:pt x="8611476" y="919163"/>
                    <a:pt x="8596195" y="903527"/>
                    <a:pt x="8596195" y="884238"/>
                  </a:cubicBezTo>
                  <a:cubicBezTo>
                    <a:pt x="8596195" y="864949"/>
                    <a:pt x="8611476" y="849313"/>
                    <a:pt x="8630327" y="849313"/>
                  </a:cubicBezTo>
                  <a:close/>
                  <a:moveTo>
                    <a:pt x="8544602" y="849313"/>
                  </a:moveTo>
                  <a:cubicBezTo>
                    <a:pt x="8563453" y="849313"/>
                    <a:pt x="8578734" y="864949"/>
                    <a:pt x="8578734" y="884238"/>
                  </a:cubicBezTo>
                  <a:cubicBezTo>
                    <a:pt x="8578734" y="903527"/>
                    <a:pt x="8563453" y="919163"/>
                    <a:pt x="8544602" y="919163"/>
                  </a:cubicBezTo>
                  <a:cubicBezTo>
                    <a:pt x="8525751" y="919163"/>
                    <a:pt x="8510470" y="903527"/>
                    <a:pt x="8510470" y="884238"/>
                  </a:cubicBezTo>
                  <a:cubicBezTo>
                    <a:pt x="8510470" y="864949"/>
                    <a:pt x="8525751" y="849313"/>
                    <a:pt x="8544602" y="849313"/>
                  </a:cubicBezTo>
                  <a:close/>
                  <a:moveTo>
                    <a:pt x="8465227" y="849313"/>
                  </a:moveTo>
                  <a:cubicBezTo>
                    <a:pt x="8484078" y="849313"/>
                    <a:pt x="8499359" y="864949"/>
                    <a:pt x="8499359" y="884238"/>
                  </a:cubicBezTo>
                  <a:cubicBezTo>
                    <a:pt x="8499359" y="903527"/>
                    <a:pt x="8484078" y="919163"/>
                    <a:pt x="8465227" y="919163"/>
                  </a:cubicBezTo>
                  <a:cubicBezTo>
                    <a:pt x="8446376" y="919163"/>
                    <a:pt x="8431095" y="903527"/>
                    <a:pt x="8431095" y="884238"/>
                  </a:cubicBezTo>
                  <a:cubicBezTo>
                    <a:pt x="8431095" y="864949"/>
                    <a:pt x="8446376" y="849313"/>
                    <a:pt x="8465227" y="849313"/>
                  </a:cubicBezTo>
                  <a:close/>
                  <a:moveTo>
                    <a:pt x="8379502" y="849313"/>
                  </a:moveTo>
                  <a:cubicBezTo>
                    <a:pt x="8398353" y="849313"/>
                    <a:pt x="8413634" y="864949"/>
                    <a:pt x="8413634" y="884238"/>
                  </a:cubicBezTo>
                  <a:cubicBezTo>
                    <a:pt x="8413634" y="903527"/>
                    <a:pt x="8398353" y="919163"/>
                    <a:pt x="8379502" y="919163"/>
                  </a:cubicBezTo>
                  <a:cubicBezTo>
                    <a:pt x="8360651" y="919163"/>
                    <a:pt x="8345370" y="903527"/>
                    <a:pt x="8345370" y="884238"/>
                  </a:cubicBezTo>
                  <a:cubicBezTo>
                    <a:pt x="8345370" y="864949"/>
                    <a:pt x="8360651" y="849313"/>
                    <a:pt x="8379502" y="849313"/>
                  </a:cubicBezTo>
                  <a:close/>
                  <a:moveTo>
                    <a:pt x="8293777" y="849313"/>
                  </a:moveTo>
                  <a:cubicBezTo>
                    <a:pt x="8312628" y="849313"/>
                    <a:pt x="8327909" y="864949"/>
                    <a:pt x="8327909" y="884238"/>
                  </a:cubicBezTo>
                  <a:cubicBezTo>
                    <a:pt x="8327909" y="903527"/>
                    <a:pt x="8312628" y="919163"/>
                    <a:pt x="8293777" y="919163"/>
                  </a:cubicBezTo>
                  <a:cubicBezTo>
                    <a:pt x="8274926" y="919163"/>
                    <a:pt x="8259645" y="903527"/>
                    <a:pt x="8259645" y="884238"/>
                  </a:cubicBezTo>
                  <a:cubicBezTo>
                    <a:pt x="8259645" y="864949"/>
                    <a:pt x="8274926" y="849313"/>
                    <a:pt x="8293777" y="849313"/>
                  </a:cubicBezTo>
                  <a:close/>
                  <a:moveTo>
                    <a:pt x="8208052" y="849313"/>
                  </a:moveTo>
                  <a:cubicBezTo>
                    <a:pt x="8226903" y="849313"/>
                    <a:pt x="8242184" y="864949"/>
                    <a:pt x="8242184" y="884238"/>
                  </a:cubicBezTo>
                  <a:cubicBezTo>
                    <a:pt x="8242184" y="903527"/>
                    <a:pt x="8226903" y="919163"/>
                    <a:pt x="8208052" y="919163"/>
                  </a:cubicBezTo>
                  <a:cubicBezTo>
                    <a:pt x="8189201" y="919163"/>
                    <a:pt x="8173920" y="903527"/>
                    <a:pt x="8173920" y="884238"/>
                  </a:cubicBezTo>
                  <a:cubicBezTo>
                    <a:pt x="8173920" y="864949"/>
                    <a:pt x="8189201" y="849313"/>
                    <a:pt x="8208052" y="849313"/>
                  </a:cubicBezTo>
                  <a:close/>
                  <a:moveTo>
                    <a:pt x="8125502" y="849313"/>
                  </a:moveTo>
                  <a:cubicBezTo>
                    <a:pt x="8146106" y="849313"/>
                    <a:pt x="8162809" y="864949"/>
                    <a:pt x="8162809" y="884238"/>
                  </a:cubicBezTo>
                  <a:cubicBezTo>
                    <a:pt x="8162809" y="903527"/>
                    <a:pt x="8146106" y="919163"/>
                    <a:pt x="8125502" y="919163"/>
                  </a:cubicBezTo>
                  <a:cubicBezTo>
                    <a:pt x="8104898" y="919163"/>
                    <a:pt x="8088195" y="903527"/>
                    <a:pt x="8088195" y="884238"/>
                  </a:cubicBezTo>
                  <a:cubicBezTo>
                    <a:pt x="8088195" y="864949"/>
                    <a:pt x="8104898" y="849313"/>
                    <a:pt x="8125502" y="849313"/>
                  </a:cubicBezTo>
                  <a:close/>
                  <a:moveTo>
                    <a:pt x="8042952" y="849313"/>
                  </a:moveTo>
                  <a:cubicBezTo>
                    <a:pt x="8061803" y="849313"/>
                    <a:pt x="8077084" y="864949"/>
                    <a:pt x="8077084" y="884238"/>
                  </a:cubicBezTo>
                  <a:cubicBezTo>
                    <a:pt x="8077084" y="903527"/>
                    <a:pt x="8061803" y="919163"/>
                    <a:pt x="8042952" y="919163"/>
                  </a:cubicBezTo>
                  <a:cubicBezTo>
                    <a:pt x="8024101" y="919163"/>
                    <a:pt x="8008820" y="903527"/>
                    <a:pt x="8008820" y="884238"/>
                  </a:cubicBezTo>
                  <a:cubicBezTo>
                    <a:pt x="8008820" y="864949"/>
                    <a:pt x="8024101" y="849313"/>
                    <a:pt x="8042952" y="849313"/>
                  </a:cubicBezTo>
                  <a:close/>
                  <a:moveTo>
                    <a:pt x="7957227" y="849313"/>
                  </a:moveTo>
                  <a:cubicBezTo>
                    <a:pt x="7976078" y="849313"/>
                    <a:pt x="7991359" y="864949"/>
                    <a:pt x="7991359" y="884238"/>
                  </a:cubicBezTo>
                  <a:cubicBezTo>
                    <a:pt x="7991359" y="903527"/>
                    <a:pt x="7976078" y="919163"/>
                    <a:pt x="7957227" y="919163"/>
                  </a:cubicBezTo>
                  <a:cubicBezTo>
                    <a:pt x="7938376" y="919163"/>
                    <a:pt x="7923095" y="903527"/>
                    <a:pt x="7923095" y="884238"/>
                  </a:cubicBezTo>
                  <a:cubicBezTo>
                    <a:pt x="7923095" y="864949"/>
                    <a:pt x="7938376" y="849313"/>
                    <a:pt x="7957227" y="849313"/>
                  </a:cubicBezTo>
                  <a:close/>
                  <a:moveTo>
                    <a:pt x="7871502" y="849313"/>
                  </a:moveTo>
                  <a:cubicBezTo>
                    <a:pt x="7890353" y="849313"/>
                    <a:pt x="7905634" y="864949"/>
                    <a:pt x="7905634" y="884238"/>
                  </a:cubicBezTo>
                  <a:cubicBezTo>
                    <a:pt x="7905634" y="903527"/>
                    <a:pt x="7890353" y="919163"/>
                    <a:pt x="7871502" y="919163"/>
                  </a:cubicBezTo>
                  <a:cubicBezTo>
                    <a:pt x="7852651" y="919163"/>
                    <a:pt x="7837370" y="903527"/>
                    <a:pt x="7837370" y="884238"/>
                  </a:cubicBezTo>
                  <a:cubicBezTo>
                    <a:pt x="7837370" y="864949"/>
                    <a:pt x="7852651" y="849313"/>
                    <a:pt x="7871502" y="849313"/>
                  </a:cubicBezTo>
                  <a:close/>
                  <a:moveTo>
                    <a:pt x="7785777" y="849313"/>
                  </a:moveTo>
                  <a:cubicBezTo>
                    <a:pt x="7804628" y="849313"/>
                    <a:pt x="7819909" y="864949"/>
                    <a:pt x="7819909" y="884238"/>
                  </a:cubicBezTo>
                  <a:cubicBezTo>
                    <a:pt x="7819909" y="903527"/>
                    <a:pt x="7804628" y="919163"/>
                    <a:pt x="7785777" y="919163"/>
                  </a:cubicBezTo>
                  <a:cubicBezTo>
                    <a:pt x="7766926" y="919163"/>
                    <a:pt x="7751645" y="903527"/>
                    <a:pt x="7751645" y="884238"/>
                  </a:cubicBezTo>
                  <a:cubicBezTo>
                    <a:pt x="7751645" y="864949"/>
                    <a:pt x="7766926" y="849313"/>
                    <a:pt x="7785777" y="849313"/>
                  </a:cubicBezTo>
                  <a:close/>
                  <a:moveTo>
                    <a:pt x="7706402" y="849313"/>
                  </a:moveTo>
                  <a:cubicBezTo>
                    <a:pt x="7725253" y="849313"/>
                    <a:pt x="7740534" y="864949"/>
                    <a:pt x="7740534" y="884238"/>
                  </a:cubicBezTo>
                  <a:cubicBezTo>
                    <a:pt x="7740534" y="903527"/>
                    <a:pt x="7725253" y="919163"/>
                    <a:pt x="7706402" y="919163"/>
                  </a:cubicBezTo>
                  <a:cubicBezTo>
                    <a:pt x="7687551" y="919163"/>
                    <a:pt x="7672270" y="903527"/>
                    <a:pt x="7672270" y="884238"/>
                  </a:cubicBezTo>
                  <a:cubicBezTo>
                    <a:pt x="7672270" y="864949"/>
                    <a:pt x="7687551" y="849313"/>
                    <a:pt x="7706402" y="849313"/>
                  </a:cubicBezTo>
                  <a:close/>
                  <a:moveTo>
                    <a:pt x="7620677" y="849313"/>
                  </a:moveTo>
                  <a:cubicBezTo>
                    <a:pt x="7639528" y="849313"/>
                    <a:pt x="7654809" y="864949"/>
                    <a:pt x="7654809" y="884238"/>
                  </a:cubicBezTo>
                  <a:cubicBezTo>
                    <a:pt x="7654809" y="903527"/>
                    <a:pt x="7639528" y="919163"/>
                    <a:pt x="7620677" y="919163"/>
                  </a:cubicBezTo>
                  <a:cubicBezTo>
                    <a:pt x="7601826" y="919163"/>
                    <a:pt x="7586545" y="903527"/>
                    <a:pt x="7586545" y="884238"/>
                  </a:cubicBezTo>
                  <a:cubicBezTo>
                    <a:pt x="7586545" y="864949"/>
                    <a:pt x="7601826" y="849313"/>
                    <a:pt x="7620677" y="849313"/>
                  </a:cubicBezTo>
                  <a:close/>
                  <a:moveTo>
                    <a:pt x="7534952" y="849313"/>
                  </a:moveTo>
                  <a:cubicBezTo>
                    <a:pt x="7553803" y="849313"/>
                    <a:pt x="7569084" y="864949"/>
                    <a:pt x="7569084" y="884238"/>
                  </a:cubicBezTo>
                  <a:cubicBezTo>
                    <a:pt x="7569084" y="903527"/>
                    <a:pt x="7553803" y="919163"/>
                    <a:pt x="7534952" y="919163"/>
                  </a:cubicBezTo>
                  <a:cubicBezTo>
                    <a:pt x="7516101" y="919163"/>
                    <a:pt x="7500820" y="903527"/>
                    <a:pt x="7500820" y="884238"/>
                  </a:cubicBezTo>
                  <a:cubicBezTo>
                    <a:pt x="7500820" y="864949"/>
                    <a:pt x="7516101" y="849313"/>
                    <a:pt x="7534952" y="849313"/>
                  </a:cubicBezTo>
                  <a:close/>
                  <a:moveTo>
                    <a:pt x="7449227" y="849313"/>
                  </a:moveTo>
                  <a:cubicBezTo>
                    <a:pt x="7468078" y="849313"/>
                    <a:pt x="7483359" y="864949"/>
                    <a:pt x="7483359" y="884238"/>
                  </a:cubicBezTo>
                  <a:cubicBezTo>
                    <a:pt x="7483359" y="903527"/>
                    <a:pt x="7468078" y="919163"/>
                    <a:pt x="7449227" y="919163"/>
                  </a:cubicBezTo>
                  <a:cubicBezTo>
                    <a:pt x="7430376" y="919163"/>
                    <a:pt x="7415095" y="903527"/>
                    <a:pt x="7415095" y="884238"/>
                  </a:cubicBezTo>
                  <a:cubicBezTo>
                    <a:pt x="7415095" y="864949"/>
                    <a:pt x="7430376" y="849313"/>
                    <a:pt x="7449227" y="849313"/>
                  </a:cubicBezTo>
                  <a:close/>
                  <a:moveTo>
                    <a:pt x="7366677" y="849313"/>
                  </a:moveTo>
                  <a:cubicBezTo>
                    <a:pt x="7387281" y="849313"/>
                    <a:pt x="7403984" y="864949"/>
                    <a:pt x="7403984" y="884238"/>
                  </a:cubicBezTo>
                  <a:cubicBezTo>
                    <a:pt x="7403984" y="903527"/>
                    <a:pt x="7387281" y="919163"/>
                    <a:pt x="7366677" y="919163"/>
                  </a:cubicBezTo>
                  <a:cubicBezTo>
                    <a:pt x="7346073" y="919163"/>
                    <a:pt x="7329370" y="903527"/>
                    <a:pt x="7329370" y="884238"/>
                  </a:cubicBezTo>
                  <a:cubicBezTo>
                    <a:pt x="7329370" y="864949"/>
                    <a:pt x="7346073" y="849313"/>
                    <a:pt x="7366677" y="849313"/>
                  </a:cubicBezTo>
                  <a:close/>
                  <a:moveTo>
                    <a:pt x="7284127" y="849313"/>
                  </a:moveTo>
                  <a:cubicBezTo>
                    <a:pt x="7302978" y="849313"/>
                    <a:pt x="7318259" y="864949"/>
                    <a:pt x="7318259" y="884238"/>
                  </a:cubicBezTo>
                  <a:cubicBezTo>
                    <a:pt x="7318259" y="903527"/>
                    <a:pt x="7302978" y="919163"/>
                    <a:pt x="7284127" y="919163"/>
                  </a:cubicBezTo>
                  <a:cubicBezTo>
                    <a:pt x="7265276" y="919163"/>
                    <a:pt x="7249995" y="903527"/>
                    <a:pt x="7249995" y="884238"/>
                  </a:cubicBezTo>
                  <a:cubicBezTo>
                    <a:pt x="7249995" y="864949"/>
                    <a:pt x="7265276" y="849313"/>
                    <a:pt x="7284127" y="849313"/>
                  </a:cubicBezTo>
                  <a:close/>
                  <a:moveTo>
                    <a:pt x="7198402" y="849313"/>
                  </a:moveTo>
                  <a:cubicBezTo>
                    <a:pt x="7217253" y="849313"/>
                    <a:pt x="7232534" y="864949"/>
                    <a:pt x="7232534" y="884238"/>
                  </a:cubicBezTo>
                  <a:cubicBezTo>
                    <a:pt x="7232534" y="903527"/>
                    <a:pt x="7217253" y="919163"/>
                    <a:pt x="7198402" y="919163"/>
                  </a:cubicBezTo>
                  <a:cubicBezTo>
                    <a:pt x="7179551" y="919163"/>
                    <a:pt x="7164270" y="903527"/>
                    <a:pt x="7164270" y="884238"/>
                  </a:cubicBezTo>
                  <a:cubicBezTo>
                    <a:pt x="7164270" y="864949"/>
                    <a:pt x="7179551" y="849313"/>
                    <a:pt x="7198402" y="849313"/>
                  </a:cubicBezTo>
                  <a:close/>
                  <a:moveTo>
                    <a:pt x="7112677" y="849313"/>
                  </a:moveTo>
                  <a:cubicBezTo>
                    <a:pt x="7131528" y="849313"/>
                    <a:pt x="7146809" y="864949"/>
                    <a:pt x="7146809" y="884238"/>
                  </a:cubicBezTo>
                  <a:cubicBezTo>
                    <a:pt x="7146809" y="903527"/>
                    <a:pt x="7131528" y="919163"/>
                    <a:pt x="7112677" y="919163"/>
                  </a:cubicBezTo>
                  <a:cubicBezTo>
                    <a:pt x="7093826" y="919163"/>
                    <a:pt x="7078545" y="903527"/>
                    <a:pt x="7078545" y="884238"/>
                  </a:cubicBezTo>
                  <a:cubicBezTo>
                    <a:pt x="7078545" y="864949"/>
                    <a:pt x="7093826" y="849313"/>
                    <a:pt x="7112677" y="849313"/>
                  </a:cubicBezTo>
                  <a:close/>
                  <a:moveTo>
                    <a:pt x="7027745" y="849313"/>
                  </a:moveTo>
                  <a:cubicBezTo>
                    <a:pt x="7047034" y="849313"/>
                    <a:pt x="7062670" y="864949"/>
                    <a:pt x="7062670" y="884238"/>
                  </a:cubicBezTo>
                  <a:cubicBezTo>
                    <a:pt x="7062670" y="903527"/>
                    <a:pt x="7047034" y="919163"/>
                    <a:pt x="7027745" y="919163"/>
                  </a:cubicBezTo>
                  <a:cubicBezTo>
                    <a:pt x="7008456" y="919163"/>
                    <a:pt x="6992820" y="903527"/>
                    <a:pt x="6992820" y="884238"/>
                  </a:cubicBezTo>
                  <a:cubicBezTo>
                    <a:pt x="6992820" y="864949"/>
                    <a:pt x="7008456" y="849313"/>
                    <a:pt x="7027745" y="849313"/>
                  </a:cubicBezTo>
                  <a:close/>
                  <a:moveTo>
                    <a:pt x="6947577" y="849313"/>
                  </a:moveTo>
                  <a:cubicBezTo>
                    <a:pt x="6966428" y="849313"/>
                    <a:pt x="6981709" y="864949"/>
                    <a:pt x="6981709" y="884238"/>
                  </a:cubicBezTo>
                  <a:cubicBezTo>
                    <a:pt x="6981709" y="903527"/>
                    <a:pt x="6966428" y="919163"/>
                    <a:pt x="6947577" y="919163"/>
                  </a:cubicBezTo>
                  <a:cubicBezTo>
                    <a:pt x="6928726" y="919163"/>
                    <a:pt x="6913445" y="903527"/>
                    <a:pt x="6913445" y="884238"/>
                  </a:cubicBezTo>
                  <a:cubicBezTo>
                    <a:pt x="6913445" y="864949"/>
                    <a:pt x="6928726" y="849313"/>
                    <a:pt x="6947577" y="849313"/>
                  </a:cubicBezTo>
                  <a:close/>
                  <a:moveTo>
                    <a:pt x="6861852" y="849313"/>
                  </a:moveTo>
                  <a:cubicBezTo>
                    <a:pt x="6880703" y="849313"/>
                    <a:pt x="6895984" y="864949"/>
                    <a:pt x="6895984" y="884238"/>
                  </a:cubicBezTo>
                  <a:cubicBezTo>
                    <a:pt x="6895984" y="903527"/>
                    <a:pt x="6880703" y="919163"/>
                    <a:pt x="6861852" y="919163"/>
                  </a:cubicBezTo>
                  <a:cubicBezTo>
                    <a:pt x="6843001" y="919163"/>
                    <a:pt x="6827720" y="903527"/>
                    <a:pt x="6827720" y="884238"/>
                  </a:cubicBezTo>
                  <a:cubicBezTo>
                    <a:pt x="6827720" y="864949"/>
                    <a:pt x="6843001" y="849313"/>
                    <a:pt x="6861852" y="849313"/>
                  </a:cubicBezTo>
                  <a:close/>
                  <a:moveTo>
                    <a:pt x="6691195" y="849313"/>
                  </a:moveTo>
                  <a:cubicBezTo>
                    <a:pt x="6710484" y="849313"/>
                    <a:pt x="6726120" y="864949"/>
                    <a:pt x="6726120" y="884238"/>
                  </a:cubicBezTo>
                  <a:cubicBezTo>
                    <a:pt x="6726120" y="903527"/>
                    <a:pt x="6710484" y="919163"/>
                    <a:pt x="6691195" y="919163"/>
                  </a:cubicBezTo>
                  <a:cubicBezTo>
                    <a:pt x="6671906" y="919163"/>
                    <a:pt x="6656270" y="903527"/>
                    <a:pt x="6656270" y="884238"/>
                  </a:cubicBezTo>
                  <a:cubicBezTo>
                    <a:pt x="6656270" y="864949"/>
                    <a:pt x="6671906" y="849313"/>
                    <a:pt x="6691195" y="849313"/>
                  </a:cubicBezTo>
                  <a:close/>
                  <a:moveTo>
                    <a:pt x="6607852" y="849313"/>
                  </a:moveTo>
                  <a:cubicBezTo>
                    <a:pt x="6628456" y="849313"/>
                    <a:pt x="6645159" y="864949"/>
                    <a:pt x="6645159" y="884238"/>
                  </a:cubicBezTo>
                  <a:cubicBezTo>
                    <a:pt x="6645159" y="903527"/>
                    <a:pt x="6628456" y="919163"/>
                    <a:pt x="6607852" y="919163"/>
                  </a:cubicBezTo>
                  <a:cubicBezTo>
                    <a:pt x="6587248" y="919163"/>
                    <a:pt x="6570545" y="903527"/>
                    <a:pt x="6570545" y="884238"/>
                  </a:cubicBezTo>
                  <a:cubicBezTo>
                    <a:pt x="6570545" y="864949"/>
                    <a:pt x="6587248" y="849313"/>
                    <a:pt x="6607852" y="849313"/>
                  </a:cubicBezTo>
                  <a:close/>
                  <a:moveTo>
                    <a:pt x="6525302" y="849313"/>
                  </a:moveTo>
                  <a:cubicBezTo>
                    <a:pt x="6544153" y="849313"/>
                    <a:pt x="6559434" y="864949"/>
                    <a:pt x="6559434" y="884238"/>
                  </a:cubicBezTo>
                  <a:cubicBezTo>
                    <a:pt x="6559434" y="903527"/>
                    <a:pt x="6544153" y="919163"/>
                    <a:pt x="6525302" y="919163"/>
                  </a:cubicBezTo>
                  <a:cubicBezTo>
                    <a:pt x="6506451" y="919163"/>
                    <a:pt x="6491170" y="903527"/>
                    <a:pt x="6491170" y="884238"/>
                  </a:cubicBezTo>
                  <a:cubicBezTo>
                    <a:pt x="6491170" y="864949"/>
                    <a:pt x="6506451" y="849313"/>
                    <a:pt x="6525302" y="849313"/>
                  </a:cubicBezTo>
                  <a:close/>
                  <a:moveTo>
                    <a:pt x="6439577" y="849313"/>
                  </a:moveTo>
                  <a:cubicBezTo>
                    <a:pt x="6458428" y="849313"/>
                    <a:pt x="6473709" y="864949"/>
                    <a:pt x="6473709" y="884238"/>
                  </a:cubicBezTo>
                  <a:cubicBezTo>
                    <a:pt x="6473709" y="903527"/>
                    <a:pt x="6458428" y="919163"/>
                    <a:pt x="6439577" y="919163"/>
                  </a:cubicBezTo>
                  <a:cubicBezTo>
                    <a:pt x="6420726" y="919163"/>
                    <a:pt x="6405445" y="903527"/>
                    <a:pt x="6405445" y="884238"/>
                  </a:cubicBezTo>
                  <a:cubicBezTo>
                    <a:pt x="6405445" y="864949"/>
                    <a:pt x="6420726" y="849313"/>
                    <a:pt x="6439577" y="849313"/>
                  </a:cubicBezTo>
                  <a:close/>
                  <a:moveTo>
                    <a:pt x="6353852" y="849313"/>
                  </a:moveTo>
                  <a:cubicBezTo>
                    <a:pt x="6372703" y="849313"/>
                    <a:pt x="6387984" y="864949"/>
                    <a:pt x="6387984" y="884238"/>
                  </a:cubicBezTo>
                  <a:cubicBezTo>
                    <a:pt x="6387984" y="903527"/>
                    <a:pt x="6372703" y="919163"/>
                    <a:pt x="6353852" y="919163"/>
                  </a:cubicBezTo>
                  <a:cubicBezTo>
                    <a:pt x="6335001" y="919163"/>
                    <a:pt x="6319720" y="903527"/>
                    <a:pt x="6319720" y="884238"/>
                  </a:cubicBezTo>
                  <a:cubicBezTo>
                    <a:pt x="6319720" y="864949"/>
                    <a:pt x="6335001" y="849313"/>
                    <a:pt x="6353852" y="849313"/>
                  </a:cubicBezTo>
                  <a:close/>
                  <a:moveTo>
                    <a:pt x="6268920" y="849313"/>
                  </a:moveTo>
                  <a:cubicBezTo>
                    <a:pt x="6288209" y="849313"/>
                    <a:pt x="6303845" y="864949"/>
                    <a:pt x="6303845" y="884238"/>
                  </a:cubicBezTo>
                  <a:cubicBezTo>
                    <a:pt x="6303845" y="903527"/>
                    <a:pt x="6288209" y="919163"/>
                    <a:pt x="6268920" y="919163"/>
                  </a:cubicBezTo>
                  <a:cubicBezTo>
                    <a:pt x="6249631" y="919163"/>
                    <a:pt x="6233995" y="903527"/>
                    <a:pt x="6233995" y="884238"/>
                  </a:cubicBezTo>
                  <a:cubicBezTo>
                    <a:pt x="6233995" y="864949"/>
                    <a:pt x="6249631" y="849313"/>
                    <a:pt x="6268920" y="849313"/>
                  </a:cubicBezTo>
                  <a:close/>
                  <a:moveTo>
                    <a:pt x="6103027" y="849313"/>
                  </a:moveTo>
                  <a:cubicBezTo>
                    <a:pt x="6121878" y="849313"/>
                    <a:pt x="6137159" y="864949"/>
                    <a:pt x="6137159" y="884238"/>
                  </a:cubicBezTo>
                  <a:cubicBezTo>
                    <a:pt x="6137159" y="903527"/>
                    <a:pt x="6121878" y="919163"/>
                    <a:pt x="6103027" y="919163"/>
                  </a:cubicBezTo>
                  <a:cubicBezTo>
                    <a:pt x="6084176" y="919163"/>
                    <a:pt x="6068895" y="903527"/>
                    <a:pt x="6068895" y="884238"/>
                  </a:cubicBezTo>
                  <a:cubicBezTo>
                    <a:pt x="6068895" y="864949"/>
                    <a:pt x="6084176" y="849313"/>
                    <a:pt x="6103027" y="849313"/>
                  </a:cubicBezTo>
                  <a:close/>
                  <a:moveTo>
                    <a:pt x="5849821" y="849313"/>
                  </a:moveTo>
                  <a:cubicBezTo>
                    <a:pt x="5869987" y="849313"/>
                    <a:pt x="5886334" y="864949"/>
                    <a:pt x="5886334" y="884238"/>
                  </a:cubicBezTo>
                  <a:cubicBezTo>
                    <a:pt x="5886334" y="903527"/>
                    <a:pt x="5869987" y="919163"/>
                    <a:pt x="5849821" y="919163"/>
                  </a:cubicBezTo>
                  <a:cubicBezTo>
                    <a:pt x="5829655" y="919163"/>
                    <a:pt x="5813308" y="903527"/>
                    <a:pt x="5813308" y="884238"/>
                  </a:cubicBezTo>
                  <a:cubicBezTo>
                    <a:pt x="5813308" y="864949"/>
                    <a:pt x="5829655" y="849313"/>
                    <a:pt x="5849821" y="849313"/>
                  </a:cubicBezTo>
                  <a:close/>
                  <a:moveTo>
                    <a:pt x="5766477" y="849313"/>
                  </a:moveTo>
                  <a:cubicBezTo>
                    <a:pt x="5785328" y="849313"/>
                    <a:pt x="5800609" y="864949"/>
                    <a:pt x="5800609" y="884238"/>
                  </a:cubicBezTo>
                  <a:cubicBezTo>
                    <a:pt x="5800609" y="903527"/>
                    <a:pt x="5785328" y="919163"/>
                    <a:pt x="5766477" y="919163"/>
                  </a:cubicBezTo>
                  <a:cubicBezTo>
                    <a:pt x="5747626" y="919163"/>
                    <a:pt x="5732345" y="903527"/>
                    <a:pt x="5732345" y="884238"/>
                  </a:cubicBezTo>
                  <a:cubicBezTo>
                    <a:pt x="5732345" y="864949"/>
                    <a:pt x="5747626" y="849313"/>
                    <a:pt x="5766477" y="849313"/>
                  </a:cubicBezTo>
                  <a:close/>
                  <a:moveTo>
                    <a:pt x="5680752" y="849313"/>
                  </a:moveTo>
                  <a:cubicBezTo>
                    <a:pt x="5699603" y="849313"/>
                    <a:pt x="5714884" y="864949"/>
                    <a:pt x="5714884" y="884238"/>
                  </a:cubicBezTo>
                  <a:cubicBezTo>
                    <a:pt x="5714884" y="903527"/>
                    <a:pt x="5699603" y="919163"/>
                    <a:pt x="5680752" y="919163"/>
                  </a:cubicBezTo>
                  <a:cubicBezTo>
                    <a:pt x="5661901" y="919163"/>
                    <a:pt x="5646620" y="903527"/>
                    <a:pt x="5646620" y="884238"/>
                  </a:cubicBezTo>
                  <a:cubicBezTo>
                    <a:pt x="5646620" y="864949"/>
                    <a:pt x="5661901" y="849313"/>
                    <a:pt x="5680752" y="849313"/>
                  </a:cubicBezTo>
                  <a:close/>
                  <a:moveTo>
                    <a:pt x="5595820" y="849313"/>
                  </a:moveTo>
                  <a:cubicBezTo>
                    <a:pt x="5615109" y="849313"/>
                    <a:pt x="5630745" y="864949"/>
                    <a:pt x="5630745" y="884238"/>
                  </a:cubicBezTo>
                  <a:cubicBezTo>
                    <a:pt x="5630745" y="903527"/>
                    <a:pt x="5615109" y="919163"/>
                    <a:pt x="5595820" y="919163"/>
                  </a:cubicBezTo>
                  <a:cubicBezTo>
                    <a:pt x="5576531" y="919163"/>
                    <a:pt x="5560895" y="903527"/>
                    <a:pt x="5560895" y="884238"/>
                  </a:cubicBezTo>
                  <a:cubicBezTo>
                    <a:pt x="5560895" y="864949"/>
                    <a:pt x="5576531" y="849313"/>
                    <a:pt x="5595820" y="849313"/>
                  </a:cubicBezTo>
                  <a:close/>
                  <a:moveTo>
                    <a:pt x="5510095" y="849313"/>
                  </a:moveTo>
                  <a:cubicBezTo>
                    <a:pt x="5529384" y="849313"/>
                    <a:pt x="5545020" y="864949"/>
                    <a:pt x="5545020" y="884238"/>
                  </a:cubicBezTo>
                  <a:cubicBezTo>
                    <a:pt x="5545020" y="903527"/>
                    <a:pt x="5529384" y="919163"/>
                    <a:pt x="5510095" y="919163"/>
                  </a:cubicBezTo>
                  <a:cubicBezTo>
                    <a:pt x="5490806" y="919163"/>
                    <a:pt x="5475170" y="903527"/>
                    <a:pt x="5475170" y="884238"/>
                  </a:cubicBezTo>
                  <a:cubicBezTo>
                    <a:pt x="5475170" y="864949"/>
                    <a:pt x="5490806" y="849313"/>
                    <a:pt x="5510095" y="849313"/>
                  </a:cubicBezTo>
                  <a:close/>
                  <a:moveTo>
                    <a:pt x="4163895" y="849313"/>
                  </a:moveTo>
                  <a:cubicBezTo>
                    <a:pt x="4183184" y="849313"/>
                    <a:pt x="4198820" y="864949"/>
                    <a:pt x="4198820" y="884238"/>
                  </a:cubicBezTo>
                  <a:cubicBezTo>
                    <a:pt x="4198820" y="903527"/>
                    <a:pt x="4183184" y="919163"/>
                    <a:pt x="4163895" y="919163"/>
                  </a:cubicBezTo>
                  <a:cubicBezTo>
                    <a:pt x="4144606" y="919163"/>
                    <a:pt x="4128970" y="903527"/>
                    <a:pt x="4128970" y="884238"/>
                  </a:cubicBezTo>
                  <a:cubicBezTo>
                    <a:pt x="4128970" y="864949"/>
                    <a:pt x="4144606" y="849313"/>
                    <a:pt x="4163895" y="849313"/>
                  </a:cubicBezTo>
                  <a:close/>
                  <a:moveTo>
                    <a:pt x="4078170" y="849313"/>
                  </a:moveTo>
                  <a:cubicBezTo>
                    <a:pt x="4097459" y="849313"/>
                    <a:pt x="4113095" y="864949"/>
                    <a:pt x="4113095" y="884238"/>
                  </a:cubicBezTo>
                  <a:cubicBezTo>
                    <a:pt x="4113095" y="903527"/>
                    <a:pt x="4097459" y="919163"/>
                    <a:pt x="4078170" y="919163"/>
                  </a:cubicBezTo>
                  <a:cubicBezTo>
                    <a:pt x="4058881" y="919163"/>
                    <a:pt x="4043245" y="903527"/>
                    <a:pt x="4043245" y="884238"/>
                  </a:cubicBezTo>
                  <a:cubicBezTo>
                    <a:pt x="4043245" y="864949"/>
                    <a:pt x="4058881" y="849313"/>
                    <a:pt x="4078170" y="849313"/>
                  </a:cubicBezTo>
                  <a:close/>
                  <a:moveTo>
                    <a:pt x="3993240" y="849313"/>
                  </a:moveTo>
                  <a:cubicBezTo>
                    <a:pt x="4012091" y="849313"/>
                    <a:pt x="4027372" y="864949"/>
                    <a:pt x="4027372" y="884238"/>
                  </a:cubicBezTo>
                  <a:cubicBezTo>
                    <a:pt x="4027372" y="903527"/>
                    <a:pt x="4012091" y="919163"/>
                    <a:pt x="3993240" y="919163"/>
                  </a:cubicBezTo>
                  <a:cubicBezTo>
                    <a:pt x="3974389" y="919163"/>
                    <a:pt x="3959108" y="903527"/>
                    <a:pt x="3959108" y="884238"/>
                  </a:cubicBezTo>
                  <a:cubicBezTo>
                    <a:pt x="3959108" y="864949"/>
                    <a:pt x="3974389" y="849313"/>
                    <a:pt x="3993240" y="849313"/>
                  </a:cubicBezTo>
                  <a:close/>
                  <a:moveTo>
                    <a:pt x="3912277" y="849313"/>
                  </a:moveTo>
                  <a:cubicBezTo>
                    <a:pt x="3931128" y="849313"/>
                    <a:pt x="3946409" y="864949"/>
                    <a:pt x="3946409" y="884238"/>
                  </a:cubicBezTo>
                  <a:cubicBezTo>
                    <a:pt x="3946409" y="903527"/>
                    <a:pt x="3931128" y="919163"/>
                    <a:pt x="3912277" y="919163"/>
                  </a:cubicBezTo>
                  <a:cubicBezTo>
                    <a:pt x="3893426" y="919163"/>
                    <a:pt x="3878145" y="903527"/>
                    <a:pt x="3878145" y="884238"/>
                  </a:cubicBezTo>
                  <a:cubicBezTo>
                    <a:pt x="3878145" y="864949"/>
                    <a:pt x="3893426" y="849313"/>
                    <a:pt x="3912277" y="849313"/>
                  </a:cubicBezTo>
                  <a:close/>
                  <a:moveTo>
                    <a:pt x="3826552" y="849313"/>
                  </a:moveTo>
                  <a:cubicBezTo>
                    <a:pt x="3845403" y="849313"/>
                    <a:pt x="3860684" y="864949"/>
                    <a:pt x="3860684" y="884238"/>
                  </a:cubicBezTo>
                  <a:cubicBezTo>
                    <a:pt x="3860684" y="903527"/>
                    <a:pt x="3845403" y="919163"/>
                    <a:pt x="3826552" y="919163"/>
                  </a:cubicBezTo>
                  <a:cubicBezTo>
                    <a:pt x="3807701" y="919163"/>
                    <a:pt x="3792420" y="903527"/>
                    <a:pt x="3792420" y="884238"/>
                  </a:cubicBezTo>
                  <a:cubicBezTo>
                    <a:pt x="3792420" y="864949"/>
                    <a:pt x="3807701" y="849313"/>
                    <a:pt x="3826552" y="849313"/>
                  </a:cubicBezTo>
                  <a:close/>
                  <a:moveTo>
                    <a:pt x="3741620" y="849313"/>
                  </a:moveTo>
                  <a:cubicBezTo>
                    <a:pt x="3760909" y="849313"/>
                    <a:pt x="3776545" y="864949"/>
                    <a:pt x="3776545" y="884238"/>
                  </a:cubicBezTo>
                  <a:cubicBezTo>
                    <a:pt x="3776545" y="903527"/>
                    <a:pt x="3760909" y="919163"/>
                    <a:pt x="3741620" y="919163"/>
                  </a:cubicBezTo>
                  <a:cubicBezTo>
                    <a:pt x="3722331" y="919163"/>
                    <a:pt x="3706695" y="903527"/>
                    <a:pt x="3706695" y="884238"/>
                  </a:cubicBezTo>
                  <a:cubicBezTo>
                    <a:pt x="3706695" y="864949"/>
                    <a:pt x="3722331" y="849313"/>
                    <a:pt x="3741620" y="849313"/>
                  </a:cubicBezTo>
                  <a:close/>
                  <a:moveTo>
                    <a:pt x="3320140" y="849313"/>
                  </a:moveTo>
                  <a:cubicBezTo>
                    <a:pt x="3338991" y="849313"/>
                    <a:pt x="3354272" y="864949"/>
                    <a:pt x="3354272" y="884238"/>
                  </a:cubicBezTo>
                  <a:cubicBezTo>
                    <a:pt x="3354272" y="903527"/>
                    <a:pt x="3338991" y="919163"/>
                    <a:pt x="3320140" y="919163"/>
                  </a:cubicBezTo>
                  <a:cubicBezTo>
                    <a:pt x="3301289" y="919163"/>
                    <a:pt x="3286008" y="903527"/>
                    <a:pt x="3286008" y="884238"/>
                  </a:cubicBezTo>
                  <a:cubicBezTo>
                    <a:pt x="3286008" y="864949"/>
                    <a:pt x="3301289" y="849313"/>
                    <a:pt x="3320140" y="849313"/>
                  </a:cubicBezTo>
                  <a:close/>
                  <a:moveTo>
                    <a:pt x="3234415" y="849313"/>
                  </a:moveTo>
                  <a:cubicBezTo>
                    <a:pt x="3253266" y="849313"/>
                    <a:pt x="3268547" y="864949"/>
                    <a:pt x="3268547" y="884238"/>
                  </a:cubicBezTo>
                  <a:cubicBezTo>
                    <a:pt x="3268547" y="903527"/>
                    <a:pt x="3253266" y="919163"/>
                    <a:pt x="3234415" y="919163"/>
                  </a:cubicBezTo>
                  <a:cubicBezTo>
                    <a:pt x="3215564" y="919163"/>
                    <a:pt x="3200283" y="903527"/>
                    <a:pt x="3200283" y="884238"/>
                  </a:cubicBezTo>
                  <a:cubicBezTo>
                    <a:pt x="3200283" y="864949"/>
                    <a:pt x="3215564" y="849313"/>
                    <a:pt x="3234415" y="849313"/>
                  </a:cubicBezTo>
                  <a:close/>
                  <a:moveTo>
                    <a:pt x="3153452" y="849313"/>
                  </a:moveTo>
                  <a:cubicBezTo>
                    <a:pt x="3172303" y="849313"/>
                    <a:pt x="3187584" y="864949"/>
                    <a:pt x="3187584" y="884238"/>
                  </a:cubicBezTo>
                  <a:cubicBezTo>
                    <a:pt x="3187584" y="903527"/>
                    <a:pt x="3172303" y="919163"/>
                    <a:pt x="3153452" y="919163"/>
                  </a:cubicBezTo>
                  <a:cubicBezTo>
                    <a:pt x="3134601" y="919163"/>
                    <a:pt x="3119320" y="903527"/>
                    <a:pt x="3119320" y="884238"/>
                  </a:cubicBezTo>
                  <a:cubicBezTo>
                    <a:pt x="3119320" y="864949"/>
                    <a:pt x="3134601" y="849313"/>
                    <a:pt x="3153452" y="849313"/>
                  </a:cubicBezTo>
                  <a:close/>
                  <a:moveTo>
                    <a:pt x="2646273" y="849313"/>
                  </a:moveTo>
                  <a:cubicBezTo>
                    <a:pt x="2665562" y="849313"/>
                    <a:pt x="2681197" y="864949"/>
                    <a:pt x="2681197" y="884238"/>
                  </a:cubicBezTo>
                  <a:cubicBezTo>
                    <a:pt x="2681197" y="903527"/>
                    <a:pt x="2665562" y="919163"/>
                    <a:pt x="2646273" y="919163"/>
                  </a:cubicBezTo>
                  <a:cubicBezTo>
                    <a:pt x="2626984" y="919163"/>
                    <a:pt x="2611348" y="903527"/>
                    <a:pt x="2611348" y="884238"/>
                  </a:cubicBezTo>
                  <a:cubicBezTo>
                    <a:pt x="2611348" y="864949"/>
                    <a:pt x="2626984" y="849313"/>
                    <a:pt x="2646273" y="849313"/>
                  </a:cubicBezTo>
                  <a:close/>
                  <a:moveTo>
                    <a:pt x="2561352" y="849313"/>
                  </a:moveTo>
                  <a:cubicBezTo>
                    <a:pt x="2580204" y="849313"/>
                    <a:pt x="2595485" y="864949"/>
                    <a:pt x="2595485" y="884238"/>
                  </a:cubicBezTo>
                  <a:cubicBezTo>
                    <a:pt x="2595485" y="903527"/>
                    <a:pt x="2580204" y="919163"/>
                    <a:pt x="2561352" y="919163"/>
                  </a:cubicBezTo>
                  <a:cubicBezTo>
                    <a:pt x="2542501" y="919163"/>
                    <a:pt x="2527220" y="903527"/>
                    <a:pt x="2527220" y="884238"/>
                  </a:cubicBezTo>
                  <a:cubicBezTo>
                    <a:pt x="2527220" y="864949"/>
                    <a:pt x="2542501" y="849313"/>
                    <a:pt x="2561352" y="849313"/>
                  </a:cubicBezTo>
                  <a:close/>
                  <a:moveTo>
                    <a:pt x="2394666" y="849313"/>
                  </a:moveTo>
                  <a:cubicBezTo>
                    <a:pt x="2413515" y="849313"/>
                    <a:pt x="2428797" y="864949"/>
                    <a:pt x="2428797" y="884238"/>
                  </a:cubicBezTo>
                  <a:cubicBezTo>
                    <a:pt x="2428797" y="903527"/>
                    <a:pt x="2413515" y="919163"/>
                    <a:pt x="2394666" y="919163"/>
                  </a:cubicBezTo>
                  <a:cubicBezTo>
                    <a:pt x="2375813" y="919163"/>
                    <a:pt x="2360533" y="903527"/>
                    <a:pt x="2360533" y="884238"/>
                  </a:cubicBezTo>
                  <a:cubicBezTo>
                    <a:pt x="2360533" y="864949"/>
                    <a:pt x="2375813" y="849313"/>
                    <a:pt x="2394666" y="849313"/>
                  </a:cubicBezTo>
                  <a:close/>
                  <a:moveTo>
                    <a:pt x="2309735" y="849313"/>
                  </a:moveTo>
                  <a:cubicBezTo>
                    <a:pt x="2329020" y="849313"/>
                    <a:pt x="2344660" y="864949"/>
                    <a:pt x="2344660" y="884238"/>
                  </a:cubicBezTo>
                  <a:cubicBezTo>
                    <a:pt x="2344660" y="903527"/>
                    <a:pt x="2329020" y="919163"/>
                    <a:pt x="2309735" y="919163"/>
                  </a:cubicBezTo>
                  <a:cubicBezTo>
                    <a:pt x="2290444" y="919163"/>
                    <a:pt x="2274810" y="903527"/>
                    <a:pt x="2274810" y="884238"/>
                  </a:cubicBezTo>
                  <a:cubicBezTo>
                    <a:pt x="2274810" y="864949"/>
                    <a:pt x="2290444" y="849313"/>
                    <a:pt x="2309735" y="849313"/>
                  </a:cubicBezTo>
                  <a:close/>
                  <a:moveTo>
                    <a:pt x="2224804" y="849313"/>
                  </a:moveTo>
                  <a:cubicBezTo>
                    <a:pt x="2243654" y="849313"/>
                    <a:pt x="2258936" y="864949"/>
                    <a:pt x="2258936" y="884238"/>
                  </a:cubicBezTo>
                  <a:cubicBezTo>
                    <a:pt x="2258936" y="903527"/>
                    <a:pt x="2243654" y="919163"/>
                    <a:pt x="2224804" y="919163"/>
                  </a:cubicBezTo>
                  <a:cubicBezTo>
                    <a:pt x="2205952" y="919163"/>
                    <a:pt x="2190671" y="903527"/>
                    <a:pt x="2190671" y="884238"/>
                  </a:cubicBezTo>
                  <a:cubicBezTo>
                    <a:pt x="2190671" y="864949"/>
                    <a:pt x="2205952" y="849313"/>
                    <a:pt x="2224804" y="849313"/>
                  </a:cubicBezTo>
                  <a:close/>
                  <a:moveTo>
                    <a:pt x="2055721" y="849313"/>
                  </a:moveTo>
                  <a:cubicBezTo>
                    <a:pt x="2075887" y="849313"/>
                    <a:pt x="2092234" y="864949"/>
                    <a:pt x="2092234" y="884238"/>
                  </a:cubicBezTo>
                  <a:cubicBezTo>
                    <a:pt x="2092234" y="903527"/>
                    <a:pt x="2075887" y="919163"/>
                    <a:pt x="2055721" y="919163"/>
                  </a:cubicBezTo>
                  <a:cubicBezTo>
                    <a:pt x="2035555" y="919163"/>
                    <a:pt x="2019209" y="903527"/>
                    <a:pt x="2019209" y="884238"/>
                  </a:cubicBezTo>
                  <a:cubicBezTo>
                    <a:pt x="2019209" y="864949"/>
                    <a:pt x="2035555" y="849313"/>
                    <a:pt x="2055721" y="849313"/>
                  </a:cubicBezTo>
                  <a:close/>
                  <a:moveTo>
                    <a:pt x="1973171" y="849313"/>
                  </a:moveTo>
                  <a:cubicBezTo>
                    <a:pt x="1992459" y="849313"/>
                    <a:pt x="2008096" y="864949"/>
                    <a:pt x="2008096" y="884238"/>
                  </a:cubicBezTo>
                  <a:cubicBezTo>
                    <a:pt x="2008096" y="903527"/>
                    <a:pt x="1992459" y="919163"/>
                    <a:pt x="1973171" y="919163"/>
                  </a:cubicBezTo>
                  <a:cubicBezTo>
                    <a:pt x="1953883" y="919163"/>
                    <a:pt x="1938246" y="903527"/>
                    <a:pt x="1938246" y="884238"/>
                  </a:cubicBezTo>
                  <a:cubicBezTo>
                    <a:pt x="1938246" y="864949"/>
                    <a:pt x="1953883" y="849313"/>
                    <a:pt x="1973171" y="849313"/>
                  </a:cubicBezTo>
                  <a:close/>
                  <a:moveTo>
                    <a:pt x="1802514" y="849313"/>
                  </a:moveTo>
                  <a:cubicBezTo>
                    <a:pt x="1821365" y="849313"/>
                    <a:pt x="1836646" y="864949"/>
                    <a:pt x="1836646" y="884238"/>
                  </a:cubicBezTo>
                  <a:cubicBezTo>
                    <a:pt x="1836646" y="903527"/>
                    <a:pt x="1821365" y="919163"/>
                    <a:pt x="1802514" y="919163"/>
                  </a:cubicBezTo>
                  <a:cubicBezTo>
                    <a:pt x="1783663" y="919163"/>
                    <a:pt x="1768382" y="903527"/>
                    <a:pt x="1768382" y="884238"/>
                  </a:cubicBezTo>
                  <a:cubicBezTo>
                    <a:pt x="1768382" y="864949"/>
                    <a:pt x="1783663" y="849313"/>
                    <a:pt x="1802514" y="849313"/>
                  </a:cubicBezTo>
                  <a:close/>
                  <a:moveTo>
                    <a:pt x="1719170" y="849313"/>
                  </a:moveTo>
                  <a:cubicBezTo>
                    <a:pt x="1739336" y="849313"/>
                    <a:pt x="1755684" y="864949"/>
                    <a:pt x="1755684" y="884238"/>
                  </a:cubicBezTo>
                  <a:cubicBezTo>
                    <a:pt x="1755684" y="903527"/>
                    <a:pt x="1739336" y="919163"/>
                    <a:pt x="1719170" y="919163"/>
                  </a:cubicBezTo>
                  <a:cubicBezTo>
                    <a:pt x="1699005" y="919163"/>
                    <a:pt x="1682658" y="903527"/>
                    <a:pt x="1682658" y="884238"/>
                  </a:cubicBezTo>
                  <a:cubicBezTo>
                    <a:pt x="1682658" y="864949"/>
                    <a:pt x="1699005" y="849313"/>
                    <a:pt x="1719170" y="849313"/>
                  </a:cubicBezTo>
                  <a:close/>
                  <a:moveTo>
                    <a:pt x="1636620" y="849313"/>
                  </a:moveTo>
                  <a:cubicBezTo>
                    <a:pt x="1655908" y="849313"/>
                    <a:pt x="1671545" y="864949"/>
                    <a:pt x="1671545" y="884238"/>
                  </a:cubicBezTo>
                  <a:cubicBezTo>
                    <a:pt x="1671545" y="903527"/>
                    <a:pt x="1655908" y="919163"/>
                    <a:pt x="1636620" y="919163"/>
                  </a:cubicBezTo>
                  <a:cubicBezTo>
                    <a:pt x="1617331" y="919163"/>
                    <a:pt x="1601695" y="903527"/>
                    <a:pt x="1601695" y="884238"/>
                  </a:cubicBezTo>
                  <a:cubicBezTo>
                    <a:pt x="1601695" y="864949"/>
                    <a:pt x="1617331" y="849313"/>
                    <a:pt x="1636620" y="849313"/>
                  </a:cubicBezTo>
                  <a:close/>
                  <a:moveTo>
                    <a:pt x="1551690" y="849313"/>
                  </a:moveTo>
                  <a:cubicBezTo>
                    <a:pt x="1570541" y="849313"/>
                    <a:pt x="1585821" y="864949"/>
                    <a:pt x="1585821" y="884238"/>
                  </a:cubicBezTo>
                  <a:cubicBezTo>
                    <a:pt x="1585821" y="903527"/>
                    <a:pt x="1570541" y="919163"/>
                    <a:pt x="1551690" y="919163"/>
                  </a:cubicBezTo>
                  <a:cubicBezTo>
                    <a:pt x="1532838" y="919163"/>
                    <a:pt x="1517557" y="903527"/>
                    <a:pt x="1517557" y="884238"/>
                  </a:cubicBezTo>
                  <a:cubicBezTo>
                    <a:pt x="1517557" y="864949"/>
                    <a:pt x="1532838" y="849313"/>
                    <a:pt x="1551690" y="849313"/>
                  </a:cubicBezTo>
                  <a:close/>
                  <a:moveTo>
                    <a:pt x="1465955" y="849313"/>
                  </a:moveTo>
                  <a:cubicBezTo>
                    <a:pt x="1484806" y="849313"/>
                    <a:pt x="1500086" y="864949"/>
                    <a:pt x="1500086" y="884238"/>
                  </a:cubicBezTo>
                  <a:cubicBezTo>
                    <a:pt x="1500086" y="903527"/>
                    <a:pt x="1484806" y="919163"/>
                    <a:pt x="1465955" y="919163"/>
                  </a:cubicBezTo>
                  <a:cubicBezTo>
                    <a:pt x="1447103" y="919163"/>
                    <a:pt x="1431822" y="903527"/>
                    <a:pt x="1431822" y="884238"/>
                  </a:cubicBezTo>
                  <a:cubicBezTo>
                    <a:pt x="1431822" y="864949"/>
                    <a:pt x="1447103" y="849313"/>
                    <a:pt x="1465955" y="849313"/>
                  </a:cubicBezTo>
                  <a:close/>
                  <a:moveTo>
                    <a:pt x="1380229" y="849313"/>
                  </a:moveTo>
                  <a:cubicBezTo>
                    <a:pt x="1399080" y="849313"/>
                    <a:pt x="1414361" y="864949"/>
                    <a:pt x="1414361" y="884238"/>
                  </a:cubicBezTo>
                  <a:cubicBezTo>
                    <a:pt x="1414361" y="903527"/>
                    <a:pt x="1399080" y="919163"/>
                    <a:pt x="1380229" y="919163"/>
                  </a:cubicBezTo>
                  <a:cubicBezTo>
                    <a:pt x="1361378" y="919163"/>
                    <a:pt x="1346096" y="903527"/>
                    <a:pt x="1346096" y="884238"/>
                  </a:cubicBezTo>
                  <a:cubicBezTo>
                    <a:pt x="1346096" y="864949"/>
                    <a:pt x="1361378" y="849313"/>
                    <a:pt x="1380229" y="849313"/>
                  </a:cubicBezTo>
                  <a:close/>
                  <a:moveTo>
                    <a:pt x="1300050" y="849313"/>
                  </a:moveTo>
                  <a:cubicBezTo>
                    <a:pt x="1319339" y="849313"/>
                    <a:pt x="1334975" y="864949"/>
                    <a:pt x="1334975" y="884238"/>
                  </a:cubicBezTo>
                  <a:cubicBezTo>
                    <a:pt x="1334975" y="903527"/>
                    <a:pt x="1319339" y="919163"/>
                    <a:pt x="1300050" y="919163"/>
                  </a:cubicBezTo>
                  <a:cubicBezTo>
                    <a:pt x="1280760" y="919163"/>
                    <a:pt x="1265125" y="903527"/>
                    <a:pt x="1265125" y="884238"/>
                  </a:cubicBezTo>
                  <a:cubicBezTo>
                    <a:pt x="1265125" y="864949"/>
                    <a:pt x="1280760" y="849313"/>
                    <a:pt x="1300050" y="849313"/>
                  </a:cubicBezTo>
                  <a:close/>
                  <a:moveTo>
                    <a:pt x="1214500" y="849313"/>
                  </a:moveTo>
                  <a:cubicBezTo>
                    <a:pt x="1233787" y="849313"/>
                    <a:pt x="1249422" y="864949"/>
                    <a:pt x="1249422" y="884238"/>
                  </a:cubicBezTo>
                  <a:cubicBezTo>
                    <a:pt x="1249422" y="903527"/>
                    <a:pt x="1233787" y="919163"/>
                    <a:pt x="1214500" y="919163"/>
                  </a:cubicBezTo>
                  <a:cubicBezTo>
                    <a:pt x="1195210" y="919163"/>
                    <a:pt x="1179573" y="903527"/>
                    <a:pt x="1179573" y="884238"/>
                  </a:cubicBezTo>
                  <a:cubicBezTo>
                    <a:pt x="1179573" y="864949"/>
                    <a:pt x="1195210" y="849313"/>
                    <a:pt x="1214500" y="849313"/>
                  </a:cubicBezTo>
                  <a:close/>
                  <a:moveTo>
                    <a:pt x="1129569" y="849313"/>
                  </a:moveTo>
                  <a:cubicBezTo>
                    <a:pt x="1148422" y="849313"/>
                    <a:pt x="1163703" y="864949"/>
                    <a:pt x="1163703" y="884238"/>
                  </a:cubicBezTo>
                  <a:cubicBezTo>
                    <a:pt x="1163703" y="903527"/>
                    <a:pt x="1148422" y="919163"/>
                    <a:pt x="1129569" y="919163"/>
                  </a:cubicBezTo>
                  <a:cubicBezTo>
                    <a:pt x="1110723" y="919163"/>
                    <a:pt x="1095440" y="903527"/>
                    <a:pt x="1095440" y="884238"/>
                  </a:cubicBezTo>
                  <a:cubicBezTo>
                    <a:pt x="1095440" y="864949"/>
                    <a:pt x="1110723" y="849313"/>
                    <a:pt x="1129569" y="849313"/>
                  </a:cubicBezTo>
                  <a:close/>
                  <a:moveTo>
                    <a:pt x="960493" y="849313"/>
                  </a:moveTo>
                  <a:cubicBezTo>
                    <a:pt x="980661" y="849313"/>
                    <a:pt x="997009" y="864949"/>
                    <a:pt x="997009" y="884238"/>
                  </a:cubicBezTo>
                  <a:cubicBezTo>
                    <a:pt x="997009" y="903527"/>
                    <a:pt x="980661" y="919163"/>
                    <a:pt x="960493" y="919163"/>
                  </a:cubicBezTo>
                  <a:cubicBezTo>
                    <a:pt x="940325" y="919163"/>
                    <a:pt x="923978" y="903527"/>
                    <a:pt x="923978" y="884238"/>
                  </a:cubicBezTo>
                  <a:cubicBezTo>
                    <a:pt x="923978" y="864949"/>
                    <a:pt x="940325" y="849313"/>
                    <a:pt x="960493" y="849313"/>
                  </a:cubicBezTo>
                  <a:close/>
                  <a:moveTo>
                    <a:pt x="877939" y="849313"/>
                  </a:moveTo>
                  <a:cubicBezTo>
                    <a:pt x="897228" y="849313"/>
                    <a:pt x="912864" y="864949"/>
                    <a:pt x="912864" y="884238"/>
                  </a:cubicBezTo>
                  <a:cubicBezTo>
                    <a:pt x="912864" y="903527"/>
                    <a:pt x="897228" y="919163"/>
                    <a:pt x="877939" y="919163"/>
                  </a:cubicBezTo>
                  <a:cubicBezTo>
                    <a:pt x="858647" y="919163"/>
                    <a:pt x="843014" y="903527"/>
                    <a:pt x="843014" y="884238"/>
                  </a:cubicBezTo>
                  <a:cubicBezTo>
                    <a:pt x="843014" y="864949"/>
                    <a:pt x="858647" y="849313"/>
                    <a:pt x="877939" y="849313"/>
                  </a:cubicBezTo>
                  <a:close/>
                  <a:moveTo>
                    <a:pt x="793002" y="849313"/>
                  </a:moveTo>
                  <a:cubicBezTo>
                    <a:pt x="811858" y="849313"/>
                    <a:pt x="827137" y="864949"/>
                    <a:pt x="827137" y="884238"/>
                  </a:cubicBezTo>
                  <a:cubicBezTo>
                    <a:pt x="827137" y="903527"/>
                    <a:pt x="811858" y="919163"/>
                    <a:pt x="793002" y="919163"/>
                  </a:cubicBezTo>
                  <a:cubicBezTo>
                    <a:pt x="774151" y="919163"/>
                    <a:pt x="758871" y="903527"/>
                    <a:pt x="758871" y="884238"/>
                  </a:cubicBezTo>
                  <a:cubicBezTo>
                    <a:pt x="758871" y="864949"/>
                    <a:pt x="774151" y="849313"/>
                    <a:pt x="793002" y="849313"/>
                  </a:cubicBezTo>
                  <a:close/>
                  <a:moveTo>
                    <a:pt x="707275" y="849313"/>
                  </a:moveTo>
                  <a:cubicBezTo>
                    <a:pt x="726127" y="849313"/>
                    <a:pt x="741409" y="864949"/>
                    <a:pt x="741409" y="884238"/>
                  </a:cubicBezTo>
                  <a:cubicBezTo>
                    <a:pt x="741409" y="903527"/>
                    <a:pt x="726127" y="919163"/>
                    <a:pt x="707275" y="919163"/>
                  </a:cubicBezTo>
                  <a:cubicBezTo>
                    <a:pt x="688422" y="919163"/>
                    <a:pt x="673133" y="903527"/>
                    <a:pt x="673133" y="884238"/>
                  </a:cubicBezTo>
                  <a:cubicBezTo>
                    <a:pt x="673133" y="864949"/>
                    <a:pt x="688422" y="849313"/>
                    <a:pt x="707275" y="849313"/>
                  </a:cubicBezTo>
                  <a:close/>
                  <a:moveTo>
                    <a:pt x="621537" y="849313"/>
                  </a:moveTo>
                  <a:cubicBezTo>
                    <a:pt x="640389" y="849313"/>
                    <a:pt x="655670" y="864949"/>
                    <a:pt x="655670" y="884238"/>
                  </a:cubicBezTo>
                  <a:cubicBezTo>
                    <a:pt x="655670" y="903527"/>
                    <a:pt x="640389" y="919163"/>
                    <a:pt x="621537" y="919163"/>
                  </a:cubicBezTo>
                  <a:cubicBezTo>
                    <a:pt x="602687" y="919163"/>
                    <a:pt x="587405" y="903527"/>
                    <a:pt x="587405" y="884238"/>
                  </a:cubicBezTo>
                  <a:cubicBezTo>
                    <a:pt x="587405" y="864949"/>
                    <a:pt x="602687" y="849313"/>
                    <a:pt x="621537" y="849313"/>
                  </a:cubicBezTo>
                  <a:close/>
                  <a:moveTo>
                    <a:pt x="9138327" y="763588"/>
                  </a:moveTo>
                  <a:cubicBezTo>
                    <a:pt x="9157178" y="763588"/>
                    <a:pt x="9172459" y="778869"/>
                    <a:pt x="9172459" y="797720"/>
                  </a:cubicBezTo>
                  <a:cubicBezTo>
                    <a:pt x="9172459" y="816571"/>
                    <a:pt x="9157178" y="831852"/>
                    <a:pt x="9138327" y="831852"/>
                  </a:cubicBezTo>
                  <a:cubicBezTo>
                    <a:pt x="9119476" y="831852"/>
                    <a:pt x="9104195" y="816571"/>
                    <a:pt x="9104195" y="797720"/>
                  </a:cubicBezTo>
                  <a:cubicBezTo>
                    <a:pt x="9104195" y="778869"/>
                    <a:pt x="9119476" y="763588"/>
                    <a:pt x="9138327" y="763588"/>
                  </a:cubicBezTo>
                  <a:close/>
                  <a:moveTo>
                    <a:pt x="9052602" y="763588"/>
                  </a:moveTo>
                  <a:cubicBezTo>
                    <a:pt x="9071453" y="763588"/>
                    <a:pt x="9086734" y="778869"/>
                    <a:pt x="9086734" y="797720"/>
                  </a:cubicBezTo>
                  <a:cubicBezTo>
                    <a:pt x="9086734" y="816571"/>
                    <a:pt x="9071453" y="831852"/>
                    <a:pt x="9052602" y="831852"/>
                  </a:cubicBezTo>
                  <a:cubicBezTo>
                    <a:pt x="9033751" y="831852"/>
                    <a:pt x="9018470" y="816571"/>
                    <a:pt x="9018470" y="797720"/>
                  </a:cubicBezTo>
                  <a:cubicBezTo>
                    <a:pt x="9018470" y="778869"/>
                    <a:pt x="9033751" y="763588"/>
                    <a:pt x="9052602" y="763588"/>
                  </a:cubicBezTo>
                  <a:close/>
                  <a:moveTo>
                    <a:pt x="8966877" y="763588"/>
                  </a:moveTo>
                  <a:cubicBezTo>
                    <a:pt x="8985728" y="763588"/>
                    <a:pt x="9001009" y="778869"/>
                    <a:pt x="9001009" y="797720"/>
                  </a:cubicBezTo>
                  <a:cubicBezTo>
                    <a:pt x="9001009" y="816571"/>
                    <a:pt x="8985728" y="831852"/>
                    <a:pt x="8966877" y="831852"/>
                  </a:cubicBezTo>
                  <a:cubicBezTo>
                    <a:pt x="8948026" y="831852"/>
                    <a:pt x="8932745" y="816571"/>
                    <a:pt x="8932745" y="797720"/>
                  </a:cubicBezTo>
                  <a:cubicBezTo>
                    <a:pt x="8932745" y="778869"/>
                    <a:pt x="8948026" y="763588"/>
                    <a:pt x="8966877" y="763588"/>
                  </a:cubicBezTo>
                  <a:close/>
                  <a:moveTo>
                    <a:pt x="8884327" y="763588"/>
                  </a:moveTo>
                  <a:cubicBezTo>
                    <a:pt x="8904931" y="763588"/>
                    <a:pt x="8921634" y="778869"/>
                    <a:pt x="8921634" y="797720"/>
                  </a:cubicBezTo>
                  <a:cubicBezTo>
                    <a:pt x="8921634" y="816571"/>
                    <a:pt x="8904931" y="831852"/>
                    <a:pt x="8884327" y="831852"/>
                  </a:cubicBezTo>
                  <a:cubicBezTo>
                    <a:pt x="8863723" y="831852"/>
                    <a:pt x="8847020" y="816571"/>
                    <a:pt x="8847020" y="797720"/>
                  </a:cubicBezTo>
                  <a:cubicBezTo>
                    <a:pt x="8847020" y="778869"/>
                    <a:pt x="8863723" y="763588"/>
                    <a:pt x="8884327" y="763588"/>
                  </a:cubicBezTo>
                  <a:close/>
                  <a:moveTo>
                    <a:pt x="8801777" y="763588"/>
                  </a:moveTo>
                  <a:cubicBezTo>
                    <a:pt x="8820628" y="763588"/>
                    <a:pt x="8835909" y="778869"/>
                    <a:pt x="8835909" y="797720"/>
                  </a:cubicBezTo>
                  <a:cubicBezTo>
                    <a:pt x="8835909" y="816571"/>
                    <a:pt x="8820628" y="831852"/>
                    <a:pt x="8801777" y="831852"/>
                  </a:cubicBezTo>
                  <a:cubicBezTo>
                    <a:pt x="8782926" y="831852"/>
                    <a:pt x="8767645" y="816571"/>
                    <a:pt x="8767645" y="797720"/>
                  </a:cubicBezTo>
                  <a:cubicBezTo>
                    <a:pt x="8767645" y="778869"/>
                    <a:pt x="8782926" y="763588"/>
                    <a:pt x="8801777" y="763588"/>
                  </a:cubicBezTo>
                  <a:close/>
                  <a:moveTo>
                    <a:pt x="8716052" y="763588"/>
                  </a:moveTo>
                  <a:cubicBezTo>
                    <a:pt x="8734903" y="763588"/>
                    <a:pt x="8750184" y="778869"/>
                    <a:pt x="8750184" y="797720"/>
                  </a:cubicBezTo>
                  <a:cubicBezTo>
                    <a:pt x="8750184" y="816571"/>
                    <a:pt x="8734903" y="831852"/>
                    <a:pt x="8716052" y="831852"/>
                  </a:cubicBezTo>
                  <a:cubicBezTo>
                    <a:pt x="8697201" y="831852"/>
                    <a:pt x="8681920" y="816571"/>
                    <a:pt x="8681920" y="797720"/>
                  </a:cubicBezTo>
                  <a:cubicBezTo>
                    <a:pt x="8681920" y="778869"/>
                    <a:pt x="8697201" y="763588"/>
                    <a:pt x="8716052" y="763588"/>
                  </a:cubicBezTo>
                  <a:close/>
                  <a:moveTo>
                    <a:pt x="8630327" y="763588"/>
                  </a:moveTo>
                  <a:cubicBezTo>
                    <a:pt x="8649178" y="763588"/>
                    <a:pt x="8664459" y="778869"/>
                    <a:pt x="8664459" y="797720"/>
                  </a:cubicBezTo>
                  <a:cubicBezTo>
                    <a:pt x="8664459" y="816571"/>
                    <a:pt x="8649178" y="831852"/>
                    <a:pt x="8630327" y="831852"/>
                  </a:cubicBezTo>
                  <a:cubicBezTo>
                    <a:pt x="8611476" y="831852"/>
                    <a:pt x="8596195" y="816571"/>
                    <a:pt x="8596195" y="797720"/>
                  </a:cubicBezTo>
                  <a:cubicBezTo>
                    <a:pt x="8596195" y="778869"/>
                    <a:pt x="8611476" y="763588"/>
                    <a:pt x="8630327" y="763588"/>
                  </a:cubicBezTo>
                  <a:close/>
                  <a:moveTo>
                    <a:pt x="8544602" y="763588"/>
                  </a:moveTo>
                  <a:cubicBezTo>
                    <a:pt x="8563453" y="763588"/>
                    <a:pt x="8578734" y="778869"/>
                    <a:pt x="8578734" y="797720"/>
                  </a:cubicBezTo>
                  <a:cubicBezTo>
                    <a:pt x="8578734" y="816571"/>
                    <a:pt x="8563453" y="831852"/>
                    <a:pt x="8544602" y="831852"/>
                  </a:cubicBezTo>
                  <a:cubicBezTo>
                    <a:pt x="8525751" y="831852"/>
                    <a:pt x="8510470" y="816571"/>
                    <a:pt x="8510470" y="797720"/>
                  </a:cubicBezTo>
                  <a:cubicBezTo>
                    <a:pt x="8510470" y="778869"/>
                    <a:pt x="8525751" y="763588"/>
                    <a:pt x="8544602" y="763588"/>
                  </a:cubicBezTo>
                  <a:close/>
                  <a:moveTo>
                    <a:pt x="8465227" y="763588"/>
                  </a:moveTo>
                  <a:cubicBezTo>
                    <a:pt x="8484078" y="763588"/>
                    <a:pt x="8499359" y="778869"/>
                    <a:pt x="8499359" y="797720"/>
                  </a:cubicBezTo>
                  <a:cubicBezTo>
                    <a:pt x="8499359" y="816571"/>
                    <a:pt x="8484078" y="831852"/>
                    <a:pt x="8465227" y="831852"/>
                  </a:cubicBezTo>
                  <a:cubicBezTo>
                    <a:pt x="8446376" y="831852"/>
                    <a:pt x="8431095" y="816571"/>
                    <a:pt x="8431095" y="797720"/>
                  </a:cubicBezTo>
                  <a:cubicBezTo>
                    <a:pt x="8431095" y="778869"/>
                    <a:pt x="8446376" y="763588"/>
                    <a:pt x="8465227" y="763588"/>
                  </a:cubicBezTo>
                  <a:close/>
                  <a:moveTo>
                    <a:pt x="8379502" y="763588"/>
                  </a:moveTo>
                  <a:cubicBezTo>
                    <a:pt x="8398353" y="763588"/>
                    <a:pt x="8413634" y="778869"/>
                    <a:pt x="8413634" y="797720"/>
                  </a:cubicBezTo>
                  <a:cubicBezTo>
                    <a:pt x="8413634" y="816571"/>
                    <a:pt x="8398353" y="831852"/>
                    <a:pt x="8379502" y="831852"/>
                  </a:cubicBezTo>
                  <a:cubicBezTo>
                    <a:pt x="8360651" y="831852"/>
                    <a:pt x="8345370" y="816571"/>
                    <a:pt x="8345370" y="797720"/>
                  </a:cubicBezTo>
                  <a:cubicBezTo>
                    <a:pt x="8345370" y="778869"/>
                    <a:pt x="8360651" y="763588"/>
                    <a:pt x="8379502" y="763588"/>
                  </a:cubicBezTo>
                  <a:close/>
                  <a:moveTo>
                    <a:pt x="8293777" y="763588"/>
                  </a:moveTo>
                  <a:cubicBezTo>
                    <a:pt x="8312628" y="763588"/>
                    <a:pt x="8327909" y="778869"/>
                    <a:pt x="8327909" y="797720"/>
                  </a:cubicBezTo>
                  <a:cubicBezTo>
                    <a:pt x="8327909" y="816571"/>
                    <a:pt x="8312628" y="831852"/>
                    <a:pt x="8293777" y="831852"/>
                  </a:cubicBezTo>
                  <a:cubicBezTo>
                    <a:pt x="8274926" y="831852"/>
                    <a:pt x="8259645" y="816571"/>
                    <a:pt x="8259645" y="797720"/>
                  </a:cubicBezTo>
                  <a:cubicBezTo>
                    <a:pt x="8259645" y="778869"/>
                    <a:pt x="8274926" y="763588"/>
                    <a:pt x="8293777" y="763588"/>
                  </a:cubicBezTo>
                  <a:close/>
                  <a:moveTo>
                    <a:pt x="8208052" y="763588"/>
                  </a:moveTo>
                  <a:cubicBezTo>
                    <a:pt x="8226903" y="763588"/>
                    <a:pt x="8242184" y="778869"/>
                    <a:pt x="8242184" y="797720"/>
                  </a:cubicBezTo>
                  <a:cubicBezTo>
                    <a:pt x="8242184" y="816571"/>
                    <a:pt x="8226903" y="831852"/>
                    <a:pt x="8208052" y="831852"/>
                  </a:cubicBezTo>
                  <a:cubicBezTo>
                    <a:pt x="8189201" y="831852"/>
                    <a:pt x="8173920" y="816571"/>
                    <a:pt x="8173920" y="797720"/>
                  </a:cubicBezTo>
                  <a:cubicBezTo>
                    <a:pt x="8173920" y="778869"/>
                    <a:pt x="8189201" y="763588"/>
                    <a:pt x="8208052" y="763588"/>
                  </a:cubicBezTo>
                  <a:close/>
                  <a:moveTo>
                    <a:pt x="8125502" y="763588"/>
                  </a:moveTo>
                  <a:cubicBezTo>
                    <a:pt x="8146106" y="763588"/>
                    <a:pt x="8162809" y="778869"/>
                    <a:pt x="8162809" y="797720"/>
                  </a:cubicBezTo>
                  <a:cubicBezTo>
                    <a:pt x="8162809" y="816571"/>
                    <a:pt x="8146106" y="831852"/>
                    <a:pt x="8125502" y="831852"/>
                  </a:cubicBezTo>
                  <a:cubicBezTo>
                    <a:pt x="8104898" y="831852"/>
                    <a:pt x="8088195" y="816571"/>
                    <a:pt x="8088195" y="797720"/>
                  </a:cubicBezTo>
                  <a:cubicBezTo>
                    <a:pt x="8088195" y="778869"/>
                    <a:pt x="8104898" y="763588"/>
                    <a:pt x="8125502" y="763588"/>
                  </a:cubicBezTo>
                  <a:close/>
                  <a:moveTo>
                    <a:pt x="8042952" y="763588"/>
                  </a:moveTo>
                  <a:cubicBezTo>
                    <a:pt x="8061803" y="763588"/>
                    <a:pt x="8077084" y="778869"/>
                    <a:pt x="8077084" y="797720"/>
                  </a:cubicBezTo>
                  <a:cubicBezTo>
                    <a:pt x="8077084" y="816571"/>
                    <a:pt x="8061803" y="831852"/>
                    <a:pt x="8042952" y="831852"/>
                  </a:cubicBezTo>
                  <a:cubicBezTo>
                    <a:pt x="8024101" y="831852"/>
                    <a:pt x="8008820" y="816571"/>
                    <a:pt x="8008820" y="797720"/>
                  </a:cubicBezTo>
                  <a:cubicBezTo>
                    <a:pt x="8008820" y="778869"/>
                    <a:pt x="8024101" y="763588"/>
                    <a:pt x="8042952" y="763588"/>
                  </a:cubicBezTo>
                  <a:close/>
                  <a:moveTo>
                    <a:pt x="7957227" y="763588"/>
                  </a:moveTo>
                  <a:cubicBezTo>
                    <a:pt x="7976078" y="763588"/>
                    <a:pt x="7991359" y="778869"/>
                    <a:pt x="7991359" y="797720"/>
                  </a:cubicBezTo>
                  <a:cubicBezTo>
                    <a:pt x="7991359" y="816571"/>
                    <a:pt x="7976078" y="831852"/>
                    <a:pt x="7957227" y="831852"/>
                  </a:cubicBezTo>
                  <a:cubicBezTo>
                    <a:pt x="7938376" y="831852"/>
                    <a:pt x="7923095" y="816571"/>
                    <a:pt x="7923095" y="797720"/>
                  </a:cubicBezTo>
                  <a:cubicBezTo>
                    <a:pt x="7923095" y="778869"/>
                    <a:pt x="7938376" y="763588"/>
                    <a:pt x="7957227" y="763588"/>
                  </a:cubicBezTo>
                  <a:close/>
                  <a:moveTo>
                    <a:pt x="7871502" y="763588"/>
                  </a:moveTo>
                  <a:cubicBezTo>
                    <a:pt x="7890353" y="763588"/>
                    <a:pt x="7905634" y="778869"/>
                    <a:pt x="7905634" y="797720"/>
                  </a:cubicBezTo>
                  <a:cubicBezTo>
                    <a:pt x="7905634" y="816571"/>
                    <a:pt x="7890353" y="831852"/>
                    <a:pt x="7871502" y="831852"/>
                  </a:cubicBezTo>
                  <a:cubicBezTo>
                    <a:pt x="7852651" y="831852"/>
                    <a:pt x="7837370" y="816571"/>
                    <a:pt x="7837370" y="797720"/>
                  </a:cubicBezTo>
                  <a:cubicBezTo>
                    <a:pt x="7837370" y="778869"/>
                    <a:pt x="7852651" y="763588"/>
                    <a:pt x="7871502" y="763588"/>
                  </a:cubicBezTo>
                  <a:close/>
                  <a:moveTo>
                    <a:pt x="7785777" y="763588"/>
                  </a:moveTo>
                  <a:cubicBezTo>
                    <a:pt x="7804628" y="763588"/>
                    <a:pt x="7819909" y="778869"/>
                    <a:pt x="7819909" y="797720"/>
                  </a:cubicBezTo>
                  <a:cubicBezTo>
                    <a:pt x="7819909" y="816571"/>
                    <a:pt x="7804628" y="831852"/>
                    <a:pt x="7785777" y="831852"/>
                  </a:cubicBezTo>
                  <a:cubicBezTo>
                    <a:pt x="7766926" y="831852"/>
                    <a:pt x="7751645" y="816571"/>
                    <a:pt x="7751645" y="797720"/>
                  </a:cubicBezTo>
                  <a:cubicBezTo>
                    <a:pt x="7751645" y="778869"/>
                    <a:pt x="7766926" y="763588"/>
                    <a:pt x="7785777" y="763588"/>
                  </a:cubicBezTo>
                  <a:close/>
                  <a:moveTo>
                    <a:pt x="7706402" y="763588"/>
                  </a:moveTo>
                  <a:cubicBezTo>
                    <a:pt x="7725253" y="763588"/>
                    <a:pt x="7740534" y="778869"/>
                    <a:pt x="7740534" y="797720"/>
                  </a:cubicBezTo>
                  <a:cubicBezTo>
                    <a:pt x="7740534" y="816571"/>
                    <a:pt x="7725253" y="831852"/>
                    <a:pt x="7706402" y="831852"/>
                  </a:cubicBezTo>
                  <a:cubicBezTo>
                    <a:pt x="7687551" y="831852"/>
                    <a:pt x="7672270" y="816571"/>
                    <a:pt x="7672270" y="797720"/>
                  </a:cubicBezTo>
                  <a:cubicBezTo>
                    <a:pt x="7672270" y="778869"/>
                    <a:pt x="7687551" y="763588"/>
                    <a:pt x="7706402" y="763588"/>
                  </a:cubicBezTo>
                  <a:close/>
                  <a:moveTo>
                    <a:pt x="7620677" y="763588"/>
                  </a:moveTo>
                  <a:cubicBezTo>
                    <a:pt x="7639528" y="763588"/>
                    <a:pt x="7654809" y="778869"/>
                    <a:pt x="7654809" y="797720"/>
                  </a:cubicBezTo>
                  <a:cubicBezTo>
                    <a:pt x="7654809" y="816571"/>
                    <a:pt x="7639528" y="831852"/>
                    <a:pt x="7620677" y="831852"/>
                  </a:cubicBezTo>
                  <a:cubicBezTo>
                    <a:pt x="7601826" y="831852"/>
                    <a:pt x="7586545" y="816571"/>
                    <a:pt x="7586545" y="797720"/>
                  </a:cubicBezTo>
                  <a:cubicBezTo>
                    <a:pt x="7586545" y="778869"/>
                    <a:pt x="7601826" y="763588"/>
                    <a:pt x="7620677" y="763588"/>
                  </a:cubicBezTo>
                  <a:close/>
                  <a:moveTo>
                    <a:pt x="7534952" y="763588"/>
                  </a:moveTo>
                  <a:cubicBezTo>
                    <a:pt x="7553803" y="763588"/>
                    <a:pt x="7569084" y="778869"/>
                    <a:pt x="7569084" y="797720"/>
                  </a:cubicBezTo>
                  <a:cubicBezTo>
                    <a:pt x="7569084" y="816571"/>
                    <a:pt x="7553803" y="831852"/>
                    <a:pt x="7534952" y="831852"/>
                  </a:cubicBezTo>
                  <a:cubicBezTo>
                    <a:pt x="7516101" y="831852"/>
                    <a:pt x="7500820" y="816571"/>
                    <a:pt x="7500820" y="797720"/>
                  </a:cubicBezTo>
                  <a:cubicBezTo>
                    <a:pt x="7500820" y="778869"/>
                    <a:pt x="7516101" y="763588"/>
                    <a:pt x="7534952" y="763588"/>
                  </a:cubicBezTo>
                  <a:close/>
                  <a:moveTo>
                    <a:pt x="7449227" y="763588"/>
                  </a:moveTo>
                  <a:cubicBezTo>
                    <a:pt x="7468078" y="763588"/>
                    <a:pt x="7483359" y="778869"/>
                    <a:pt x="7483359" y="797720"/>
                  </a:cubicBezTo>
                  <a:cubicBezTo>
                    <a:pt x="7483359" y="816571"/>
                    <a:pt x="7468078" y="831852"/>
                    <a:pt x="7449227" y="831852"/>
                  </a:cubicBezTo>
                  <a:cubicBezTo>
                    <a:pt x="7430376" y="831852"/>
                    <a:pt x="7415095" y="816571"/>
                    <a:pt x="7415095" y="797720"/>
                  </a:cubicBezTo>
                  <a:cubicBezTo>
                    <a:pt x="7415095" y="778869"/>
                    <a:pt x="7430376" y="763588"/>
                    <a:pt x="7449227" y="763588"/>
                  </a:cubicBezTo>
                  <a:close/>
                  <a:moveTo>
                    <a:pt x="7366677" y="763588"/>
                  </a:moveTo>
                  <a:cubicBezTo>
                    <a:pt x="7387281" y="763588"/>
                    <a:pt x="7403984" y="778869"/>
                    <a:pt x="7403984" y="797720"/>
                  </a:cubicBezTo>
                  <a:cubicBezTo>
                    <a:pt x="7403984" y="816571"/>
                    <a:pt x="7387281" y="831852"/>
                    <a:pt x="7366677" y="831852"/>
                  </a:cubicBezTo>
                  <a:cubicBezTo>
                    <a:pt x="7346073" y="831852"/>
                    <a:pt x="7329370" y="816571"/>
                    <a:pt x="7329370" y="797720"/>
                  </a:cubicBezTo>
                  <a:cubicBezTo>
                    <a:pt x="7329370" y="778869"/>
                    <a:pt x="7346073" y="763588"/>
                    <a:pt x="7366677" y="763588"/>
                  </a:cubicBezTo>
                  <a:close/>
                  <a:moveTo>
                    <a:pt x="7284127" y="763588"/>
                  </a:moveTo>
                  <a:cubicBezTo>
                    <a:pt x="7302978" y="763588"/>
                    <a:pt x="7318259" y="778869"/>
                    <a:pt x="7318259" y="797720"/>
                  </a:cubicBezTo>
                  <a:cubicBezTo>
                    <a:pt x="7318259" y="816571"/>
                    <a:pt x="7302978" y="831852"/>
                    <a:pt x="7284127" y="831852"/>
                  </a:cubicBezTo>
                  <a:cubicBezTo>
                    <a:pt x="7265276" y="831852"/>
                    <a:pt x="7249995" y="816571"/>
                    <a:pt x="7249995" y="797720"/>
                  </a:cubicBezTo>
                  <a:cubicBezTo>
                    <a:pt x="7249995" y="778869"/>
                    <a:pt x="7265276" y="763588"/>
                    <a:pt x="7284127" y="763588"/>
                  </a:cubicBezTo>
                  <a:close/>
                  <a:moveTo>
                    <a:pt x="7198402" y="763588"/>
                  </a:moveTo>
                  <a:cubicBezTo>
                    <a:pt x="7217253" y="763588"/>
                    <a:pt x="7232534" y="778869"/>
                    <a:pt x="7232534" y="797720"/>
                  </a:cubicBezTo>
                  <a:cubicBezTo>
                    <a:pt x="7232534" y="816571"/>
                    <a:pt x="7217253" y="831852"/>
                    <a:pt x="7198402" y="831852"/>
                  </a:cubicBezTo>
                  <a:cubicBezTo>
                    <a:pt x="7179551" y="831852"/>
                    <a:pt x="7164270" y="816571"/>
                    <a:pt x="7164270" y="797720"/>
                  </a:cubicBezTo>
                  <a:cubicBezTo>
                    <a:pt x="7164270" y="778869"/>
                    <a:pt x="7179551" y="763588"/>
                    <a:pt x="7198402" y="763588"/>
                  </a:cubicBezTo>
                  <a:close/>
                  <a:moveTo>
                    <a:pt x="7112677" y="763588"/>
                  </a:moveTo>
                  <a:cubicBezTo>
                    <a:pt x="7131528" y="763588"/>
                    <a:pt x="7146809" y="778869"/>
                    <a:pt x="7146809" y="797720"/>
                  </a:cubicBezTo>
                  <a:cubicBezTo>
                    <a:pt x="7146809" y="816571"/>
                    <a:pt x="7131528" y="831852"/>
                    <a:pt x="7112677" y="831852"/>
                  </a:cubicBezTo>
                  <a:cubicBezTo>
                    <a:pt x="7093826" y="831852"/>
                    <a:pt x="7078545" y="816571"/>
                    <a:pt x="7078545" y="797720"/>
                  </a:cubicBezTo>
                  <a:cubicBezTo>
                    <a:pt x="7078545" y="778869"/>
                    <a:pt x="7093826" y="763588"/>
                    <a:pt x="7112677" y="763588"/>
                  </a:cubicBezTo>
                  <a:close/>
                  <a:moveTo>
                    <a:pt x="7027745" y="763588"/>
                  </a:moveTo>
                  <a:cubicBezTo>
                    <a:pt x="7047034" y="763588"/>
                    <a:pt x="7062670" y="778869"/>
                    <a:pt x="7062670" y="797720"/>
                  </a:cubicBezTo>
                  <a:cubicBezTo>
                    <a:pt x="7062670" y="816571"/>
                    <a:pt x="7047034" y="831852"/>
                    <a:pt x="7027745" y="831852"/>
                  </a:cubicBezTo>
                  <a:cubicBezTo>
                    <a:pt x="7008456" y="831852"/>
                    <a:pt x="6992820" y="816571"/>
                    <a:pt x="6992820" y="797720"/>
                  </a:cubicBezTo>
                  <a:cubicBezTo>
                    <a:pt x="6992820" y="778869"/>
                    <a:pt x="7008456" y="763588"/>
                    <a:pt x="7027745" y="763588"/>
                  </a:cubicBezTo>
                  <a:close/>
                  <a:moveTo>
                    <a:pt x="6861852" y="763588"/>
                  </a:moveTo>
                  <a:cubicBezTo>
                    <a:pt x="6880703" y="763588"/>
                    <a:pt x="6895984" y="778869"/>
                    <a:pt x="6895984" y="797720"/>
                  </a:cubicBezTo>
                  <a:cubicBezTo>
                    <a:pt x="6895984" y="816571"/>
                    <a:pt x="6880703" y="831852"/>
                    <a:pt x="6861852" y="831852"/>
                  </a:cubicBezTo>
                  <a:cubicBezTo>
                    <a:pt x="6843001" y="831852"/>
                    <a:pt x="6827720" y="816571"/>
                    <a:pt x="6827720" y="797720"/>
                  </a:cubicBezTo>
                  <a:cubicBezTo>
                    <a:pt x="6827720" y="778869"/>
                    <a:pt x="6843001" y="763588"/>
                    <a:pt x="6861852" y="763588"/>
                  </a:cubicBezTo>
                  <a:close/>
                  <a:moveTo>
                    <a:pt x="6776127" y="763588"/>
                  </a:moveTo>
                  <a:cubicBezTo>
                    <a:pt x="6794978" y="763588"/>
                    <a:pt x="6810259" y="778869"/>
                    <a:pt x="6810259" y="797720"/>
                  </a:cubicBezTo>
                  <a:cubicBezTo>
                    <a:pt x="6810259" y="816571"/>
                    <a:pt x="6794978" y="831852"/>
                    <a:pt x="6776127" y="831852"/>
                  </a:cubicBezTo>
                  <a:cubicBezTo>
                    <a:pt x="6757276" y="831852"/>
                    <a:pt x="6741995" y="816571"/>
                    <a:pt x="6741995" y="797720"/>
                  </a:cubicBezTo>
                  <a:cubicBezTo>
                    <a:pt x="6741995" y="778869"/>
                    <a:pt x="6757276" y="763588"/>
                    <a:pt x="6776127" y="763588"/>
                  </a:cubicBezTo>
                  <a:close/>
                  <a:moveTo>
                    <a:pt x="6607852" y="763588"/>
                  </a:moveTo>
                  <a:cubicBezTo>
                    <a:pt x="6628456" y="763588"/>
                    <a:pt x="6645159" y="778869"/>
                    <a:pt x="6645159" y="797720"/>
                  </a:cubicBezTo>
                  <a:cubicBezTo>
                    <a:pt x="6645159" y="816571"/>
                    <a:pt x="6628456" y="831852"/>
                    <a:pt x="6607852" y="831852"/>
                  </a:cubicBezTo>
                  <a:cubicBezTo>
                    <a:pt x="6587248" y="831852"/>
                    <a:pt x="6570545" y="816571"/>
                    <a:pt x="6570545" y="797720"/>
                  </a:cubicBezTo>
                  <a:cubicBezTo>
                    <a:pt x="6570545" y="778869"/>
                    <a:pt x="6587248" y="763588"/>
                    <a:pt x="6607852" y="763588"/>
                  </a:cubicBezTo>
                  <a:close/>
                  <a:moveTo>
                    <a:pt x="6525302" y="763588"/>
                  </a:moveTo>
                  <a:cubicBezTo>
                    <a:pt x="6544153" y="763588"/>
                    <a:pt x="6559434" y="778869"/>
                    <a:pt x="6559434" y="797720"/>
                  </a:cubicBezTo>
                  <a:cubicBezTo>
                    <a:pt x="6559434" y="816571"/>
                    <a:pt x="6544153" y="831852"/>
                    <a:pt x="6525302" y="831852"/>
                  </a:cubicBezTo>
                  <a:cubicBezTo>
                    <a:pt x="6506451" y="831852"/>
                    <a:pt x="6491170" y="816571"/>
                    <a:pt x="6491170" y="797720"/>
                  </a:cubicBezTo>
                  <a:cubicBezTo>
                    <a:pt x="6491170" y="778869"/>
                    <a:pt x="6506451" y="763588"/>
                    <a:pt x="6525302" y="763588"/>
                  </a:cubicBezTo>
                  <a:close/>
                  <a:moveTo>
                    <a:pt x="6188752" y="763588"/>
                  </a:moveTo>
                  <a:cubicBezTo>
                    <a:pt x="6207603" y="763588"/>
                    <a:pt x="6222884" y="778869"/>
                    <a:pt x="6222884" y="797720"/>
                  </a:cubicBezTo>
                  <a:cubicBezTo>
                    <a:pt x="6222884" y="816571"/>
                    <a:pt x="6207603" y="831852"/>
                    <a:pt x="6188752" y="831852"/>
                  </a:cubicBezTo>
                  <a:cubicBezTo>
                    <a:pt x="6169901" y="831852"/>
                    <a:pt x="6154620" y="816571"/>
                    <a:pt x="6154620" y="797720"/>
                  </a:cubicBezTo>
                  <a:cubicBezTo>
                    <a:pt x="6154620" y="778869"/>
                    <a:pt x="6169901" y="763588"/>
                    <a:pt x="6188752" y="763588"/>
                  </a:cubicBezTo>
                  <a:close/>
                  <a:moveTo>
                    <a:pt x="5680752" y="763588"/>
                  </a:moveTo>
                  <a:cubicBezTo>
                    <a:pt x="5699603" y="763588"/>
                    <a:pt x="5714884" y="778869"/>
                    <a:pt x="5714884" y="797720"/>
                  </a:cubicBezTo>
                  <a:cubicBezTo>
                    <a:pt x="5714884" y="816571"/>
                    <a:pt x="5699603" y="831852"/>
                    <a:pt x="5680752" y="831852"/>
                  </a:cubicBezTo>
                  <a:cubicBezTo>
                    <a:pt x="5661901" y="831852"/>
                    <a:pt x="5646620" y="816571"/>
                    <a:pt x="5646620" y="797720"/>
                  </a:cubicBezTo>
                  <a:cubicBezTo>
                    <a:pt x="5646620" y="778869"/>
                    <a:pt x="5661901" y="763588"/>
                    <a:pt x="5680752" y="763588"/>
                  </a:cubicBezTo>
                  <a:close/>
                  <a:moveTo>
                    <a:pt x="5595820" y="763588"/>
                  </a:moveTo>
                  <a:cubicBezTo>
                    <a:pt x="5615109" y="763588"/>
                    <a:pt x="5630745" y="778869"/>
                    <a:pt x="5630745" y="797720"/>
                  </a:cubicBezTo>
                  <a:cubicBezTo>
                    <a:pt x="5630745" y="816571"/>
                    <a:pt x="5615109" y="831852"/>
                    <a:pt x="5595820" y="831852"/>
                  </a:cubicBezTo>
                  <a:cubicBezTo>
                    <a:pt x="5576531" y="831852"/>
                    <a:pt x="5560895" y="816571"/>
                    <a:pt x="5560895" y="797720"/>
                  </a:cubicBezTo>
                  <a:cubicBezTo>
                    <a:pt x="5560895" y="778869"/>
                    <a:pt x="5576531" y="763588"/>
                    <a:pt x="5595820" y="763588"/>
                  </a:cubicBezTo>
                  <a:close/>
                  <a:moveTo>
                    <a:pt x="4332171" y="763588"/>
                  </a:moveTo>
                  <a:cubicBezTo>
                    <a:pt x="4352337" y="763588"/>
                    <a:pt x="4368684" y="778869"/>
                    <a:pt x="4368684" y="797720"/>
                  </a:cubicBezTo>
                  <a:cubicBezTo>
                    <a:pt x="4368684" y="816571"/>
                    <a:pt x="4352337" y="831852"/>
                    <a:pt x="4332171" y="831852"/>
                  </a:cubicBezTo>
                  <a:cubicBezTo>
                    <a:pt x="4312005" y="831852"/>
                    <a:pt x="4295658" y="816571"/>
                    <a:pt x="4295658" y="797720"/>
                  </a:cubicBezTo>
                  <a:cubicBezTo>
                    <a:pt x="4295658" y="778869"/>
                    <a:pt x="4312005" y="763588"/>
                    <a:pt x="4332171" y="763588"/>
                  </a:cubicBezTo>
                  <a:close/>
                  <a:moveTo>
                    <a:pt x="4248827" y="763588"/>
                  </a:moveTo>
                  <a:cubicBezTo>
                    <a:pt x="4267678" y="763588"/>
                    <a:pt x="4282959" y="778869"/>
                    <a:pt x="4282959" y="797720"/>
                  </a:cubicBezTo>
                  <a:cubicBezTo>
                    <a:pt x="4282959" y="816571"/>
                    <a:pt x="4267678" y="831852"/>
                    <a:pt x="4248827" y="831852"/>
                  </a:cubicBezTo>
                  <a:cubicBezTo>
                    <a:pt x="4229976" y="831852"/>
                    <a:pt x="4214695" y="816571"/>
                    <a:pt x="4214695" y="797720"/>
                  </a:cubicBezTo>
                  <a:cubicBezTo>
                    <a:pt x="4214695" y="778869"/>
                    <a:pt x="4229976" y="763588"/>
                    <a:pt x="4248827" y="763588"/>
                  </a:cubicBezTo>
                  <a:close/>
                  <a:moveTo>
                    <a:pt x="4163895" y="763588"/>
                  </a:moveTo>
                  <a:cubicBezTo>
                    <a:pt x="4183184" y="763588"/>
                    <a:pt x="4198820" y="778869"/>
                    <a:pt x="4198820" y="797720"/>
                  </a:cubicBezTo>
                  <a:cubicBezTo>
                    <a:pt x="4198820" y="816571"/>
                    <a:pt x="4183184" y="831852"/>
                    <a:pt x="4163895" y="831852"/>
                  </a:cubicBezTo>
                  <a:cubicBezTo>
                    <a:pt x="4144606" y="831852"/>
                    <a:pt x="4128970" y="816571"/>
                    <a:pt x="4128970" y="797720"/>
                  </a:cubicBezTo>
                  <a:cubicBezTo>
                    <a:pt x="4128970" y="778869"/>
                    <a:pt x="4144606" y="763588"/>
                    <a:pt x="4163895" y="763588"/>
                  </a:cubicBezTo>
                  <a:close/>
                  <a:moveTo>
                    <a:pt x="4078170" y="763588"/>
                  </a:moveTo>
                  <a:cubicBezTo>
                    <a:pt x="4097459" y="763588"/>
                    <a:pt x="4113095" y="778869"/>
                    <a:pt x="4113095" y="797720"/>
                  </a:cubicBezTo>
                  <a:cubicBezTo>
                    <a:pt x="4113095" y="816571"/>
                    <a:pt x="4097459" y="831852"/>
                    <a:pt x="4078170" y="831852"/>
                  </a:cubicBezTo>
                  <a:cubicBezTo>
                    <a:pt x="4058881" y="831852"/>
                    <a:pt x="4043245" y="816571"/>
                    <a:pt x="4043245" y="797720"/>
                  </a:cubicBezTo>
                  <a:cubicBezTo>
                    <a:pt x="4043245" y="778869"/>
                    <a:pt x="4058881" y="763588"/>
                    <a:pt x="4078170" y="763588"/>
                  </a:cubicBezTo>
                  <a:close/>
                  <a:moveTo>
                    <a:pt x="3993240" y="763588"/>
                  </a:moveTo>
                  <a:cubicBezTo>
                    <a:pt x="4012091" y="763588"/>
                    <a:pt x="4027372" y="778869"/>
                    <a:pt x="4027372" y="797720"/>
                  </a:cubicBezTo>
                  <a:cubicBezTo>
                    <a:pt x="4027372" y="816571"/>
                    <a:pt x="4012091" y="831852"/>
                    <a:pt x="3993240" y="831852"/>
                  </a:cubicBezTo>
                  <a:cubicBezTo>
                    <a:pt x="3974389" y="831852"/>
                    <a:pt x="3959108" y="816571"/>
                    <a:pt x="3959108" y="797720"/>
                  </a:cubicBezTo>
                  <a:cubicBezTo>
                    <a:pt x="3959108" y="778869"/>
                    <a:pt x="3974389" y="763588"/>
                    <a:pt x="3993240" y="763588"/>
                  </a:cubicBezTo>
                  <a:close/>
                  <a:moveTo>
                    <a:pt x="3912277" y="763588"/>
                  </a:moveTo>
                  <a:cubicBezTo>
                    <a:pt x="3931128" y="763588"/>
                    <a:pt x="3946409" y="778869"/>
                    <a:pt x="3946409" y="797720"/>
                  </a:cubicBezTo>
                  <a:cubicBezTo>
                    <a:pt x="3946409" y="816571"/>
                    <a:pt x="3931128" y="831852"/>
                    <a:pt x="3912277" y="831852"/>
                  </a:cubicBezTo>
                  <a:cubicBezTo>
                    <a:pt x="3893426" y="831852"/>
                    <a:pt x="3878145" y="816571"/>
                    <a:pt x="3878145" y="797720"/>
                  </a:cubicBezTo>
                  <a:cubicBezTo>
                    <a:pt x="3878145" y="778869"/>
                    <a:pt x="3893426" y="763588"/>
                    <a:pt x="3912277" y="763588"/>
                  </a:cubicBezTo>
                  <a:close/>
                  <a:moveTo>
                    <a:pt x="3826552" y="763588"/>
                  </a:moveTo>
                  <a:cubicBezTo>
                    <a:pt x="3845403" y="763588"/>
                    <a:pt x="3860684" y="778869"/>
                    <a:pt x="3860684" y="797720"/>
                  </a:cubicBezTo>
                  <a:cubicBezTo>
                    <a:pt x="3860684" y="816571"/>
                    <a:pt x="3845403" y="831852"/>
                    <a:pt x="3826552" y="831852"/>
                  </a:cubicBezTo>
                  <a:cubicBezTo>
                    <a:pt x="3807701" y="831852"/>
                    <a:pt x="3792420" y="816571"/>
                    <a:pt x="3792420" y="797720"/>
                  </a:cubicBezTo>
                  <a:cubicBezTo>
                    <a:pt x="3792420" y="778869"/>
                    <a:pt x="3807701" y="763588"/>
                    <a:pt x="3826552" y="763588"/>
                  </a:cubicBezTo>
                  <a:close/>
                  <a:moveTo>
                    <a:pt x="3234415" y="763588"/>
                  </a:moveTo>
                  <a:cubicBezTo>
                    <a:pt x="3253266" y="763588"/>
                    <a:pt x="3268547" y="778869"/>
                    <a:pt x="3268547" y="797720"/>
                  </a:cubicBezTo>
                  <a:cubicBezTo>
                    <a:pt x="3268547" y="816571"/>
                    <a:pt x="3253266" y="831852"/>
                    <a:pt x="3234415" y="831852"/>
                  </a:cubicBezTo>
                  <a:cubicBezTo>
                    <a:pt x="3215564" y="831852"/>
                    <a:pt x="3200283" y="816571"/>
                    <a:pt x="3200283" y="797720"/>
                  </a:cubicBezTo>
                  <a:cubicBezTo>
                    <a:pt x="3200283" y="778869"/>
                    <a:pt x="3215564" y="763588"/>
                    <a:pt x="3234415" y="763588"/>
                  </a:cubicBezTo>
                  <a:close/>
                  <a:moveTo>
                    <a:pt x="3068520" y="763588"/>
                  </a:moveTo>
                  <a:cubicBezTo>
                    <a:pt x="3087809" y="763588"/>
                    <a:pt x="3103445" y="778869"/>
                    <a:pt x="3103445" y="797720"/>
                  </a:cubicBezTo>
                  <a:cubicBezTo>
                    <a:pt x="3103445" y="816571"/>
                    <a:pt x="3087809" y="831852"/>
                    <a:pt x="3068520" y="831852"/>
                  </a:cubicBezTo>
                  <a:cubicBezTo>
                    <a:pt x="3049231" y="831852"/>
                    <a:pt x="3033595" y="816571"/>
                    <a:pt x="3033595" y="797720"/>
                  </a:cubicBezTo>
                  <a:cubicBezTo>
                    <a:pt x="3033595" y="778869"/>
                    <a:pt x="3049231" y="763588"/>
                    <a:pt x="3068520" y="763588"/>
                  </a:cubicBezTo>
                  <a:close/>
                  <a:moveTo>
                    <a:pt x="2897865" y="763588"/>
                  </a:moveTo>
                  <a:cubicBezTo>
                    <a:pt x="2916716" y="763588"/>
                    <a:pt x="2931997" y="778869"/>
                    <a:pt x="2931997" y="797720"/>
                  </a:cubicBezTo>
                  <a:cubicBezTo>
                    <a:pt x="2931997" y="816571"/>
                    <a:pt x="2916716" y="831852"/>
                    <a:pt x="2897865" y="831852"/>
                  </a:cubicBezTo>
                  <a:cubicBezTo>
                    <a:pt x="2879014" y="831852"/>
                    <a:pt x="2863733" y="816571"/>
                    <a:pt x="2863733" y="797720"/>
                  </a:cubicBezTo>
                  <a:cubicBezTo>
                    <a:pt x="2863733" y="778869"/>
                    <a:pt x="2879014" y="763588"/>
                    <a:pt x="2897865" y="763588"/>
                  </a:cubicBezTo>
                  <a:close/>
                  <a:moveTo>
                    <a:pt x="2814521" y="763588"/>
                  </a:moveTo>
                  <a:cubicBezTo>
                    <a:pt x="2834687" y="763588"/>
                    <a:pt x="2851034" y="778869"/>
                    <a:pt x="2851034" y="797720"/>
                  </a:cubicBezTo>
                  <a:cubicBezTo>
                    <a:pt x="2851034" y="816571"/>
                    <a:pt x="2834687" y="831852"/>
                    <a:pt x="2814521" y="831852"/>
                  </a:cubicBezTo>
                  <a:cubicBezTo>
                    <a:pt x="2794355" y="831852"/>
                    <a:pt x="2778008" y="816571"/>
                    <a:pt x="2778008" y="797720"/>
                  </a:cubicBezTo>
                  <a:cubicBezTo>
                    <a:pt x="2778008" y="778869"/>
                    <a:pt x="2794355" y="763588"/>
                    <a:pt x="2814521" y="763588"/>
                  </a:cubicBezTo>
                  <a:close/>
                  <a:moveTo>
                    <a:pt x="2732006" y="763588"/>
                  </a:moveTo>
                  <a:cubicBezTo>
                    <a:pt x="2751295" y="763588"/>
                    <a:pt x="2766930" y="778869"/>
                    <a:pt x="2766930" y="797720"/>
                  </a:cubicBezTo>
                  <a:cubicBezTo>
                    <a:pt x="2766930" y="816571"/>
                    <a:pt x="2751295" y="831852"/>
                    <a:pt x="2732006" y="831852"/>
                  </a:cubicBezTo>
                  <a:cubicBezTo>
                    <a:pt x="2712717" y="831852"/>
                    <a:pt x="2697081" y="816571"/>
                    <a:pt x="2697081" y="797720"/>
                  </a:cubicBezTo>
                  <a:cubicBezTo>
                    <a:pt x="2697081" y="778869"/>
                    <a:pt x="2712717" y="763588"/>
                    <a:pt x="2732006" y="763588"/>
                  </a:cubicBezTo>
                  <a:close/>
                  <a:moveTo>
                    <a:pt x="2646283" y="763588"/>
                  </a:moveTo>
                  <a:cubicBezTo>
                    <a:pt x="2665572" y="763588"/>
                    <a:pt x="2681207" y="778869"/>
                    <a:pt x="2681207" y="797720"/>
                  </a:cubicBezTo>
                  <a:cubicBezTo>
                    <a:pt x="2681207" y="816571"/>
                    <a:pt x="2665572" y="831852"/>
                    <a:pt x="2646283" y="831852"/>
                  </a:cubicBezTo>
                  <a:cubicBezTo>
                    <a:pt x="2626994" y="831852"/>
                    <a:pt x="2611358" y="816571"/>
                    <a:pt x="2611358" y="797720"/>
                  </a:cubicBezTo>
                  <a:cubicBezTo>
                    <a:pt x="2611358" y="778869"/>
                    <a:pt x="2626994" y="763588"/>
                    <a:pt x="2646283" y="763588"/>
                  </a:cubicBezTo>
                  <a:close/>
                  <a:moveTo>
                    <a:pt x="2561353" y="763588"/>
                  </a:moveTo>
                  <a:cubicBezTo>
                    <a:pt x="2580204" y="763588"/>
                    <a:pt x="2595485" y="778869"/>
                    <a:pt x="2595485" y="797720"/>
                  </a:cubicBezTo>
                  <a:cubicBezTo>
                    <a:pt x="2595485" y="816571"/>
                    <a:pt x="2580204" y="831852"/>
                    <a:pt x="2561353" y="831852"/>
                  </a:cubicBezTo>
                  <a:cubicBezTo>
                    <a:pt x="2542501" y="831852"/>
                    <a:pt x="2527220" y="816571"/>
                    <a:pt x="2527220" y="797720"/>
                  </a:cubicBezTo>
                  <a:cubicBezTo>
                    <a:pt x="2527220" y="778869"/>
                    <a:pt x="2542501" y="763588"/>
                    <a:pt x="2561353" y="763588"/>
                  </a:cubicBezTo>
                  <a:close/>
                  <a:moveTo>
                    <a:pt x="2475627" y="763588"/>
                  </a:moveTo>
                  <a:cubicBezTo>
                    <a:pt x="2494480" y="763588"/>
                    <a:pt x="2509761" y="778869"/>
                    <a:pt x="2509761" y="797720"/>
                  </a:cubicBezTo>
                  <a:cubicBezTo>
                    <a:pt x="2509761" y="816571"/>
                    <a:pt x="2494480" y="831852"/>
                    <a:pt x="2475627" y="831852"/>
                  </a:cubicBezTo>
                  <a:cubicBezTo>
                    <a:pt x="2456777" y="831852"/>
                    <a:pt x="2441496" y="816571"/>
                    <a:pt x="2441496" y="797720"/>
                  </a:cubicBezTo>
                  <a:cubicBezTo>
                    <a:pt x="2441496" y="778869"/>
                    <a:pt x="2456777" y="763588"/>
                    <a:pt x="2475627" y="763588"/>
                  </a:cubicBezTo>
                  <a:close/>
                  <a:moveTo>
                    <a:pt x="2394666" y="763588"/>
                  </a:moveTo>
                  <a:cubicBezTo>
                    <a:pt x="2413516" y="763588"/>
                    <a:pt x="2428797" y="778869"/>
                    <a:pt x="2428797" y="797720"/>
                  </a:cubicBezTo>
                  <a:cubicBezTo>
                    <a:pt x="2428797" y="816571"/>
                    <a:pt x="2413516" y="831852"/>
                    <a:pt x="2394666" y="831852"/>
                  </a:cubicBezTo>
                  <a:cubicBezTo>
                    <a:pt x="2375813" y="831852"/>
                    <a:pt x="2360533" y="816571"/>
                    <a:pt x="2360533" y="797720"/>
                  </a:cubicBezTo>
                  <a:cubicBezTo>
                    <a:pt x="2360533" y="778869"/>
                    <a:pt x="2375813" y="763588"/>
                    <a:pt x="2394666" y="763588"/>
                  </a:cubicBezTo>
                  <a:close/>
                  <a:moveTo>
                    <a:pt x="2309733" y="763588"/>
                  </a:moveTo>
                  <a:cubicBezTo>
                    <a:pt x="2329020" y="763588"/>
                    <a:pt x="2344659" y="778869"/>
                    <a:pt x="2344659" y="797720"/>
                  </a:cubicBezTo>
                  <a:cubicBezTo>
                    <a:pt x="2344659" y="816571"/>
                    <a:pt x="2329020" y="831852"/>
                    <a:pt x="2309733" y="831852"/>
                  </a:cubicBezTo>
                  <a:cubicBezTo>
                    <a:pt x="2290444" y="831852"/>
                    <a:pt x="2274806" y="816571"/>
                    <a:pt x="2274806" y="797720"/>
                  </a:cubicBezTo>
                  <a:cubicBezTo>
                    <a:pt x="2274806" y="778869"/>
                    <a:pt x="2290444" y="763588"/>
                    <a:pt x="2309733" y="763588"/>
                  </a:cubicBezTo>
                  <a:close/>
                  <a:moveTo>
                    <a:pt x="2224804" y="763588"/>
                  </a:moveTo>
                  <a:cubicBezTo>
                    <a:pt x="2243654" y="763588"/>
                    <a:pt x="2258936" y="778869"/>
                    <a:pt x="2258936" y="797720"/>
                  </a:cubicBezTo>
                  <a:cubicBezTo>
                    <a:pt x="2258936" y="816571"/>
                    <a:pt x="2243654" y="831852"/>
                    <a:pt x="2224804" y="831852"/>
                  </a:cubicBezTo>
                  <a:cubicBezTo>
                    <a:pt x="2205953" y="831852"/>
                    <a:pt x="2190671" y="816571"/>
                    <a:pt x="2190671" y="797720"/>
                  </a:cubicBezTo>
                  <a:cubicBezTo>
                    <a:pt x="2190671" y="778869"/>
                    <a:pt x="2205953" y="763588"/>
                    <a:pt x="2224804" y="763588"/>
                  </a:cubicBezTo>
                  <a:close/>
                  <a:moveTo>
                    <a:pt x="2139081" y="763588"/>
                  </a:moveTo>
                  <a:cubicBezTo>
                    <a:pt x="2157931" y="763588"/>
                    <a:pt x="2173211" y="778869"/>
                    <a:pt x="2173211" y="797720"/>
                  </a:cubicBezTo>
                  <a:cubicBezTo>
                    <a:pt x="2173211" y="816571"/>
                    <a:pt x="2157931" y="831852"/>
                    <a:pt x="2139081" y="831852"/>
                  </a:cubicBezTo>
                  <a:cubicBezTo>
                    <a:pt x="2120228" y="831852"/>
                    <a:pt x="2104948" y="816571"/>
                    <a:pt x="2104948" y="797720"/>
                  </a:cubicBezTo>
                  <a:cubicBezTo>
                    <a:pt x="2104948" y="778869"/>
                    <a:pt x="2120228" y="763588"/>
                    <a:pt x="2139081" y="763588"/>
                  </a:cubicBezTo>
                  <a:close/>
                  <a:moveTo>
                    <a:pt x="2055721" y="763588"/>
                  </a:moveTo>
                  <a:cubicBezTo>
                    <a:pt x="2075887" y="763588"/>
                    <a:pt x="2092234" y="778869"/>
                    <a:pt x="2092234" y="797720"/>
                  </a:cubicBezTo>
                  <a:cubicBezTo>
                    <a:pt x="2092234" y="816571"/>
                    <a:pt x="2075887" y="831852"/>
                    <a:pt x="2055721" y="831852"/>
                  </a:cubicBezTo>
                  <a:cubicBezTo>
                    <a:pt x="2035555" y="831852"/>
                    <a:pt x="2019209" y="816571"/>
                    <a:pt x="2019209" y="797720"/>
                  </a:cubicBezTo>
                  <a:cubicBezTo>
                    <a:pt x="2019209" y="778869"/>
                    <a:pt x="2035555" y="763588"/>
                    <a:pt x="2055721" y="763588"/>
                  </a:cubicBezTo>
                  <a:close/>
                  <a:moveTo>
                    <a:pt x="1973171" y="763588"/>
                  </a:moveTo>
                  <a:cubicBezTo>
                    <a:pt x="1992461" y="763588"/>
                    <a:pt x="2008096" y="778869"/>
                    <a:pt x="2008096" y="797720"/>
                  </a:cubicBezTo>
                  <a:cubicBezTo>
                    <a:pt x="2008096" y="816571"/>
                    <a:pt x="1992461" y="831852"/>
                    <a:pt x="1973171" y="831852"/>
                  </a:cubicBezTo>
                  <a:cubicBezTo>
                    <a:pt x="1953883" y="831852"/>
                    <a:pt x="1938247" y="816571"/>
                    <a:pt x="1938247" y="797720"/>
                  </a:cubicBezTo>
                  <a:cubicBezTo>
                    <a:pt x="1938247" y="778869"/>
                    <a:pt x="1953883" y="763588"/>
                    <a:pt x="1973171" y="763588"/>
                  </a:cubicBezTo>
                  <a:close/>
                  <a:moveTo>
                    <a:pt x="1888243" y="763588"/>
                  </a:moveTo>
                  <a:cubicBezTo>
                    <a:pt x="1907093" y="763588"/>
                    <a:pt x="1922374" y="778869"/>
                    <a:pt x="1922374" y="797720"/>
                  </a:cubicBezTo>
                  <a:cubicBezTo>
                    <a:pt x="1922374" y="816571"/>
                    <a:pt x="1907093" y="831852"/>
                    <a:pt x="1888243" y="831852"/>
                  </a:cubicBezTo>
                  <a:cubicBezTo>
                    <a:pt x="1869392" y="831852"/>
                    <a:pt x="1854111" y="816571"/>
                    <a:pt x="1854111" y="797720"/>
                  </a:cubicBezTo>
                  <a:cubicBezTo>
                    <a:pt x="1854111" y="778869"/>
                    <a:pt x="1869392" y="763588"/>
                    <a:pt x="1888243" y="763588"/>
                  </a:cubicBezTo>
                  <a:close/>
                  <a:moveTo>
                    <a:pt x="1802519" y="763588"/>
                  </a:moveTo>
                  <a:cubicBezTo>
                    <a:pt x="1821370" y="763588"/>
                    <a:pt x="1836651" y="778869"/>
                    <a:pt x="1836651" y="797720"/>
                  </a:cubicBezTo>
                  <a:cubicBezTo>
                    <a:pt x="1836651" y="816571"/>
                    <a:pt x="1821370" y="831852"/>
                    <a:pt x="1802519" y="831852"/>
                  </a:cubicBezTo>
                  <a:cubicBezTo>
                    <a:pt x="1783667" y="831852"/>
                    <a:pt x="1768387" y="816571"/>
                    <a:pt x="1768387" y="797720"/>
                  </a:cubicBezTo>
                  <a:cubicBezTo>
                    <a:pt x="1768387" y="778869"/>
                    <a:pt x="1783667" y="763588"/>
                    <a:pt x="1802519" y="763588"/>
                  </a:cubicBezTo>
                  <a:close/>
                  <a:moveTo>
                    <a:pt x="1719175" y="763588"/>
                  </a:moveTo>
                  <a:cubicBezTo>
                    <a:pt x="1739341" y="763588"/>
                    <a:pt x="1755688" y="778869"/>
                    <a:pt x="1755688" y="797720"/>
                  </a:cubicBezTo>
                  <a:cubicBezTo>
                    <a:pt x="1755688" y="816571"/>
                    <a:pt x="1739341" y="831852"/>
                    <a:pt x="1719175" y="831852"/>
                  </a:cubicBezTo>
                  <a:cubicBezTo>
                    <a:pt x="1699010" y="831852"/>
                    <a:pt x="1682662" y="816571"/>
                    <a:pt x="1682662" y="797720"/>
                  </a:cubicBezTo>
                  <a:cubicBezTo>
                    <a:pt x="1682662" y="778869"/>
                    <a:pt x="1699010" y="763588"/>
                    <a:pt x="1719175" y="763588"/>
                  </a:cubicBezTo>
                  <a:close/>
                  <a:moveTo>
                    <a:pt x="1636620" y="763588"/>
                  </a:moveTo>
                  <a:cubicBezTo>
                    <a:pt x="1655910" y="763588"/>
                    <a:pt x="1671546" y="778869"/>
                    <a:pt x="1671546" y="797720"/>
                  </a:cubicBezTo>
                  <a:cubicBezTo>
                    <a:pt x="1671546" y="816571"/>
                    <a:pt x="1655910" y="831852"/>
                    <a:pt x="1636620" y="831852"/>
                  </a:cubicBezTo>
                  <a:cubicBezTo>
                    <a:pt x="1617332" y="831852"/>
                    <a:pt x="1601695" y="816571"/>
                    <a:pt x="1601695" y="797720"/>
                  </a:cubicBezTo>
                  <a:cubicBezTo>
                    <a:pt x="1601695" y="778869"/>
                    <a:pt x="1617332" y="763588"/>
                    <a:pt x="1636620" y="763588"/>
                  </a:cubicBezTo>
                  <a:close/>
                  <a:moveTo>
                    <a:pt x="1551690" y="763588"/>
                  </a:moveTo>
                  <a:cubicBezTo>
                    <a:pt x="1570541" y="763588"/>
                    <a:pt x="1585822" y="778869"/>
                    <a:pt x="1585822" y="797720"/>
                  </a:cubicBezTo>
                  <a:cubicBezTo>
                    <a:pt x="1585822" y="816571"/>
                    <a:pt x="1570541" y="831852"/>
                    <a:pt x="1551690" y="831852"/>
                  </a:cubicBezTo>
                  <a:cubicBezTo>
                    <a:pt x="1532839" y="831852"/>
                    <a:pt x="1517557" y="816571"/>
                    <a:pt x="1517557" y="797720"/>
                  </a:cubicBezTo>
                  <a:cubicBezTo>
                    <a:pt x="1517557" y="778869"/>
                    <a:pt x="1532839" y="763588"/>
                    <a:pt x="1551690" y="763588"/>
                  </a:cubicBezTo>
                  <a:close/>
                  <a:moveTo>
                    <a:pt x="1465955" y="763588"/>
                  </a:moveTo>
                  <a:cubicBezTo>
                    <a:pt x="1484806" y="763588"/>
                    <a:pt x="1500087" y="778869"/>
                    <a:pt x="1500087" y="797720"/>
                  </a:cubicBezTo>
                  <a:cubicBezTo>
                    <a:pt x="1500087" y="816571"/>
                    <a:pt x="1484806" y="831852"/>
                    <a:pt x="1465955" y="831852"/>
                  </a:cubicBezTo>
                  <a:cubicBezTo>
                    <a:pt x="1447104" y="831852"/>
                    <a:pt x="1431822" y="816571"/>
                    <a:pt x="1431822" y="797720"/>
                  </a:cubicBezTo>
                  <a:cubicBezTo>
                    <a:pt x="1431822" y="778869"/>
                    <a:pt x="1447104" y="763588"/>
                    <a:pt x="1465955" y="763588"/>
                  </a:cubicBezTo>
                  <a:close/>
                  <a:moveTo>
                    <a:pt x="1380218" y="763588"/>
                  </a:moveTo>
                  <a:cubicBezTo>
                    <a:pt x="1399070" y="763588"/>
                    <a:pt x="1414351" y="778869"/>
                    <a:pt x="1414351" y="797720"/>
                  </a:cubicBezTo>
                  <a:cubicBezTo>
                    <a:pt x="1414351" y="816571"/>
                    <a:pt x="1399070" y="831852"/>
                    <a:pt x="1380218" y="831852"/>
                  </a:cubicBezTo>
                  <a:cubicBezTo>
                    <a:pt x="1361367" y="831852"/>
                    <a:pt x="1346087" y="816571"/>
                    <a:pt x="1346087" y="797720"/>
                  </a:cubicBezTo>
                  <a:cubicBezTo>
                    <a:pt x="1346087" y="778869"/>
                    <a:pt x="1361367" y="763588"/>
                    <a:pt x="1380218" y="763588"/>
                  </a:cubicBezTo>
                  <a:close/>
                  <a:moveTo>
                    <a:pt x="1300049" y="763588"/>
                  </a:moveTo>
                  <a:cubicBezTo>
                    <a:pt x="1319339" y="763588"/>
                    <a:pt x="1334974" y="778869"/>
                    <a:pt x="1334974" y="797720"/>
                  </a:cubicBezTo>
                  <a:cubicBezTo>
                    <a:pt x="1334974" y="816571"/>
                    <a:pt x="1319339" y="831852"/>
                    <a:pt x="1300049" y="831852"/>
                  </a:cubicBezTo>
                  <a:cubicBezTo>
                    <a:pt x="1280760" y="831852"/>
                    <a:pt x="1265124" y="816571"/>
                    <a:pt x="1265124" y="797720"/>
                  </a:cubicBezTo>
                  <a:cubicBezTo>
                    <a:pt x="1265124" y="778869"/>
                    <a:pt x="1280760" y="763588"/>
                    <a:pt x="1300049" y="763588"/>
                  </a:cubicBezTo>
                  <a:close/>
                  <a:moveTo>
                    <a:pt x="1214324" y="763588"/>
                  </a:moveTo>
                  <a:cubicBezTo>
                    <a:pt x="1233613" y="763588"/>
                    <a:pt x="1249249" y="778869"/>
                    <a:pt x="1249249" y="797720"/>
                  </a:cubicBezTo>
                  <a:cubicBezTo>
                    <a:pt x="1249249" y="816571"/>
                    <a:pt x="1233613" y="831852"/>
                    <a:pt x="1214324" y="831852"/>
                  </a:cubicBezTo>
                  <a:cubicBezTo>
                    <a:pt x="1195035" y="831852"/>
                    <a:pt x="1179399" y="816571"/>
                    <a:pt x="1179399" y="797720"/>
                  </a:cubicBezTo>
                  <a:cubicBezTo>
                    <a:pt x="1179399" y="778869"/>
                    <a:pt x="1195035" y="763588"/>
                    <a:pt x="1214324" y="763588"/>
                  </a:cubicBezTo>
                  <a:close/>
                  <a:moveTo>
                    <a:pt x="1129569" y="763588"/>
                  </a:moveTo>
                  <a:cubicBezTo>
                    <a:pt x="1148422" y="763588"/>
                    <a:pt x="1163703" y="778869"/>
                    <a:pt x="1163703" y="797720"/>
                  </a:cubicBezTo>
                  <a:cubicBezTo>
                    <a:pt x="1163703" y="816571"/>
                    <a:pt x="1148422" y="831852"/>
                    <a:pt x="1129569" y="831852"/>
                  </a:cubicBezTo>
                  <a:cubicBezTo>
                    <a:pt x="1110723" y="831852"/>
                    <a:pt x="1095440" y="816571"/>
                    <a:pt x="1095440" y="797720"/>
                  </a:cubicBezTo>
                  <a:cubicBezTo>
                    <a:pt x="1095440" y="778869"/>
                    <a:pt x="1110723" y="763588"/>
                    <a:pt x="1129569" y="763588"/>
                  </a:cubicBezTo>
                  <a:close/>
                  <a:moveTo>
                    <a:pt x="1043844" y="763588"/>
                  </a:moveTo>
                  <a:cubicBezTo>
                    <a:pt x="1062696" y="763588"/>
                    <a:pt x="1077977" y="778869"/>
                    <a:pt x="1077977" y="797720"/>
                  </a:cubicBezTo>
                  <a:cubicBezTo>
                    <a:pt x="1077977" y="816571"/>
                    <a:pt x="1062696" y="831852"/>
                    <a:pt x="1043844" y="831852"/>
                  </a:cubicBezTo>
                  <a:cubicBezTo>
                    <a:pt x="1024991" y="831852"/>
                    <a:pt x="1009710" y="816571"/>
                    <a:pt x="1009710" y="797720"/>
                  </a:cubicBezTo>
                  <a:cubicBezTo>
                    <a:pt x="1009710" y="778869"/>
                    <a:pt x="1024991" y="763588"/>
                    <a:pt x="1043844" y="763588"/>
                  </a:cubicBezTo>
                  <a:close/>
                  <a:moveTo>
                    <a:pt x="960493" y="763588"/>
                  </a:moveTo>
                  <a:cubicBezTo>
                    <a:pt x="980661" y="763588"/>
                    <a:pt x="997009" y="778869"/>
                    <a:pt x="997009" y="797720"/>
                  </a:cubicBezTo>
                  <a:cubicBezTo>
                    <a:pt x="997009" y="816571"/>
                    <a:pt x="980661" y="831852"/>
                    <a:pt x="960493" y="831852"/>
                  </a:cubicBezTo>
                  <a:cubicBezTo>
                    <a:pt x="940325" y="831852"/>
                    <a:pt x="923978" y="816571"/>
                    <a:pt x="923978" y="797720"/>
                  </a:cubicBezTo>
                  <a:cubicBezTo>
                    <a:pt x="923978" y="778869"/>
                    <a:pt x="940325" y="763588"/>
                    <a:pt x="960493" y="763588"/>
                  </a:cubicBezTo>
                  <a:close/>
                  <a:moveTo>
                    <a:pt x="877939" y="763588"/>
                  </a:moveTo>
                  <a:cubicBezTo>
                    <a:pt x="897228" y="763588"/>
                    <a:pt x="912864" y="778869"/>
                    <a:pt x="912864" y="797720"/>
                  </a:cubicBezTo>
                  <a:cubicBezTo>
                    <a:pt x="912864" y="816571"/>
                    <a:pt x="897228" y="831852"/>
                    <a:pt x="877939" y="831852"/>
                  </a:cubicBezTo>
                  <a:cubicBezTo>
                    <a:pt x="858647" y="831852"/>
                    <a:pt x="843014" y="816571"/>
                    <a:pt x="843014" y="797720"/>
                  </a:cubicBezTo>
                  <a:cubicBezTo>
                    <a:pt x="843014" y="778869"/>
                    <a:pt x="858647" y="763588"/>
                    <a:pt x="877939" y="763588"/>
                  </a:cubicBezTo>
                  <a:close/>
                  <a:moveTo>
                    <a:pt x="793002" y="763588"/>
                  </a:moveTo>
                  <a:cubicBezTo>
                    <a:pt x="811858" y="763588"/>
                    <a:pt x="827137" y="778869"/>
                    <a:pt x="827137" y="797720"/>
                  </a:cubicBezTo>
                  <a:cubicBezTo>
                    <a:pt x="827137" y="816571"/>
                    <a:pt x="811858" y="831852"/>
                    <a:pt x="793002" y="831852"/>
                  </a:cubicBezTo>
                  <a:cubicBezTo>
                    <a:pt x="774151" y="831852"/>
                    <a:pt x="758871" y="816571"/>
                    <a:pt x="758871" y="797720"/>
                  </a:cubicBezTo>
                  <a:cubicBezTo>
                    <a:pt x="758871" y="778869"/>
                    <a:pt x="774151" y="763588"/>
                    <a:pt x="793002" y="763588"/>
                  </a:cubicBezTo>
                  <a:close/>
                  <a:moveTo>
                    <a:pt x="707116" y="763588"/>
                  </a:moveTo>
                  <a:cubicBezTo>
                    <a:pt x="725967" y="763588"/>
                    <a:pt x="741248" y="778869"/>
                    <a:pt x="741248" y="797720"/>
                  </a:cubicBezTo>
                  <a:cubicBezTo>
                    <a:pt x="741248" y="816571"/>
                    <a:pt x="725967" y="831852"/>
                    <a:pt x="707116" y="831852"/>
                  </a:cubicBezTo>
                  <a:cubicBezTo>
                    <a:pt x="688265" y="831852"/>
                    <a:pt x="672984" y="816571"/>
                    <a:pt x="672984" y="797720"/>
                  </a:cubicBezTo>
                  <a:cubicBezTo>
                    <a:pt x="672984" y="778869"/>
                    <a:pt x="688265" y="763588"/>
                    <a:pt x="707116" y="763588"/>
                  </a:cubicBezTo>
                  <a:close/>
                  <a:moveTo>
                    <a:pt x="621537" y="763588"/>
                  </a:moveTo>
                  <a:cubicBezTo>
                    <a:pt x="640389" y="763588"/>
                    <a:pt x="655670" y="778869"/>
                    <a:pt x="655670" y="797720"/>
                  </a:cubicBezTo>
                  <a:cubicBezTo>
                    <a:pt x="655670" y="816571"/>
                    <a:pt x="640389" y="831852"/>
                    <a:pt x="621537" y="831852"/>
                  </a:cubicBezTo>
                  <a:cubicBezTo>
                    <a:pt x="602687" y="831852"/>
                    <a:pt x="587405" y="816571"/>
                    <a:pt x="587405" y="797720"/>
                  </a:cubicBezTo>
                  <a:cubicBezTo>
                    <a:pt x="587405" y="778869"/>
                    <a:pt x="602687" y="763588"/>
                    <a:pt x="621537" y="763588"/>
                  </a:cubicBezTo>
                  <a:close/>
                  <a:moveTo>
                    <a:pt x="541221" y="763588"/>
                  </a:moveTo>
                  <a:cubicBezTo>
                    <a:pt x="560510" y="763588"/>
                    <a:pt x="576146" y="778869"/>
                    <a:pt x="576146" y="797720"/>
                  </a:cubicBezTo>
                  <a:cubicBezTo>
                    <a:pt x="576146" y="816571"/>
                    <a:pt x="560510" y="831852"/>
                    <a:pt x="541221" y="831852"/>
                  </a:cubicBezTo>
                  <a:cubicBezTo>
                    <a:pt x="521932" y="831852"/>
                    <a:pt x="506297" y="816571"/>
                    <a:pt x="506297" y="797720"/>
                  </a:cubicBezTo>
                  <a:cubicBezTo>
                    <a:pt x="506297" y="778869"/>
                    <a:pt x="521932" y="763588"/>
                    <a:pt x="541221" y="763588"/>
                  </a:cubicBezTo>
                  <a:close/>
                  <a:moveTo>
                    <a:pt x="9138327" y="677863"/>
                  </a:moveTo>
                  <a:cubicBezTo>
                    <a:pt x="9157178" y="677863"/>
                    <a:pt x="9172459" y="693144"/>
                    <a:pt x="9172459" y="711995"/>
                  </a:cubicBezTo>
                  <a:cubicBezTo>
                    <a:pt x="9172459" y="730846"/>
                    <a:pt x="9157178" y="746127"/>
                    <a:pt x="9138327" y="746127"/>
                  </a:cubicBezTo>
                  <a:cubicBezTo>
                    <a:pt x="9119476" y="746127"/>
                    <a:pt x="9104195" y="730846"/>
                    <a:pt x="9104195" y="711995"/>
                  </a:cubicBezTo>
                  <a:cubicBezTo>
                    <a:pt x="9104195" y="693144"/>
                    <a:pt x="9119476" y="677863"/>
                    <a:pt x="9138327" y="677863"/>
                  </a:cubicBezTo>
                  <a:close/>
                  <a:moveTo>
                    <a:pt x="9052602" y="677863"/>
                  </a:moveTo>
                  <a:cubicBezTo>
                    <a:pt x="9071453" y="677863"/>
                    <a:pt x="9086734" y="693144"/>
                    <a:pt x="9086734" y="711995"/>
                  </a:cubicBezTo>
                  <a:cubicBezTo>
                    <a:pt x="9086734" y="730846"/>
                    <a:pt x="9071453" y="746127"/>
                    <a:pt x="9052602" y="746127"/>
                  </a:cubicBezTo>
                  <a:cubicBezTo>
                    <a:pt x="9033751" y="746127"/>
                    <a:pt x="9018470" y="730846"/>
                    <a:pt x="9018470" y="711995"/>
                  </a:cubicBezTo>
                  <a:cubicBezTo>
                    <a:pt x="9018470" y="693144"/>
                    <a:pt x="9033751" y="677863"/>
                    <a:pt x="9052602" y="677863"/>
                  </a:cubicBezTo>
                  <a:close/>
                  <a:moveTo>
                    <a:pt x="8966877" y="677863"/>
                  </a:moveTo>
                  <a:cubicBezTo>
                    <a:pt x="8985728" y="677863"/>
                    <a:pt x="9001009" y="693144"/>
                    <a:pt x="9001009" y="711995"/>
                  </a:cubicBezTo>
                  <a:cubicBezTo>
                    <a:pt x="9001009" y="730846"/>
                    <a:pt x="8985728" y="746127"/>
                    <a:pt x="8966877" y="746127"/>
                  </a:cubicBezTo>
                  <a:cubicBezTo>
                    <a:pt x="8948026" y="746127"/>
                    <a:pt x="8932745" y="730846"/>
                    <a:pt x="8932745" y="711995"/>
                  </a:cubicBezTo>
                  <a:cubicBezTo>
                    <a:pt x="8932745" y="693144"/>
                    <a:pt x="8948026" y="677863"/>
                    <a:pt x="8966877" y="677863"/>
                  </a:cubicBezTo>
                  <a:close/>
                  <a:moveTo>
                    <a:pt x="8884327" y="677863"/>
                  </a:moveTo>
                  <a:cubicBezTo>
                    <a:pt x="8904931" y="677863"/>
                    <a:pt x="8921634" y="693144"/>
                    <a:pt x="8921634" y="711995"/>
                  </a:cubicBezTo>
                  <a:cubicBezTo>
                    <a:pt x="8921634" y="730846"/>
                    <a:pt x="8904931" y="746127"/>
                    <a:pt x="8884327" y="746127"/>
                  </a:cubicBezTo>
                  <a:cubicBezTo>
                    <a:pt x="8863723" y="746127"/>
                    <a:pt x="8847020" y="730846"/>
                    <a:pt x="8847020" y="711995"/>
                  </a:cubicBezTo>
                  <a:cubicBezTo>
                    <a:pt x="8847020" y="693144"/>
                    <a:pt x="8863723" y="677863"/>
                    <a:pt x="8884327" y="677863"/>
                  </a:cubicBezTo>
                  <a:close/>
                  <a:moveTo>
                    <a:pt x="8801777" y="677863"/>
                  </a:moveTo>
                  <a:cubicBezTo>
                    <a:pt x="8820628" y="677863"/>
                    <a:pt x="8835909" y="693144"/>
                    <a:pt x="8835909" y="711995"/>
                  </a:cubicBezTo>
                  <a:cubicBezTo>
                    <a:pt x="8835909" y="730846"/>
                    <a:pt x="8820628" y="746127"/>
                    <a:pt x="8801777" y="746127"/>
                  </a:cubicBezTo>
                  <a:cubicBezTo>
                    <a:pt x="8782926" y="746127"/>
                    <a:pt x="8767645" y="730846"/>
                    <a:pt x="8767645" y="711995"/>
                  </a:cubicBezTo>
                  <a:cubicBezTo>
                    <a:pt x="8767645" y="693144"/>
                    <a:pt x="8782926" y="677863"/>
                    <a:pt x="8801777" y="677863"/>
                  </a:cubicBezTo>
                  <a:close/>
                  <a:moveTo>
                    <a:pt x="8716052" y="677863"/>
                  </a:moveTo>
                  <a:cubicBezTo>
                    <a:pt x="8734903" y="677863"/>
                    <a:pt x="8750184" y="693144"/>
                    <a:pt x="8750184" y="711995"/>
                  </a:cubicBezTo>
                  <a:cubicBezTo>
                    <a:pt x="8750184" y="730846"/>
                    <a:pt x="8734903" y="746127"/>
                    <a:pt x="8716052" y="746127"/>
                  </a:cubicBezTo>
                  <a:cubicBezTo>
                    <a:pt x="8697201" y="746127"/>
                    <a:pt x="8681920" y="730846"/>
                    <a:pt x="8681920" y="711995"/>
                  </a:cubicBezTo>
                  <a:cubicBezTo>
                    <a:pt x="8681920" y="693144"/>
                    <a:pt x="8697201" y="677863"/>
                    <a:pt x="8716052" y="677863"/>
                  </a:cubicBezTo>
                  <a:close/>
                  <a:moveTo>
                    <a:pt x="8630327" y="677863"/>
                  </a:moveTo>
                  <a:cubicBezTo>
                    <a:pt x="8649178" y="677863"/>
                    <a:pt x="8664459" y="693144"/>
                    <a:pt x="8664459" y="711995"/>
                  </a:cubicBezTo>
                  <a:cubicBezTo>
                    <a:pt x="8664459" y="730846"/>
                    <a:pt x="8649178" y="746127"/>
                    <a:pt x="8630327" y="746127"/>
                  </a:cubicBezTo>
                  <a:cubicBezTo>
                    <a:pt x="8611476" y="746127"/>
                    <a:pt x="8596195" y="730846"/>
                    <a:pt x="8596195" y="711995"/>
                  </a:cubicBezTo>
                  <a:cubicBezTo>
                    <a:pt x="8596195" y="693144"/>
                    <a:pt x="8611476" y="677863"/>
                    <a:pt x="8630327" y="677863"/>
                  </a:cubicBezTo>
                  <a:close/>
                  <a:moveTo>
                    <a:pt x="8544602" y="677863"/>
                  </a:moveTo>
                  <a:cubicBezTo>
                    <a:pt x="8563453" y="677863"/>
                    <a:pt x="8578734" y="693144"/>
                    <a:pt x="8578734" y="711995"/>
                  </a:cubicBezTo>
                  <a:cubicBezTo>
                    <a:pt x="8578734" y="730846"/>
                    <a:pt x="8563453" y="746127"/>
                    <a:pt x="8544602" y="746127"/>
                  </a:cubicBezTo>
                  <a:cubicBezTo>
                    <a:pt x="8525751" y="746127"/>
                    <a:pt x="8510470" y="730846"/>
                    <a:pt x="8510470" y="711995"/>
                  </a:cubicBezTo>
                  <a:cubicBezTo>
                    <a:pt x="8510470" y="693144"/>
                    <a:pt x="8525751" y="677863"/>
                    <a:pt x="8544602" y="677863"/>
                  </a:cubicBezTo>
                  <a:close/>
                  <a:moveTo>
                    <a:pt x="8465227" y="677863"/>
                  </a:moveTo>
                  <a:cubicBezTo>
                    <a:pt x="8484078" y="677863"/>
                    <a:pt x="8499359" y="693144"/>
                    <a:pt x="8499359" y="711995"/>
                  </a:cubicBezTo>
                  <a:cubicBezTo>
                    <a:pt x="8499359" y="730846"/>
                    <a:pt x="8484078" y="746127"/>
                    <a:pt x="8465227" y="746127"/>
                  </a:cubicBezTo>
                  <a:cubicBezTo>
                    <a:pt x="8446376" y="746127"/>
                    <a:pt x="8431095" y="730846"/>
                    <a:pt x="8431095" y="711995"/>
                  </a:cubicBezTo>
                  <a:cubicBezTo>
                    <a:pt x="8431095" y="693144"/>
                    <a:pt x="8446376" y="677863"/>
                    <a:pt x="8465227" y="677863"/>
                  </a:cubicBezTo>
                  <a:close/>
                  <a:moveTo>
                    <a:pt x="8379502" y="677863"/>
                  </a:moveTo>
                  <a:cubicBezTo>
                    <a:pt x="8398353" y="677863"/>
                    <a:pt x="8413634" y="693144"/>
                    <a:pt x="8413634" y="711995"/>
                  </a:cubicBezTo>
                  <a:cubicBezTo>
                    <a:pt x="8413634" y="730846"/>
                    <a:pt x="8398353" y="746127"/>
                    <a:pt x="8379502" y="746127"/>
                  </a:cubicBezTo>
                  <a:cubicBezTo>
                    <a:pt x="8360651" y="746127"/>
                    <a:pt x="8345370" y="730846"/>
                    <a:pt x="8345370" y="711995"/>
                  </a:cubicBezTo>
                  <a:cubicBezTo>
                    <a:pt x="8345370" y="693144"/>
                    <a:pt x="8360651" y="677863"/>
                    <a:pt x="8379502" y="677863"/>
                  </a:cubicBezTo>
                  <a:close/>
                  <a:moveTo>
                    <a:pt x="8293777" y="677863"/>
                  </a:moveTo>
                  <a:cubicBezTo>
                    <a:pt x="8312628" y="677863"/>
                    <a:pt x="8327909" y="693144"/>
                    <a:pt x="8327909" y="711995"/>
                  </a:cubicBezTo>
                  <a:cubicBezTo>
                    <a:pt x="8327909" y="730846"/>
                    <a:pt x="8312628" y="746127"/>
                    <a:pt x="8293777" y="746127"/>
                  </a:cubicBezTo>
                  <a:cubicBezTo>
                    <a:pt x="8274926" y="746127"/>
                    <a:pt x="8259645" y="730846"/>
                    <a:pt x="8259645" y="711995"/>
                  </a:cubicBezTo>
                  <a:cubicBezTo>
                    <a:pt x="8259645" y="693144"/>
                    <a:pt x="8274926" y="677863"/>
                    <a:pt x="8293777" y="677863"/>
                  </a:cubicBezTo>
                  <a:close/>
                  <a:moveTo>
                    <a:pt x="8208052" y="677863"/>
                  </a:moveTo>
                  <a:cubicBezTo>
                    <a:pt x="8226903" y="677863"/>
                    <a:pt x="8242184" y="693144"/>
                    <a:pt x="8242184" y="711995"/>
                  </a:cubicBezTo>
                  <a:cubicBezTo>
                    <a:pt x="8242184" y="730846"/>
                    <a:pt x="8226903" y="746127"/>
                    <a:pt x="8208052" y="746127"/>
                  </a:cubicBezTo>
                  <a:cubicBezTo>
                    <a:pt x="8189201" y="746127"/>
                    <a:pt x="8173920" y="730846"/>
                    <a:pt x="8173920" y="711995"/>
                  </a:cubicBezTo>
                  <a:cubicBezTo>
                    <a:pt x="8173920" y="693144"/>
                    <a:pt x="8189201" y="677863"/>
                    <a:pt x="8208052" y="677863"/>
                  </a:cubicBezTo>
                  <a:close/>
                  <a:moveTo>
                    <a:pt x="8125502" y="677863"/>
                  </a:moveTo>
                  <a:cubicBezTo>
                    <a:pt x="8146106" y="677863"/>
                    <a:pt x="8162809" y="693144"/>
                    <a:pt x="8162809" y="711995"/>
                  </a:cubicBezTo>
                  <a:cubicBezTo>
                    <a:pt x="8162809" y="730846"/>
                    <a:pt x="8146106" y="746127"/>
                    <a:pt x="8125502" y="746127"/>
                  </a:cubicBezTo>
                  <a:cubicBezTo>
                    <a:pt x="8104898" y="746127"/>
                    <a:pt x="8088195" y="730846"/>
                    <a:pt x="8088195" y="711995"/>
                  </a:cubicBezTo>
                  <a:cubicBezTo>
                    <a:pt x="8088195" y="693144"/>
                    <a:pt x="8104898" y="677863"/>
                    <a:pt x="8125502" y="677863"/>
                  </a:cubicBezTo>
                  <a:close/>
                  <a:moveTo>
                    <a:pt x="8042952" y="677863"/>
                  </a:moveTo>
                  <a:cubicBezTo>
                    <a:pt x="8061803" y="677863"/>
                    <a:pt x="8077084" y="693144"/>
                    <a:pt x="8077084" y="711995"/>
                  </a:cubicBezTo>
                  <a:cubicBezTo>
                    <a:pt x="8077084" y="730846"/>
                    <a:pt x="8061803" y="746127"/>
                    <a:pt x="8042952" y="746127"/>
                  </a:cubicBezTo>
                  <a:cubicBezTo>
                    <a:pt x="8024101" y="746127"/>
                    <a:pt x="8008820" y="730846"/>
                    <a:pt x="8008820" y="711995"/>
                  </a:cubicBezTo>
                  <a:cubicBezTo>
                    <a:pt x="8008820" y="693144"/>
                    <a:pt x="8024101" y="677863"/>
                    <a:pt x="8042952" y="677863"/>
                  </a:cubicBezTo>
                  <a:close/>
                  <a:moveTo>
                    <a:pt x="7957227" y="677863"/>
                  </a:moveTo>
                  <a:cubicBezTo>
                    <a:pt x="7976078" y="677863"/>
                    <a:pt x="7991359" y="693144"/>
                    <a:pt x="7991359" y="711995"/>
                  </a:cubicBezTo>
                  <a:cubicBezTo>
                    <a:pt x="7991359" y="730846"/>
                    <a:pt x="7976078" y="746127"/>
                    <a:pt x="7957227" y="746127"/>
                  </a:cubicBezTo>
                  <a:cubicBezTo>
                    <a:pt x="7938376" y="746127"/>
                    <a:pt x="7923095" y="730846"/>
                    <a:pt x="7923095" y="711995"/>
                  </a:cubicBezTo>
                  <a:cubicBezTo>
                    <a:pt x="7923095" y="693144"/>
                    <a:pt x="7938376" y="677863"/>
                    <a:pt x="7957227" y="677863"/>
                  </a:cubicBezTo>
                  <a:close/>
                  <a:moveTo>
                    <a:pt x="7871502" y="677863"/>
                  </a:moveTo>
                  <a:cubicBezTo>
                    <a:pt x="7890353" y="677863"/>
                    <a:pt x="7905634" y="693144"/>
                    <a:pt x="7905634" y="711995"/>
                  </a:cubicBezTo>
                  <a:cubicBezTo>
                    <a:pt x="7905634" y="730846"/>
                    <a:pt x="7890353" y="746127"/>
                    <a:pt x="7871502" y="746127"/>
                  </a:cubicBezTo>
                  <a:cubicBezTo>
                    <a:pt x="7852651" y="746127"/>
                    <a:pt x="7837370" y="730846"/>
                    <a:pt x="7837370" y="711995"/>
                  </a:cubicBezTo>
                  <a:cubicBezTo>
                    <a:pt x="7837370" y="693144"/>
                    <a:pt x="7852651" y="677863"/>
                    <a:pt x="7871502" y="677863"/>
                  </a:cubicBezTo>
                  <a:close/>
                  <a:moveTo>
                    <a:pt x="7785777" y="677863"/>
                  </a:moveTo>
                  <a:cubicBezTo>
                    <a:pt x="7804628" y="677863"/>
                    <a:pt x="7819909" y="693144"/>
                    <a:pt x="7819909" y="711995"/>
                  </a:cubicBezTo>
                  <a:cubicBezTo>
                    <a:pt x="7819909" y="730846"/>
                    <a:pt x="7804628" y="746127"/>
                    <a:pt x="7785777" y="746127"/>
                  </a:cubicBezTo>
                  <a:cubicBezTo>
                    <a:pt x="7766926" y="746127"/>
                    <a:pt x="7751645" y="730846"/>
                    <a:pt x="7751645" y="711995"/>
                  </a:cubicBezTo>
                  <a:cubicBezTo>
                    <a:pt x="7751645" y="693144"/>
                    <a:pt x="7766926" y="677863"/>
                    <a:pt x="7785777" y="677863"/>
                  </a:cubicBezTo>
                  <a:close/>
                  <a:moveTo>
                    <a:pt x="7706402" y="677863"/>
                  </a:moveTo>
                  <a:cubicBezTo>
                    <a:pt x="7725253" y="677863"/>
                    <a:pt x="7740534" y="693144"/>
                    <a:pt x="7740534" y="711995"/>
                  </a:cubicBezTo>
                  <a:cubicBezTo>
                    <a:pt x="7740534" y="730846"/>
                    <a:pt x="7725253" y="746127"/>
                    <a:pt x="7706402" y="746127"/>
                  </a:cubicBezTo>
                  <a:cubicBezTo>
                    <a:pt x="7687551" y="746127"/>
                    <a:pt x="7672270" y="730846"/>
                    <a:pt x="7672270" y="711995"/>
                  </a:cubicBezTo>
                  <a:cubicBezTo>
                    <a:pt x="7672270" y="693144"/>
                    <a:pt x="7687551" y="677863"/>
                    <a:pt x="7706402" y="677863"/>
                  </a:cubicBezTo>
                  <a:close/>
                  <a:moveTo>
                    <a:pt x="7620677" y="677863"/>
                  </a:moveTo>
                  <a:cubicBezTo>
                    <a:pt x="7639528" y="677863"/>
                    <a:pt x="7654809" y="693144"/>
                    <a:pt x="7654809" y="711995"/>
                  </a:cubicBezTo>
                  <a:cubicBezTo>
                    <a:pt x="7654809" y="730846"/>
                    <a:pt x="7639528" y="746127"/>
                    <a:pt x="7620677" y="746127"/>
                  </a:cubicBezTo>
                  <a:cubicBezTo>
                    <a:pt x="7601826" y="746127"/>
                    <a:pt x="7586545" y="730846"/>
                    <a:pt x="7586545" y="711995"/>
                  </a:cubicBezTo>
                  <a:cubicBezTo>
                    <a:pt x="7586545" y="693144"/>
                    <a:pt x="7601826" y="677863"/>
                    <a:pt x="7620677" y="677863"/>
                  </a:cubicBezTo>
                  <a:close/>
                  <a:moveTo>
                    <a:pt x="7534952" y="677863"/>
                  </a:moveTo>
                  <a:cubicBezTo>
                    <a:pt x="7553803" y="677863"/>
                    <a:pt x="7569084" y="693144"/>
                    <a:pt x="7569084" y="711995"/>
                  </a:cubicBezTo>
                  <a:cubicBezTo>
                    <a:pt x="7569084" y="730846"/>
                    <a:pt x="7553803" y="746127"/>
                    <a:pt x="7534952" y="746127"/>
                  </a:cubicBezTo>
                  <a:cubicBezTo>
                    <a:pt x="7516101" y="746127"/>
                    <a:pt x="7500820" y="730846"/>
                    <a:pt x="7500820" y="711995"/>
                  </a:cubicBezTo>
                  <a:cubicBezTo>
                    <a:pt x="7500820" y="693144"/>
                    <a:pt x="7516101" y="677863"/>
                    <a:pt x="7534952" y="677863"/>
                  </a:cubicBezTo>
                  <a:close/>
                  <a:moveTo>
                    <a:pt x="7449227" y="677863"/>
                  </a:moveTo>
                  <a:cubicBezTo>
                    <a:pt x="7468078" y="677863"/>
                    <a:pt x="7483359" y="693144"/>
                    <a:pt x="7483359" y="711995"/>
                  </a:cubicBezTo>
                  <a:cubicBezTo>
                    <a:pt x="7483359" y="730846"/>
                    <a:pt x="7468078" y="746127"/>
                    <a:pt x="7449227" y="746127"/>
                  </a:cubicBezTo>
                  <a:cubicBezTo>
                    <a:pt x="7430376" y="746127"/>
                    <a:pt x="7415095" y="730846"/>
                    <a:pt x="7415095" y="711995"/>
                  </a:cubicBezTo>
                  <a:cubicBezTo>
                    <a:pt x="7415095" y="693144"/>
                    <a:pt x="7430376" y="677863"/>
                    <a:pt x="7449227" y="677863"/>
                  </a:cubicBezTo>
                  <a:close/>
                  <a:moveTo>
                    <a:pt x="7366677" y="677863"/>
                  </a:moveTo>
                  <a:cubicBezTo>
                    <a:pt x="7387281" y="677863"/>
                    <a:pt x="7403984" y="693144"/>
                    <a:pt x="7403984" y="711995"/>
                  </a:cubicBezTo>
                  <a:cubicBezTo>
                    <a:pt x="7403984" y="730846"/>
                    <a:pt x="7387281" y="746127"/>
                    <a:pt x="7366677" y="746127"/>
                  </a:cubicBezTo>
                  <a:cubicBezTo>
                    <a:pt x="7346073" y="746127"/>
                    <a:pt x="7329370" y="730846"/>
                    <a:pt x="7329370" y="711995"/>
                  </a:cubicBezTo>
                  <a:cubicBezTo>
                    <a:pt x="7329370" y="693144"/>
                    <a:pt x="7346073" y="677863"/>
                    <a:pt x="7366677" y="677863"/>
                  </a:cubicBezTo>
                  <a:close/>
                  <a:moveTo>
                    <a:pt x="7284127" y="677863"/>
                  </a:moveTo>
                  <a:cubicBezTo>
                    <a:pt x="7302978" y="677863"/>
                    <a:pt x="7318259" y="693144"/>
                    <a:pt x="7318259" y="711995"/>
                  </a:cubicBezTo>
                  <a:cubicBezTo>
                    <a:pt x="7318259" y="730846"/>
                    <a:pt x="7302978" y="746127"/>
                    <a:pt x="7284127" y="746127"/>
                  </a:cubicBezTo>
                  <a:cubicBezTo>
                    <a:pt x="7265276" y="746127"/>
                    <a:pt x="7249995" y="730846"/>
                    <a:pt x="7249995" y="711995"/>
                  </a:cubicBezTo>
                  <a:cubicBezTo>
                    <a:pt x="7249995" y="693144"/>
                    <a:pt x="7265276" y="677863"/>
                    <a:pt x="7284127" y="677863"/>
                  </a:cubicBezTo>
                  <a:close/>
                  <a:moveTo>
                    <a:pt x="7198402" y="677863"/>
                  </a:moveTo>
                  <a:cubicBezTo>
                    <a:pt x="7217253" y="677863"/>
                    <a:pt x="7232534" y="693144"/>
                    <a:pt x="7232534" y="711995"/>
                  </a:cubicBezTo>
                  <a:cubicBezTo>
                    <a:pt x="7232534" y="730846"/>
                    <a:pt x="7217253" y="746127"/>
                    <a:pt x="7198402" y="746127"/>
                  </a:cubicBezTo>
                  <a:cubicBezTo>
                    <a:pt x="7179551" y="746127"/>
                    <a:pt x="7164270" y="730846"/>
                    <a:pt x="7164270" y="711995"/>
                  </a:cubicBezTo>
                  <a:cubicBezTo>
                    <a:pt x="7164270" y="693144"/>
                    <a:pt x="7179551" y="677863"/>
                    <a:pt x="7198402" y="677863"/>
                  </a:cubicBezTo>
                  <a:close/>
                  <a:moveTo>
                    <a:pt x="7112677" y="677863"/>
                  </a:moveTo>
                  <a:cubicBezTo>
                    <a:pt x="7131528" y="677863"/>
                    <a:pt x="7146809" y="693144"/>
                    <a:pt x="7146809" y="711995"/>
                  </a:cubicBezTo>
                  <a:cubicBezTo>
                    <a:pt x="7146809" y="730846"/>
                    <a:pt x="7131528" y="746127"/>
                    <a:pt x="7112677" y="746127"/>
                  </a:cubicBezTo>
                  <a:cubicBezTo>
                    <a:pt x="7093826" y="746127"/>
                    <a:pt x="7078545" y="730846"/>
                    <a:pt x="7078545" y="711995"/>
                  </a:cubicBezTo>
                  <a:cubicBezTo>
                    <a:pt x="7078545" y="693144"/>
                    <a:pt x="7093826" y="677863"/>
                    <a:pt x="7112677" y="677863"/>
                  </a:cubicBezTo>
                  <a:close/>
                  <a:moveTo>
                    <a:pt x="7027745" y="677863"/>
                  </a:moveTo>
                  <a:cubicBezTo>
                    <a:pt x="7047034" y="677863"/>
                    <a:pt x="7062670" y="693144"/>
                    <a:pt x="7062670" y="711995"/>
                  </a:cubicBezTo>
                  <a:cubicBezTo>
                    <a:pt x="7062670" y="730846"/>
                    <a:pt x="7047034" y="746127"/>
                    <a:pt x="7027745" y="746127"/>
                  </a:cubicBezTo>
                  <a:cubicBezTo>
                    <a:pt x="7008456" y="746127"/>
                    <a:pt x="6992820" y="730846"/>
                    <a:pt x="6992820" y="711995"/>
                  </a:cubicBezTo>
                  <a:cubicBezTo>
                    <a:pt x="6992820" y="693144"/>
                    <a:pt x="7008456" y="677863"/>
                    <a:pt x="7027745" y="677863"/>
                  </a:cubicBezTo>
                  <a:close/>
                  <a:moveTo>
                    <a:pt x="6947577" y="677863"/>
                  </a:moveTo>
                  <a:cubicBezTo>
                    <a:pt x="6966428" y="677863"/>
                    <a:pt x="6981709" y="693144"/>
                    <a:pt x="6981709" y="711995"/>
                  </a:cubicBezTo>
                  <a:cubicBezTo>
                    <a:pt x="6981709" y="730846"/>
                    <a:pt x="6966428" y="746127"/>
                    <a:pt x="6947577" y="746127"/>
                  </a:cubicBezTo>
                  <a:cubicBezTo>
                    <a:pt x="6928726" y="746127"/>
                    <a:pt x="6913445" y="730846"/>
                    <a:pt x="6913445" y="711995"/>
                  </a:cubicBezTo>
                  <a:cubicBezTo>
                    <a:pt x="6913445" y="693144"/>
                    <a:pt x="6928726" y="677863"/>
                    <a:pt x="6947577" y="677863"/>
                  </a:cubicBezTo>
                  <a:close/>
                  <a:moveTo>
                    <a:pt x="6691195" y="677863"/>
                  </a:moveTo>
                  <a:cubicBezTo>
                    <a:pt x="6710484" y="677863"/>
                    <a:pt x="6726120" y="693144"/>
                    <a:pt x="6726120" y="711995"/>
                  </a:cubicBezTo>
                  <a:cubicBezTo>
                    <a:pt x="6726120" y="730846"/>
                    <a:pt x="6710484" y="746127"/>
                    <a:pt x="6691195" y="746127"/>
                  </a:cubicBezTo>
                  <a:cubicBezTo>
                    <a:pt x="6671906" y="746127"/>
                    <a:pt x="6656270" y="730846"/>
                    <a:pt x="6656270" y="711995"/>
                  </a:cubicBezTo>
                  <a:cubicBezTo>
                    <a:pt x="6656270" y="693144"/>
                    <a:pt x="6671906" y="677863"/>
                    <a:pt x="6691195" y="677863"/>
                  </a:cubicBezTo>
                  <a:close/>
                  <a:moveTo>
                    <a:pt x="6353852" y="677863"/>
                  </a:moveTo>
                  <a:cubicBezTo>
                    <a:pt x="6372703" y="677863"/>
                    <a:pt x="6387984" y="693144"/>
                    <a:pt x="6387984" y="711995"/>
                  </a:cubicBezTo>
                  <a:cubicBezTo>
                    <a:pt x="6387984" y="730846"/>
                    <a:pt x="6372703" y="746127"/>
                    <a:pt x="6353852" y="746127"/>
                  </a:cubicBezTo>
                  <a:cubicBezTo>
                    <a:pt x="6335001" y="746127"/>
                    <a:pt x="6319720" y="730846"/>
                    <a:pt x="6319720" y="711995"/>
                  </a:cubicBezTo>
                  <a:cubicBezTo>
                    <a:pt x="6319720" y="693144"/>
                    <a:pt x="6335001" y="677863"/>
                    <a:pt x="6353852" y="677863"/>
                  </a:cubicBezTo>
                  <a:close/>
                  <a:moveTo>
                    <a:pt x="4415515" y="677863"/>
                  </a:moveTo>
                  <a:cubicBezTo>
                    <a:pt x="4434366" y="677863"/>
                    <a:pt x="4449647" y="693144"/>
                    <a:pt x="4449647" y="711995"/>
                  </a:cubicBezTo>
                  <a:cubicBezTo>
                    <a:pt x="4449647" y="730846"/>
                    <a:pt x="4434366" y="746127"/>
                    <a:pt x="4415515" y="746127"/>
                  </a:cubicBezTo>
                  <a:cubicBezTo>
                    <a:pt x="4396664" y="746127"/>
                    <a:pt x="4381383" y="730846"/>
                    <a:pt x="4381383" y="711995"/>
                  </a:cubicBezTo>
                  <a:cubicBezTo>
                    <a:pt x="4381383" y="693144"/>
                    <a:pt x="4396664" y="677863"/>
                    <a:pt x="4415515" y="677863"/>
                  </a:cubicBezTo>
                  <a:close/>
                  <a:moveTo>
                    <a:pt x="4248827" y="677863"/>
                  </a:moveTo>
                  <a:cubicBezTo>
                    <a:pt x="4267678" y="677863"/>
                    <a:pt x="4282959" y="693144"/>
                    <a:pt x="4282959" y="711995"/>
                  </a:cubicBezTo>
                  <a:cubicBezTo>
                    <a:pt x="4282959" y="730846"/>
                    <a:pt x="4267678" y="746127"/>
                    <a:pt x="4248827" y="746127"/>
                  </a:cubicBezTo>
                  <a:cubicBezTo>
                    <a:pt x="4229976" y="746127"/>
                    <a:pt x="4214695" y="730846"/>
                    <a:pt x="4214695" y="711995"/>
                  </a:cubicBezTo>
                  <a:cubicBezTo>
                    <a:pt x="4214695" y="693144"/>
                    <a:pt x="4229976" y="677863"/>
                    <a:pt x="4248827" y="677863"/>
                  </a:cubicBezTo>
                  <a:close/>
                  <a:moveTo>
                    <a:pt x="4163895" y="677863"/>
                  </a:moveTo>
                  <a:cubicBezTo>
                    <a:pt x="4183184" y="677863"/>
                    <a:pt x="4198820" y="693144"/>
                    <a:pt x="4198820" y="711995"/>
                  </a:cubicBezTo>
                  <a:cubicBezTo>
                    <a:pt x="4198820" y="730846"/>
                    <a:pt x="4183184" y="746127"/>
                    <a:pt x="4163895" y="746127"/>
                  </a:cubicBezTo>
                  <a:cubicBezTo>
                    <a:pt x="4144606" y="746127"/>
                    <a:pt x="4128970" y="730846"/>
                    <a:pt x="4128970" y="711995"/>
                  </a:cubicBezTo>
                  <a:cubicBezTo>
                    <a:pt x="4128970" y="693144"/>
                    <a:pt x="4144606" y="677863"/>
                    <a:pt x="4163895" y="677863"/>
                  </a:cubicBezTo>
                  <a:close/>
                  <a:moveTo>
                    <a:pt x="4078170" y="677863"/>
                  </a:moveTo>
                  <a:cubicBezTo>
                    <a:pt x="4097459" y="677863"/>
                    <a:pt x="4113095" y="693144"/>
                    <a:pt x="4113095" y="711995"/>
                  </a:cubicBezTo>
                  <a:cubicBezTo>
                    <a:pt x="4113095" y="730846"/>
                    <a:pt x="4097459" y="746127"/>
                    <a:pt x="4078170" y="746127"/>
                  </a:cubicBezTo>
                  <a:cubicBezTo>
                    <a:pt x="4058881" y="746127"/>
                    <a:pt x="4043245" y="730846"/>
                    <a:pt x="4043245" y="711995"/>
                  </a:cubicBezTo>
                  <a:cubicBezTo>
                    <a:pt x="4043245" y="693144"/>
                    <a:pt x="4058881" y="677863"/>
                    <a:pt x="4078170" y="677863"/>
                  </a:cubicBezTo>
                  <a:close/>
                  <a:moveTo>
                    <a:pt x="3993240" y="677863"/>
                  </a:moveTo>
                  <a:cubicBezTo>
                    <a:pt x="4012091" y="677863"/>
                    <a:pt x="4027372" y="693144"/>
                    <a:pt x="4027372" y="711995"/>
                  </a:cubicBezTo>
                  <a:cubicBezTo>
                    <a:pt x="4027372" y="730846"/>
                    <a:pt x="4012091" y="746127"/>
                    <a:pt x="3993240" y="746127"/>
                  </a:cubicBezTo>
                  <a:cubicBezTo>
                    <a:pt x="3974389" y="746127"/>
                    <a:pt x="3959108" y="730846"/>
                    <a:pt x="3959108" y="711995"/>
                  </a:cubicBezTo>
                  <a:cubicBezTo>
                    <a:pt x="3959108" y="693144"/>
                    <a:pt x="3974389" y="677863"/>
                    <a:pt x="3993240" y="677863"/>
                  </a:cubicBezTo>
                  <a:close/>
                  <a:moveTo>
                    <a:pt x="3912277" y="677863"/>
                  </a:moveTo>
                  <a:cubicBezTo>
                    <a:pt x="3931128" y="677863"/>
                    <a:pt x="3946409" y="693144"/>
                    <a:pt x="3946409" y="711995"/>
                  </a:cubicBezTo>
                  <a:cubicBezTo>
                    <a:pt x="3946409" y="730846"/>
                    <a:pt x="3931128" y="746127"/>
                    <a:pt x="3912277" y="746127"/>
                  </a:cubicBezTo>
                  <a:cubicBezTo>
                    <a:pt x="3893426" y="746127"/>
                    <a:pt x="3878145" y="730846"/>
                    <a:pt x="3878145" y="711995"/>
                  </a:cubicBezTo>
                  <a:cubicBezTo>
                    <a:pt x="3878145" y="693144"/>
                    <a:pt x="3893426" y="677863"/>
                    <a:pt x="3912277" y="677863"/>
                  </a:cubicBezTo>
                  <a:close/>
                  <a:moveTo>
                    <a:pt x="3826552" y="677863"/>
                  </a:moveTo>
                  <a:cubicBezTo>
                    <a:pt x="3845403" y="677863"/>
                    <a:pt x="3860684" y="693144"/>
                    <a:pt x="3860684" y="711995"/>
                  </a:cubicBezTo>
                  <a:cubicBezTo>
                    <a:pt x="3860684" y="730846"/>
                    <a:pt x="3845403" y="746127"/>
                    <a:pt x="3826552" y="746127"/>
                  </a:cubicBezTo>
                  <a:cubicBezTo>
                    <a:pt x="3807701" y="746127"/>
                    <a:pt x="3792420" y="730846"/>
                    <a:pt x="3792420" y="711995"/>
                  </a:cubicBezTo>
                  <a:cubicBezTo>
                    <a:pt x="3792420" y="693144"/>
                    <a:pt x="3807701" y="677863"/>
                    <a:pt x="3826552" y="677863"/>
                  </a:cubicBezTo>
                  <a:close/>
                  <a:moveTo>
                    <a:pt x="3741620" y="677863"/>
                  </a:moveTo>
                  <a:cubicBezTo>
                    <a:pt x="3760909" y="677863"/>
                    <a:pt x="3776545" y="693144"/>
                    <a:pt x="3776545" y="711995"/>
                  </a:cubicBezTo>
                  <a:cubicBezTo>
                    <a:pt x="3776545" y="730846"/>
                    <a:pt x="3760909" y="746127"/>
                    <a:pt x="3741620" y="746127"/>
                  </a:cubicBezTo>
                  <a:cubicBezTo>
                    <a:pt x="3722331" y="746127"/>
                    <a:pt x="3706695" y="730846"/>
                    <a:pt x="3706695" y="711995"/>
                  </a:cubicBezTo>
                  <a:cubicBezTo>
                    <a:pt x="3706695" y="693144"/>
                    <a:pt x="3722331" y="677863"/>
                    <a:pt x="3741620" y="677863"/>
                  </a:cubicBezTo>
                  <a:close/>
                  <a:moveTo>
                    <a:pt x="3656690" y="677863"/>
                  </a:moveTo>
                  <a:cubicBezTo>
                    <a:pt x="3675541" y="677863"/>
                    <a:pt x="3690822" y="693144"/>
                    <a:pt x="3690822" y="711995"/>
                  </a:cubicBezTo>
                  <a:cubicBezTo>
                    <a:pt x="3690822" y="730846"/>
                    <a:pt x="3675541" y="746127"/>
                    <a:pt x="3656690" y="746127"/>
                  </a:cubicBezTo>
                  <a:cubicBezTo>
                    <a:pt x="3637839" y="746127"/>
                    <a:pt x="3622558" y="730846"/>
                    <a:pt x="3622558" y="711995"/>
                  </a:cubicBezTo>
                  <a:cubicBezTo>
                    <a:pt x="3622558" y="693144"/>
                    <a:pt x="3637839" y="677863"/>
                    <a:pt x="3656690" y="677863"/>
                  </a:cubicBezTo>
                  <a:close/>
                  <a:moveTo>
                    <a:pt x="3320140" y="677863"/>
                  </a:moveTo>
                  <a:cubicBezTo>
                    <a:pt x="3338991" y="677863"/>
                    <a:pt x="3354272" y="693144"/>
                    <a:pt x="3354272" y="711995"/>
                  </a:cubicBezTo>
                  <a:cubicBezTo>
                    <a:pt x="3354272" y="730846"/>
                    <a:pt x="3338991" y="746127"/>
                    <a:pt x="3320140" y="746127"/>
                  </a:cubicBezTo>
                  <a:cubicBezTo>
                    <a:pt x="3301289" y="746127"/>
                    <a:pt x="3286008" y="730846"/>
                    <a:pt x="3286008" y="711995"/>
                  </a:cubicBezTo>
                  <a:cubicBezTo>
                    <a:pt x="3286008" y="693144"/>
                    <a:pt x="3301289" y="677863"/>
                    <a:pt x="3320140" y="677863"/>
                  </a:cubicBezTo>
                  <a:close/>
                  <a:moveTo>
                    <a:pt x="3234415" y="677863"/>
                  </a:moveTo>
                  <a:cubicBezTo>
                    <a:pt x="3253266" y="677863"/>
                    <a:pt x="3268547" y="693144"/>
                    <a:pt x="3268547" y="711995"/>
                  </a:cubicBezTo>
                  <a:cubicBezTo>
                    <a:pt x="3268547" y="730846"/>
                    <a:pt x="3253266" y="746127"/>
                    <a:pt x="3234415" y="746127"/>
                  </a:cubicBezTo>
                  <a:cubicBezTo>
                    <a:pt x="3215564" y="746127"/>
                    <a:pt x="3200283" y="730846"/>
                    <a:pt x="3200283" y="711995"/>
                  </a:cubicBezTo>
                  <a:cubicBezTo>
                    <a:pt x="3200283" y="693144"/>
                    <a:pt x="3215564" y="677863"/>
                    <a:pt x="3234415" y="677863"/>
                  </a:cubicBezTo>
                  <a:close/>
                  <a:moveTo>
                    <a:pt x="2897865" y="677863"/>
                  </a:moveTo>
                  <a:cubicBezTo>
                    <a:pt x="2916716" y="677863"/>
                    <a:pt x="2931997" y="693144"/>
                    <a:pt x="2931997" y="711995"/>
                  </a:cubicBezTo>
                  <a:cubicBezTo>
                    <a:pt x="2931997" y="730846"/>
                    <a:pt x="2916716" y="746127"/>
                    <a:pt x="2897865" y="746127"/>
                  </a:cubicBezTo>
                  <a:cubicBezTo>
                    <a:pt x="2879014" y="746127"/>
                    <a:pt x="2863733" y="730846"/>
                    <a:pt x="2863733" y="711995"/>
                  </a:cubicBezTo>
                  <a:cubicBezTo>
                    <a:pt x="2863733" y="693144"/>
                    <a:pt x="2879014" y="677863"/>
                    <a:pt x="2897865" y="677863"/>
                  </a:cubicBezTo>
                  <a:close/>
                  <a:moveTo>
                    <a:pt x="2732006" y="677863"/>
                  </a:moveTo>
                  <a:cubicBezTo>
                    <a:pt x="2751295" y="677863"/>
                    <a:pt x="2766931" y="693144"/>
                    <a:pt x="2766931" y="711995"/>
                  </a:cubicBezTo>
                  <a:cubicBezTo>
                    <a:pt x="2766931" y="730846"/>
                    <a:pt x="2751295" y="746127"/>
                    <a:pt x="2732006" y="746127"/>
                  </a:cubicBezTo>
                  <a:cubicBezTo>
                    <a:pt x="2712717" y="746127"/>
                    <a:pt x="2697081" y="730846"/>
                    <a:pt x="2697081" y="711995"/>
                  </a:cubicBezTo>
                  <a:cubicBezTo>
                    <a:pt x="2697081" y="693144"/>
                    <a:pt x="2712717" y="677863"/>
                    <a:pt x="2732006" y="677863"/>
                  </a:cubicBezTo>
                  <a:close/>
                  <a:moveTo>
                    <a:pt x="2646281" y="677863"/>
                  </a:moveTo>
                  <a:cubicBezTo>
                    <a:pt x="2665571" y="677863"/>
                    <a:pt x="2681205" y="693144"/>
                    <a:pt x="2681205" y="711995"/>
                  </a:cubicBezTo>
                  <a:cubicBezTo>
                    <a:pt x="2681205" y="730846"/>
                    <a:pt x="2665571" y="746127"/>
                    <a:pt x="2646281" y="746127"/>
                  </a:cubicBezTo>
                  <a:cubicBezTo>
                    <a:pt x="2626992" y="746127"/>
                    <a:pt x="2611356" y="730846"/>
                    <a:pt x="2611356" y="711995"/>
                  </a:cubicBezTo>
                  <a:cubicBezTo>
                    <a:pt x="2611356" y="693144"/>
                    <a:pt x="2626992" y="677863"/>
                    <a:pt x="2646281" y="677863"/>
                  </a:cubicBezTo>
                  <a:close/>
                  <a:moveTo>
                    <a:pt x="2561353" y="677863"/>
                  </a:moveTo>
                  <a:cubicBezTo>
                    <a:pt x="2580204" y="677863"/>
                    <a:pt x="2595485" y="693144"/>
                    <a:pt x="2595485" y="711995"/>
                  </a:cubicBezTo>
                  <a:cubicBezTo>
                    <a:pt x="2595485" y="730846"/>
                    <a:pt x="2580204" y="746127"/>
                    <a:pt x="2561353" y="746127"/>
                  </a:cubicBezTo>
                  <a:cubicBezTo>
                    <a:pt x="2542501" y="746127"/>
                    <a:pt x="2527221" y="730846"/>
                    <a:pt x="2527221" y="711995"/>
                  </a:cubicBezTo>
                  <a:cubicBezTo>
                    <a:pt x="2527221" y="693144"/>
                    <a:pt x="2542501" y="677863"/>
                    <a:pt x="2561353" y="677863"/>
                  </a:cubicBezTo>
                  <a:close/>
                  <a:moveTo>
                    <a:pt x="2475628" y="677863"/>
                  </a:moveTo>
                  <a:cubicBezTo>
                    <a:pt x="2494480" y="677863"/>
                    <a:pt x="2509761" y="693144"/>
                    <a:pt x="2509761" y="711995"/>
                  </a:cubicBezTo>
                  <a:cubicBezTo>
                    <a:pt x="2509761" y="730846"/>
                    <a:pt x="2494480" y="746127"/>
                    <a:pt x="2475628" y="746127"/>
                  </a:cubicBezTo>
                  <a:cubicBezTo>
                    <a:pt x="2456777" y="746127"/>
                    <a:pt x="2441497" y="730846"/>
                    <a:pt x="2441497" y="711995"/>
                  </a:cubicBezTo>
                  <a:cubicBezTo>
                    <a:pt x="2441497" y="693144"/>
                    <a:pt x="2456777" y="677863"/>
                    <a:pt x="2475628" y="677863"/>
                  </a:cubicBezTo>
                  <a:close/>
                  <a:moveTo>
                    <a:pt x="2394666" y="677863"/>
                  </a:moveTo>
                  <a:cubicBezTo>
                    <a:pt x="2413516" y="677863"/>
                    <a:pt x="2428798" y="693144"/>
                    <a:pt x="2428798" y="711995"/>
                  </a:cubicBezTo>
                  <a:cubicBezTo>
                    <a:pt x="2428798" y="730846"/>
                    <a:pt x="2413516" y="746127"/>
                    <a:pt x="2394666" y="746127"/>
                  </a:cubicBezTo>
                  <a:cubicBezTo>
                    <a:pt x="2375814" y="746127"/>
                    <a:pt x="2360533" y="730846"/>
                    <a:pt x="2360533" y="711995"/>
                  </a:cubicBezTo>
                  <a:cubicBezTo>
                    <a:pt x="2360533" y="693144"/>
                    <a:pt x="2375814" y="677863"/>
                    <a:pt x="2394666" y="677863"/>
                  </a:cubicBezTo>
                  <a:close/>
                  <a:moveTo>
                    <a:pt x="2309733" y="677863"/>
                  </a:moveTo>
                  <a:cubicBezTo>
                    <a:pt x="2329020" y="677863"/>
                    <a:pt x="2344659" y="693144"/>
                    <a:pt x="2344659" y="711995"/>
                  </a:cubicBezTo>
                  <a:cubicBezTo>
                    <a:pt x="2344659" y="730846"/>
                    <a:pt x="2329020" y="746127"/>
                    <a:pt x="2309733" y="746127"/>
                  </a:cubicBezTo>
                  <a:cubicBezTo>
                    <a:pt x="2290444" y="746127"/>
                    <a:pt x="2274806" y="730846"/>
                    <a:pt x="2274806" y="711995"/>
                  </a:cubicBezTo>
                  <a:cubicBezTo>
                    <a:pt x="2274806" y="693144"/>
                    <a:pt x="2290444" y="677863"/>
                    <a:pt x="2309733" y="677863"/>
                  </a:cubicBezTo>
                  <a:close/>
                  <a:moveTo>
                    <a:pt x="2224804" y="677863"/>
                  </a:moveTo>
                  <a:cubicBezTo>
                    <a:pt x="2243656" y="677863"/>
                    <a:pt x="2258936" y="693144"/>
                    <a:pt x="2258936" y="711995"/>
                  </a:cubicBezTo>
                  <a:cubicBezTo>
                    <a:pt x="2258936" y="730846"/>
                    <a:pt x="2243656" y="746127"/>
                    <a:pt x="2224804" y="746127"/>
                  </a:cubicBezTo>
                  <a:cubicBezTo>
                    <a:pt x="2205953" y="746127"/>
                    <a:pt x="2190671" y="730846"/>
                    <a:pt x="2190671" y="711995"/>
                  </a:cubicBezTo>
                  <a:cubicBezTo>
                    <a:pt x="2190671" y="693144"/>
                    <a:pt x="2205953" y="677863"/>
                    <a:pt x="2224804" y="677863"/>
                  </a:cubicBezTo>
                  <a:close/>
                  <a:moveTo>
                    <a:pt x="2139081" y="677863"/>
                  </a:moveTo>
                  <a:cubicBezTo>
                    <a:pt x="2157932" y="677863"/>
                    <a:pt x="2173212" y="693144"/>
                    <a:pt x="2173212" y="711995"/>
                  </a:cubicBezTo>
                  <a:cubicBezTo>
                    <a:pt x="2173212" y="730846"/>
                    <a:pt x="2157932" y="746127"/>
                    <a:pt x="2139081" y="746127"/>
                  </a:cubicBezTo>
                  <a:cubicBezTo>
                    <a:pt x="2120230" y="746127"/>
                    <a:pt x="2104949" y="730846"/>
                    <a:pt x="2104949" y="711995"/>
                  </a:cubicBezTo>
                  <a:cubicBezTo>
                    <a:pt x="2104949" y="693144"/>
                    <a:pt x="2120230" y="677863"/>
                    <a:pt x="2139081" y="677863"/>
                  </a:cubicBezTo>
                  <a:close/>
                  <a:moveTo>
                    <a:pt x="2055738" y="677863"/>
                  </a:moveTo>
                  <a:cubicBezTo>
                    <a:pt x="2075903" y="677863"/>
                    <a:pt x="2092250" y="693144"/>
                    <a:pt x="2092250" y="711995"/>
                  </a:cubicBezTo>
                  <a:cubicBezTo>
                    <a:pt x="2092250" y="730846"/>
                    <a:pt x="2075903" y="746127"/>
                    <a:pt x="2055738" y="746127"/>
                  </a:cubicBezTo>
                  <a:cubicBezTo>
                    <a:pt x="2035572" y="746127"/>
                    <a:pt x="2019226" y="730846"/>
                    <a:pt x="2019226" y="711995"/>
                  </a:cubicBezTo>
                  <a:cubicBezTo>
                    <a:pt x="2019226" y="693144"/>
                    <a:pt x="2035572" y="677863"/>
                    <a:pt x="2055738" y="677863"/>
                  </a:cubicBezTo>
                  <a:close/>
                  <a:moveTo>
                    <a:pt x="1802519" y="677863"/>
                  </a:moveTo>
                  <a:cubicBezTo>
                    <a:pt x="1821370" y="677863"/>
                    <a:pt x="1836651" y="693144"/>
                    <a:pt x="1836651" y="711995"/>
                  </a:cubicBezTo>
                  <a:cubicBezTo>
                    <a:pt x="1836651" y="730846"/>
                    <a:pt x="1821370" y="746127"/>
                    <a:pt x="1802519" y="746127"/>
                  </a:cubicBezTo>
                  <a:cubicBezTo>
                    <a:pt x="1783668" y="746127"/>
                    <a:pt x="1768387" y="730846"/>
                    <a:pt x="1768387" y="711995"/>
                  </a:cubicBezTo>
                  <a:cubicBezTo>
                    <a:pt x="1768387" y="693144"/>
                    <a:pt x="1783668" y="677863"/>
                    <a:pt x="1802519" y="677863"/>
                  </a:cubicBezTo>
                  <a:close/>
                  <a:moveTo>
                    <a:pt x="1719175" y="677863"/>
                  </a:moveTo>
                  <a:cubicBezTo>
                    <a:pt x="1739341" y="677863"/>
                    <a:pt x="1755688" y="693144"/>
                    <a:pt x="1755688" y="711995"/>
                  </a:cubicBezTo>
                  <a:cubicBezTo>
                    <a:pt x="1755688" y="730846"/>
                    <a:pt x="1739341" y="746127"/>
                    <a:pt x="1719175" y="746127"/>
                  </a:cubicBezTo>
                  <a:cubicBezTo>
                    <a:pt x="1699010" y="746127"/>
                    <a:pt x="1682663" y="730846"/>
                    <a:pt x="1682663" y="711995"/>
                  </a:cubicBezTo>
                  <a:cubicBezTo>
                    <a:pt x="1682663" y="693144"/>
                    <a:pt x="1699010" y="677863"/>
                    <a:pt x="1719175" y="677863"/>
                  </a:cubicBezTo>
                  <a:close/>
                  <a:moveTo>
                    <a:pt x="1636620" y="677863"/>
                  </a:moveTo>
                  <a:cubicBezTo>
                    <a:pt x="1655910" y="677863"/>
                    <a:pt x="1671546" y="693144"/>
                    <a:pt x="1671546" y="711995"/>
                  </a:cubicBezTo>
                  <a:cubicBezTo>
                    <a:pt x="1671546" y="730846"/>
                    <a:pt x="1655910" y="746127"/>
                    <a:pt x="1636620" y="746127"/>
                  </a:cubicBezTo>
                  <a:cubicBezTo>
                    <a:pt x="1617332" y="746127"/>
                    <a:pt x="1601695" y="730846"/>
                    <a:pt x="1601695" y="711995"/>
                  </a:cubicBezTo>
                  <a:cubicBezTo>
                    <a:pt x="1601695" y="693144"/>
                    <a:pt x="1617332" y="677863"/>
                    <a:pt x="1636620" y="677863"/>
                  </a:cubicBezTo>
                  <a:close/>
                  <a:moveTo>
                    <a:pt x="1551691" y="677863"/>
                  </a:moveTo>
                  <a:cubicBezTo>
                    <a:pt x="1570542" y="677863"/>
                    <a:pt x="1585823" y="693144"/>
                    <a:pt x="1585823" y="711995"/>
                  </a:cubicBezTo>
                  <a:cubicBezTo>
                    <a:pt x="1585823" y="730846"/>
                    <a:pt x="1570542" y="746127"/>
                    <a:pt x="1551691" y="746127"/>
                  </a:cubicBezTo>
                  <a:cubicBezTo>
                    <a:pt x="1532839" y="746127"/>
                    <a:pt x="1517558" y="730846"/>
                    <a:pt x="1517558" y="711995"/>
                  </a:cubicBezTo>
                  <a:cubicBezTo>
                    <a:pt x="1517558" y="693144"/>
                    <a:pt x="1532839" y="677863"/>
                    <a:pt x="1551691" y="677863"/>
                  </a:cubicBezTo>
                  <a:close/>
                  <a:moveTo>
                    <a:pt x="1465965" y="677863"/>
                  </a:moveTo>
                  <a:cubicBezTo>
                    <a:pt x="1484816" y="677863"/>
                    <a:pt x="1500097" y="693144"/>
                    <a:pt x="1500097" y="711995"/>
                  </a:cubicBezTo>
                  <a:cubicBezTo>
                    <a:pt x="1500097" y="730846"/>
                    <a:pt x="1484816" y="746127"/>
                    <a:pt x="1465965" y="746127"/>
                  </a:cubicBezTo>
                  <a:cubicBezTo>
                    <a:pt x="1447114" y="746127"/>
                    <a:pt x="1431832" y="730846"/>
                    <a:pt x="1431832" y="711995"/>
                  </a:cubicBezTo>
                  <a:cubicBezTo>
                    <a:pt x="1431832" y="693144"/>
                    <a:pt x="1447114" y="677863"/>
                    <a:pt x="1465965" y="677863"/>
                  </a:cubicBezTo>
                  <a:close/>
                  <a:moveTo>
                    <a:pt x="1380239" y="677863"/>
                  </a:moveTo>
                  <a:cubicBezTo>
                    <a:pt x="1399090" y="677863"/>
                    <a:pt x="1414372" y="693144"/>
                    <a:pt x="1414372" y="711995"/>
                  </a:cubicBezTo>
                  <a:cubicBezTo>
                    <a:pt x="1414372" y="730846"/>
                    <a:pt x="1399090" y="746127"/>
                    <a:pt x="1380239" y="746127"/>
                  </a:cubicBezTo>
                  <a:cubicBezTo>
                    <a:pt x="1361388" y="746127"/>
                    <a:pt x="1346107" y="730846"/>
                    <a:pt x="1346107" y="711995"/>
                  </a:cubicBezTo>
                  <a:cubicBezTo>
                    <a:pt x="1346107" y="693144"/>
                    <a:pt x="1361388" y="677863"/>
                    <a:pt x="1380239" y="677863"/>
                  </a:cubicBezTo>
                  <a:close/>
                  <a:moveTo>
                    <a:pt x="1300069" y="677863"/>
                  </a:moveTo>
                  <a:cubicBezTo>
                    <a:pt x="1319358" y="677863"/>
                    <a:pt x="1334994" y="693144"/>
                    <a:pt x="1334994" y="711995"/>
                  </a:cubicBezTo>
                  <a:cubicBezTo>
                    <a:pt x="1334994" y="730846"/>
                    <a:pt x="1319358" y="746127"/>
                    <a:pt x="1300069" y="746127"/>
                  </a:cubicBezTo>
                  <a:cubicBezTo>
                    <a:pt x="1280779" y="746127"/>
                    <a:pt x="1265143" y="730846"/>
                    <a:pt x="1265143" y="711995"/>
                  </a:cubicBezTo>
                  <a:cubicBezTo>
                    <a:pt x="1265143" y="693144"/>
                    <a:pt x="1280779" y="677863"/>
                    <a:pt x="1300069" y="677863"/>
                  </a:cubicBezTo>
                  <a:close/>
                  <a:moveTo>
                    <a:pt x="1214323" y="677863"/>
                  </a:moveTo>
                  <a:cubicBezTo>
                    <a:pt x="1233612" y="677863"/>
                    <a:pt x="1249248" y="693144"/>
                    <a:pt x="1249248" y="711995"/>
                  </a:cubicBezTo>
                  <a:cubicBezTo>
                    <a:pt x="1249248" y="730846"/>
                    <a:pt x="1233612" y="746127"/>
                    <a:pt x="1214323" y="746127"/>
                  </a:cubicBezTo>
                  <a:cubicBezTo>
                    <a:pt x="1195033" y="746127"/>
                    <a:pt x="1179398" y="730846"/>
                    <a:pt x="1179398" y="711995"/>
                  </a:cubicBezTo>
                  <a:cubicBezTo>
                    <a:pt x="1179398" y="693144"/>
                    <a:pt x="1195033" y="677863"/>
                    <a:pt x="1214323" y="677863"/>
                  </a:cubicBezTo>
                  <a:close/>
                  <a:moveTo>
                    <a:pt x="1129391" y="677863"/>
                  </a:moveTo>
                  <a:cubicBezTo>
                    <a:pt x="1148242" y="677863"/>
                    <a:pt x="1163524" y="693144"/>
                    <a:pt x="1163524" y="711995"/>
                  </a:cubicBezTo>
                  <a:cubicBezTo>
                    <a:pt x="1163524" y="730846"/>
                    <a:pt x="1148242" y="746127"/>
                    <a:pt x="1129391" y="746127"/>
                  </a:cubicBezTo>
                  <a:cubicBezTo>
                    <a:pt x="1110540" y="746127"/>
                    <a:pt x="1095259" y="730846"/>
                    <a:pt x="1095259" y="711995"/>
                  </a:cubicBezTo>
                  <a:cubicBezTo>
                    <a:pt x="1095259" y="693144"/>
                    <a:pt x="1110540" y="677863"/>
                    <a:pt x="1129391" y="677863"/>
                  </a:cubicBezTo>
                  <a:close/>
                  <a:moveTo>
                    <a:pt x="1043844" y="677863"/>
                  </a:moveTo>
                  <a:cubicBezTo>
                    <a:pt x="1062696" y="677863"/>
                    <a:pt x="1077977" y="693144"/>
                    <a:pt x="1077977" y="711995"/>
                  </a:cubicBezTo>
                  <a:cubicBezTo>
                    <a:pt x="1077977" y="730846"/>
                    <a:pt x="1062696" y="746127"/>
                    <a:pt x="1043844" y="746127"/>
                  </a:cubicBezTo>
                  <a:cubicBezTo>
                    <a:pt x="1024991" y="746127"/>
                    <a:pt x="1009710" y="730846"/>
                    <a:pt x="1009710" y="711995"/>
                  </a:cubicBezTo>
                  <a:cubicBezTo>
                    <a:pt x="1009710" y="693144"/>
                    <a:pt x="1024991" y="677863"/>
                    <a:pt x="1043844" y="677863"/>
                  </a:cubicBezTo>
                  <a:close/>
                  <a:moveTo>
                    <a:pt x="960493" y="677863"/>
                  </a:moveTo>
                  <a:cubicBezTo>
                    <a:pt x="980661" y="677863"/>
                    <a:pt x="997009" y="693144"/>
                    <a:pt x="997009" y="711995"/>
                  </a:cubicBezTo>
                  <a:cubicBezTo>
                    <a:pt x="997009" y="730846"/>
                    <a:pt x="980661" y="746127"/>
                    <a:pt x="960493" y="746127"/>
                  </a:cubicBezTo>
                  <a:cubicBezTo>
                    <a:pt x="940325" y="746127"/>
                    <a:pt x="923978" y="730846"/>
                    <a:pt x="923978" y="711995"/>
                  </a:cubicBezTo>
                  <a:cubicBezTo>
                    <a:pt x="923978" y="693144"/>
                    <a:pt x="940325" y="677863"/>
                    <a:pt x="960493" y="677863"/>
                  </a:cubicBezTo>
                  <a:close/>
                  <a:moveTo>
                    <a:pt x="877939" y="677863"/>
                  </a:moveTo>
                  <a:cubicBezTo>
                    <a:pt x="897228" y="677863"/>
                    <a:pt x="912864" y="693144"/>
                    <a:pt x="912864" y="711995"/>
                  </a:cubicBezTo>
                  <a:cubicBezTo>
                    <a:pt x="912864" y="730846"/>
                    <a:pt x="897228" y="746127"/>
                    <a:pt x="877939" y="746127"/>
                  </a:cubicBezTo>
                  <a:cubicBezTo>
                    <a:pt x="858647" y="746127"/>
                    <a:pt x="843014" y="730846"/>
                    <a:pt x="843014" y="711995"/>
                  </a:cubicBezTo>
                  <a:cubicBezTo>
                    <a:pt x="843014" y="693144"/>
                    <a:pt x="858647" y="677863"/>
                    <a:pt x="877939" y="677863"/>
                  </a:cubicBezTo>
                  <a:close/>
                  <a:moveTo>
                    <a:pt x="793002" y="677863"/>
                  </a:moveTo>
                  <a:cubicBezTo>
                    <a:pt x="811858" y="677863"/>
                    <a:pt x="827137" y="693144"/>
                    <a:pt x="827137" y="711995"/>
                  </a:cubicBezTo>
                  <a:cubicBezTo>
                    <a:pt x="827137" y="730846"/>
                    <a:pt x="811858" y="746127"/>
                    <a:pt x="793002" y="746127"/>
                  </a:cubicBezTo>
                  <a:cubicBezTo>
                    <a:pt x="774151" y="746127"/>
                    <a:pt x="758871" y="730846"/>
                    <a:pt x="758871" y="711995"/>
                  </a:cubicBezTo>
                  <a:cubicBezTo>
                    <a:pt x="758871" y="693144"/>
                    <a:pt x="774151" y="677863"/>
                    <a:pt x="793002" y="677863"/>
                  </a:cubicBezTo>
                  <a:close/>
                  <a:moveTo>
                    <a:pt x="707275" y="677863"/>
                  </a:moveTo>
                  <a:cubicBezTo>
                    <a:pt x="726127" y="677863"/>
                    <a:pt x="741409" y="693144"/>
                    <a:pt x="741409" y="711995"/>
                  </a:cubicBezTo>
                  <a:cubicBezTo>
                    <a:pt x="741409" y="730846"/>
                    <a:pt x="726127" y="746127"/>
                    <a:pt x="707275" y="746127"/>
                  </a:cubicBezTo>
                  <a:cubicBezTo>
                    <a:pt x="688422" y="746127"/>
                    <a:pt x="673133" y="730846"/>
                    <a:pt x="673133" y="711995"/>
                  </a:cubicBezTo>
                  <a:cubicBezTo>
                    <a:pt x="673133" y="693144"/>
                    <a:pt x="688422" y="677863"/>
                    <a:pt x="707275" y="677863"/>
                  </a:cubicBezTo>
                  <a:close/>
                  <a:moveTo>
                    <a:pt x="621537" y="677863"/>
                  </a:moveTo>
                  <a:cubicBezTo>
                    <a:pt x="640389" y="677863"/>
                    <a:pt x="655670" y="693144"/>
                    <a:pt x="655670" y="711995"/>
                  </a:cubicBezTo>
                  <a:cubicBezTo>
                    <a:pt x="655670" y="730846"/>
                    <a:pt x="640389" y="746127"/>
                    <a:pt x="621537" y="746127"/>
                  </a:cubicBezTo>
                  <a:cubicBezTo>
                    <a:pt x="602687" y="746127"/>
                    <a:pt x="587405" y="730846"/>
                    <a:pt x="587405" y="711995"/>
                  </a:cubicBezTo>
                  <a:cubicBezTo>
                    <a:pt x="587405" y="693144"/>
                    <a:pt x="602687" y="677863"/>
                    <a:pt x="621537" y="677863"/>
                  </a:cubicBezTo>
                  <a:close/>
                  <a:moveTo>
                    <a:pt x="8966877" y="596900"/>
                  </a:moveTo>
                  <a:cubicBezTo>
                    <a:pt x="8985728" y="596900"/>
                    <a:pt x="9001009" y="612536"/>
                    <a:pt x="9001009" y="631825"/>
                  </a:cubicBezTo>
                  <a:cubicBezTo>
                    <a:pt x="9001009" y="651114"/>
                    <a:pt x="8985728" y="666750"/>
                    <a:pt x="8966877" y="666750"/>
                  </a:cubicBezTo>
                  <a:cubicBezTo>
                    <a:pt x="8948026" y="666750"/>
                    <a:pt x="8932745" y="651114"/>
                    <a:pt x="8932745" y="631825"/>
                  </a:cubicBezTo>
                  <a:cubicBezTo>
                    <a:pt x="8932745" y="612536"/>
                    <a:pt x="8948026" y="596900"/>
                    <a:pt x="8966877" y="596900"/>
                  </a:cubicBezTo>
                  <a:close/>
                  <a:moveTo>
                    <a:pt x="8884327" y="596900"/>
                  </a:moveTo>
                  <a:cubicBezTo>
                    <a:pt x="8904931" y="596900"/>
                    <a:pt x="8921634" y="612536"/>
                    <a:pt x="8921634" y="631825"/>
                  </a:cubicBezTo>
                  <a:cubicBezTo>
                    <a:pt x="8921634" y="651114"/>
                    <a:pt x="8904931" y="666750"/>
                    <a:pt x="8884327" y="666750"/>
                  </a:cubicBezTo>
                  <a:cubicBezTo>
                    <a:pt x="8863723" y="666750"/>
                    <a:pt x="8847020" y="651114"/>
                    <a:pt x="8847020" y="631825"/>
                  </a:cubicBezTo>
                  <a:cubicBezTo>
                    <a:pt x="8847020" y="612536"/>
                    <a:pt x="8863723" y="596900"/>
                    <a:pt x="8884327" y="596900"/>
                  </a:cubicBezTo>
                  <a:close/>
                  <a:moveTo>
                    <a:pt x="8801777" y="596900"/>
                  </a:moveTo>
                  <a:cubicBezTo>
                    <a:pt x="8820628" y="596900"/>
                    <a:pt x="8835909" y="612536"/>
                    <a:pt x="8835909" y="631825"/>
                  </a:cubicBezTo>
                  <a:cubicBezTo>
                    <a:pt x="8835909" y="651114"/>
                    <a:pt x="8820628" y="666750"/>
                    <a:pt x="8801777" y="666750"/>
                  </a:cubicBezTo>
                  <a:cubicBezTo>
                    <a:pt x="8782926" y="666750"/>
                    <a:pt x="8767645" y="651114"/>
                    <a:pt x="8767645" y="631825"/>
                  </a:cubicBezTo>
                  <a:cubicBezTo>
                    <a:pt x="8767645" y="612536"/>
                    <a:pt x="8782926" y="596900"/>
                    <a:pt x="8801777" y="596900"/>
                  </a:cubicBezTo>
                  <a:close/>
                  <a:moveTo>
                    <a:pt x="8716052" y="596900"/>
                  </a:moveTo>
                  <a:cubicBezTo>
                    <a:pt x="8734903" y="596900"/>
                    <a:pt x="8750184" y="612536"/>
                    <a:pt x="8750184" y="631825"/>
                  </a:cubicBezTo>
                  <a:cubicBezTo>
                    <a:pt x="8750184" y="651114"/>
                    <a:pt x="8734903" y="666750"/>
                    <a:pt x="8716052" y="666750"/>
                  </a:cubicBezTo>
                  <a:cubicBezTo>
                    <a:pt x="8697201" y="666750"/>
                    <a:pt x="8681920" y="651114"/>
                    <a:pt x="8681920" y="631825"/>
                  </a:cubicBezTo>
                  <a:cubicBezTo>
                    <a:pt x="8681920" y="612536"/>
                    <a:pt x="8697201" y="596900"/>
                    <a:pt x="8716052" y="596900"/>
                  </a:cubicBezTo>
                  <a:close/>
                  <a:moveTo>
                    <a:pt x="8630327" y="596900"/>
                  </a:moveTo>
                  <a:cubicBezTo>
                    <a:pt x="8649178" y="596900"/>
                    <a:pt x="8664459" y="612536"/>
                    <a:pt x="8664459" y="631825"/>
                  </a:cubicBezTo>
                  <a:cubicBezTo>
                    <a:pt x="8664459" y="651114"/>
                    <a:pt x="8649178" y="666750"/>
                    <a:pt x="8630327" y="666750"/>
                  </a:cubicBezTo>
                  <a:cubicBezTo>
                    <a:pt x="8611476" y="666750"/>
                    <a:pt x="8596195" y="651114"/>
                    <a:pt x="8596195" y="631825"/>
                  </a:cubicBezTo>
                  <a:cubicBezTo>
                    <a:pt x="8596195" y="612536"/>
                    <a:pt x="8611476" y="596900"/>
                    <a:pt x="8630327" y="596900"/>
                  </a:cubicBezTo>
                  <a:close/>
                  <a:moveTo>
                    <a:pt x="8544602" y="596900"/>
                  </a:moveTo>
                  <a:cubicBezTo>
                    <a:pt x="8563453" y="596900"/>
                    <a:pt x="8578734" y="612536"/>
                    <a:pt x="8578734" y="631825"/>
                  </a:cubicBezTo>
                  <a:cubicBezTo>
                    <a:pt x="8578734" y="651114"/>
                    <a:pt x="8563453" y="666750"/>
                    <a:pt x="8544602" y="666750"/>
                  </a:cubicBezTo>
                  <a:cubicBezTo>
                    <a:pt x="8525751" y="666750"/>
                    <a:pt x="8510470" y="651114"/>
                    <a:pt x="8510470" y="631825"/>
                  </a:cubicBezTo>
                  <a:cubicBezTo>
                    <a:pt x="8510470" y="612536"/>
                    <a:pt x="8525751" y="596900"/>
                    <a:pt x="8544602" y="596900"/>
                  </a:cubicBezTo>
                  <a:close/>
                  <a:moveTo>
                    <a:pt x="8465227" y="596900"/>
                  </a:moveTo>
                  <a:cubicBezTo>
                    <a:pt x="8484078" y="596900"/>
                    <a:pt x="8499359" y="612536"/>
                    <a:pt x="8499359" y="631825"/>
                  </a:cubicBezTo>
                  <a:cubicBezTo>
                    <a:pt x="8499359" y="651114"/>
                    <a:pt x="8484078" y="666750"/>
                    <a:pt x="8465227" y="666750"/>
                  </a:cubicBezTo>
                  <a:cubicBezTo>
                    <a:pt x="8446376" y="666750"/>
                    <a:pt x="8431095" y="651114"/>
                    <a:pt x="8431095" y="631825"/>
                  </a:cubicBezTo>
                  <a:cubicBezTo>
                    <a:pt x="8431095" y="612536"/>
                    <a:pt x="8446376" y="596900"/>
                    <a:pt x="8465227" y="596900"/>
                  </a:cubicBezTo>
                  <a:close/>
                  <a:moveTo>
                    <a:pt x="8379502" y="596900"/>
                  </a:moveTo>
                  <a:cubicBezTo>
                    <a:pt x="8398353" y="596900"/>
                    <a:pt x="8413634" y="612536"/>
                    <a:pt x="8413634" y="631825"/>
                  </a:cubicBezTo>
                  <a:cubicBezTo>
                    <a:pt x="8413634" y="651114"/>
                    <a:pt x="8398353" y="666750"/>
                    <a:pt x="8379502" y="666750"/>
                  </a:cubicBezTo>
                  <a:cubicBezTo>
                    <a:pt x="8360651" y="666750"/>
                    <a:pt x="8345370" y="651114"/>
                    <a:pt x="8345370" y="631825"/>
                  </a:cubicBezTo>
                  <a:cubicBezTo>
                    <a:pt x="8345370" y="612536"/>
                    <a:pt x="8360651" y="596900"/>
                    <a:pt x="8379502" y="596900"/>
                  </a:cubicBezTo>
                  <a:close/>
                  <a:moveTo>
                    <a:pt x="8293777" y="596900"/>
                  </a:moveTo>
                  <a:cubicBezTo>
                    <a:pt x="8312628" y="596900"/>
                    <a:pt x="8327909" y="612536"/>
                    <a:pt x="8327909" y="631825"/>
                  </a:cubicBezTo>
                  <a:cubicBezTo>
                    <a:pt x="8327909" y="651114"/>
                    <a:pt x="8312628" y="666750"/>
                    <a:pt x="8293777" y="666750"/>
                  </a:cubicBezTo>
                  <a:cubicBezTo>
                    <a:pt x="8274926" y="666750"/>
                    <a:pt x="8259645" y="651114"/>
                    <a:pt x="8259645" y="631825"/>
                  </a:cubicBezTo>
                  <a:cubicBezTo>
                    <a:pt x="8259645" y="612536"/>
                    <a:pt x="8274926" y="596900"/>
                    <a:pt x="8293777" y="596900"/>
                  </a:cubicBezTo>
                  <a:close/>
                  <a:moveTo>
                    <a:pt x="8208052" y="596900"/>
                  </a:moveTo>
                  <a:cubicBezTo>
                    <a:pt x="8226903" y="596900"/>
                    <a:pt x="8242184" y="612536"/>
                    <a:pt x="8242184" y="631825"/>
                  </a:cubicBezTo>
                  <a:cubicBezTo>
                    <a:pt x="8242184" y="651114"/>
                    <a:pt x="8226903" y="666750"/>
                    <a:pt x="8208052" y="666750"/>
                  </a:cubicBezTo>
                  <a:cubicBezTo>
                    <a:pt x="8189201" y="666750"/>
                    <a:pt x="8173920" y="651114"/>
                    <a:pt x="8173920" y="631825"/>
                  </a:cubicBezTo>
                  <a:cubicBezTo>
                    <a:pt x="8173920" y="612536"/>
                    <a:pt x="8189201" y="596900"/>
                    <a:pt x="8208052" y="596900"/>
                  </a:cubicBezTo>
                  <a:close/>
                  <a:moveTo>
                    <a:pt x="8125502" y="596900"/>
                  </a:moveTo>
                  <a:cubicBezTo>
                    <a:pt x="8146106" y="596900"/>
                    <a:pt x="8162809" y="612536"/>
                    <a:pt x="8162809" y="631825"/>
                  </a:cubicBezTo>
                  <a:cubicBezTo>
                    <a:pt x="8162809" y="651114"/>
                    <a:pt x="8146106" y="666750"/>
                    <a:pt x="8125502" y="666750"/>
                  </a:cubicBezTo>
                  <a:cubicBezTo>
                    <a:pt x="8104898" y="666750"/>
                    <a:pt x="8088195" y="651114"/>
                    <a:pt x="8088195" y="631825"/>
                  </a:cubicBezTo>
                  <a:cubicBezTo>
                    <a:pt x="8088195" y="612536"/>
                    <a:pt x="8104898" y="596900"/>
                    <a:pt x="8125502" y="596900"/>
                  </a:cubicBezTo>
                  <a:close/>
                  <a:moveTo>
                    <a:pt x="8042952" y="596900"/>
                  </a:moveTo>
                  <a:cubicBezTo>
                    <a:pt x="8061803" y="596900"/>
                    <a:pt x="8077084" y="612536"/>
                    <a:pt x="8077084" y="631825"/>
                  </a:cubicBezTo>
                  <a:cubicBezTo>
                    <a:pt x="8077084" y="651114"/>
                    <a:pt x="8061803" y="666750"/>
                    <a:pt x="8042952" y="666750"/>
                  </a:cubicBezTo>
                  <a:cubicBezTo>
                    <a:pt x="8024101" y="666750"/>
                    <a:pt x="8008820" y="651114"/>
                    <a:pt x="8008820" y="631825"/>
                  </a:cubicBezTo>
                  <a:cubicBezTo>
                    <a:pt x="8008820" y="612536"/>
                    <a:pt x="8024101" y="596900"/>
                    <a:pt x="8042952" y="596900"/>
                  </a:cubicBezTo>
                  <a:close/>
                  <a:moveTo>
                    <a:pt x="7957227" y="596900"/>
                  </a:moveTo>
                  <a:cubicBezTo>
                    <a:pt x="7976078" y="596900"/>
                    <a:pt x="7991359" y="612536"/>
                    <a:pt x="7991359" y="631825"/>
                  </a:cubicBezTo>
                  <a:cubicBezTo>
                    <a:pt x="7991359" y="651114"/>
                    <a:pt x="7976078" y="666750"/>
                    <a:pt x="7957227" y="666750"/>
                  </a:cubicBezTo>
                  <a:cubicBezTo>
                    <a:pt x="7938376" y="666750"/>
                    <a:pt x="7923095" y="651114"/>
                    <a:pt x="7923095" y="631825"/>
                  </a:cubicBezTo>
                  <a:cubicBezTo>
                    <a:pt x="7923095" y="612536"/>
                    <a:pt x="7938376" y="596900"/>
                    <a:pt x="7957227" y="596900"/>
                  </a:cubicBezTo>
                  <a:close/>
                  <a:moveTo>
                    <a:pt x="7871502" y="596900"/>
                  </a:moveTo>
                  <a:cubicBezTo>
                    <a:pt x="7890353" y="596900"/>
                    <a:pt x="7905634" y="612536"/>
                    <a:pt x="7905634" y="631825"/>
                  </a:cubicBezTo>
                  <a:cubicBezTo>
                    <a:pt x="7905634" y="651114"/>
                    <a:pt x="7890353" y="666750"/>
                    <a:pt x="7871502" y="666750"/>
                  </a:cubicBezTo>
                  <a:cubicBezTo>
                    <a:pt x="7852651" y="666750"/>
                    <a:pt x="7837370" y="651114"/>
                    <a:pt x="7837370" y="631825"/>
                  </a:cubicBezTo>
                  <a:cubicBezTo>
                    <a:pt x="7837370" y="612536"/>
                    <a:pt x="7852651" y="596900"/>
                    <a:pt x="7871502" y="596900"/>
                  </a:cubicBezTo>
                  <a:close/>
                  <a:moveTo>
                    <a:pt x="7785777" y="596900"/>
                  </a:moveTo>
                  <a:cubicBezTo>
                    <a:pt x="7804628" y="596900"/>
                    <a:pt x="7819909" y="612536"/>
                    <a:pt x="7819909" y="631825"/>
                  </a:cubicBezTo>
                  <a:cubicBezTo>
                    <a:pt x="7819909" y="651114"/>
                    <a:pt x="7804628" y="666750"/>
                    <a:pt x="7785777" y="666750"/>
                  </a:cubicBezTo>
                  <a:cubicBezTo>
                    <a:pt x="7766926" y="666750"/>
                    <a:pt x="7751645" y="651114"/>
                    <a:pt x="7751645" y="631825"/>
                  </a:cubicBezTo>
                  <a:cubicBezTo>
                    <a:pt x="7751645" y="612536"/>
                    <a:pt x="7766926" y="596900"/>
                    <a:pt x="7785777" y="596900"/>
                  </a:cubicBezTo>
                  <a:close/>
                  <a:moveTo>
                    <a:pt x="7706402" y="596900"/>
                  </a:moveTo>
                  <a:cubicBezTo>
                    <a:pt x="7725253" y="596900"/>
                    <a:pt x="7740534" y="612536"/>
                    <a:pt x="7740534" y="631825"/>
                  </a:cubicBezTo>
                  <a:cubicBezTo>
                    <a:pt x="7740534" y="651114"/>
                    <a:pt x="7725253" y="666750"/>
                    <a:pt x="7706402" y="666750"/>
                  </a:cubicBezTo>
                  <a:cubicBezTo>
                    <a:pt x="7687551" y="666750"/>
                    <a:pt x="7672270" y="651114"/>
                    <a:pt x="7672270" y="631825"/>
                  </a:cubicBezTo>
                  <a:cubicBezTo>
                    <a:pt x="7672270" y="612536"/>
                    <a:pt x="7687551" y="596900"/>
                    <a:pt x="7706402" y="596900"/>
                  </a:cubicBezTo>
                  <a:close/>
                  <a:moveTo>
                    <a:pt x="7620677" y="596900"/>
                  </a:moveTo>
                  <a:cubicBezTo>
                    <a:pt x="7639528" y="596900"/>
                    <a:pt x="7654809" y="612536"/>
                    <a:pt x="7654809" y="631825"/>
                  </a:cubicBezTo>
                  <a:cubicBezTo>
                    <a:pt x="7654809" y="651114"/>
                    <a:pt x="7639528" y="666750"/>
                    <a:pt x="7620677" y="666750"/>
                  </a:cubicBezTo>
                  <a:cubicBezTo>
                    <a:pt x="7601826" y="666750"/>
                    <a:pt x="7586545" y="651114"/>
                    <a:pt x="7586545" y="631825"/>
                  </a:cubicBezTo>
                  <a:cubicBezTo>
                    <a:pt x="7586545" y="612536"/>
                    <a:pt x="7601826" y="596900"/>
                    <a:pt x="7620677" y="596900"/>
                  </a:cubicBezTo>
                  <a:close/>
                  <a:moveTo>
                    <a:pt x="7534952" y="596900"/>
                  </a:moveTo>
                  <a:cubicBezTo>
                    <a:pt x="7553803" y="596900"/>
                    <a:pt x="7569084" y="612536"/>
                    <a:pt x="7569084" y="631825"/>
                  </a:cubicBezTo>
                  <a:cubicBezTo>
                    <a:pt x="7569084" y="651114"/>
                    <a:pt x="7553803" y="666750"/>
                    <a:pt x="7534952" y="666750"/>
                  </a:cubicBezTo>
                  <a:cubicBezTo>
                    <a:pt x="7516101" y="666750"/>
                    <a:pt x="7500820" y="651114"/>
                    <a:pt x="7500820" y="631825"/>
                  </a:cubicBezTo>
                  <a:cubicBezTo>
                    <a:pt x="7500820" y="612536"/>
                    <a:pt x="7516101" y="596900"/>
                    <a:pt x="7534952" y="596900"/>
                  </a:cubicBezTo>
                  <a:close/>
                  <a:moveTo>
                    <a:pt x="7449227" y="596900"/>
                  </a:moveTo>
                  <a:cubicBezTo>
                    <a:pt x="7468078" y="596900"/>
                    <a:pt x="7483359" y="612536"/>
                    <a:pt x="7483359" y="631825"/>
                  </a:cubicBezTo>
                  <a:cubicBezTo>
                    <a:pt x="7483359" y="651114"/>
                    <a:pt x="7468078" y="666750"/>
                    <a:pt x="7449227" y="666750"/>
                  </a:cubicBezTo>
                  <a:cubicBezTo>
                    <a:pt x="7430376" y="666750"/>
                    <a:pt x="7415095" y="651114"/>
                    <a:pt x="7415095" y="631825"/>
                  </a:cubicBezTo>
                  <a:cubicBezTo>
                    <a:pt x="7415095" y="612536"/>
                    <a:pt x="7430376" y="596900"/>
                    <a:pt x="7449227" y="596900"/>
                  </a:cubicBezTo>
                  <a:close/>
                  <a:moveTo>
                    <a:pt x="7366677" y="596900"/>
                  </a:moveTo>
                  <a:cubicBezTo>
                    <a:pt x="7387281" y="596900"/>
                    <a:pt x="7403984" y="612536"/>
                    <a:pt x="7403984" y="631825"/>
                  </a:cubicBezTo>
                  <a:cubicBezTo>
                    <a:pt x="7403984" y="651114"/>
                    <a:pt x="7387281" y="666750"/>
                    <a:pt x="7366677" y="666750"/>
                  </a:cubicBezTo>
                  <a:cubicBezTo>
                    <a:pt x="7346073" y="666750"/>
                    <a:pt x="7329370" y="651114"/>
                    <a:pt x="7329370" y="631825"/>
                  </a:cubicBezTo>
                  <a:cubicBezTo>
                    <a:pt x="7329370" y="612536"/>
                    <a:pt x="7346073" y="596900"/>
                    <a:pt x="7366677" y="596900"/>
                  </a:cubicBezTo>
                  <a:close/>
                  <a:moveTo>
                    <a:pt x="7284127" y="596900"/>
                  </a:moveTo>
                  <a:cubicBezTo>
                    <a:pt x="7302978" y="596900"/>
                    <a:pt x="7318259" y="612536"/>
                    <a:pt x="7318259" y="631825"/>
                  </a:cubicBezTo>
                  <a:cubicBezTo>
                    <a:pt x="7318259" y="651114"/>
                    <a:pt x="7302978" y="666750"/>
                    <a:pt x="7284127" y="666750"/>
                  </a:cubicBezTo>
                  <a:cubicBezTo>
                    <a:pt x="7265276" y="666750"/>
                    <a:pt x="7249995" y="651114"/>
                    <a:pt x="7249995" y="631825"/>
                  </a:cubicBezTo>
                  <a:cubicBezTo>
                    <a:pt x="7249995" y="612536"/>
                    <a:pt x="7265276" y="596900"/>
                    <a:pt x="7284127" y="596900"/>
                  </a:cubicBezTo>
                  <a:close/>
                  <a:moveTo>
                    <a:pt x="7198402" y="596900"/>
                  </a:moveTo>
                  <a:cubicBezTo>
                    <a:pt x="7217253" y="596900"/>
                    <a:pt x="7232534" y="612536"/>
                    <a:pt x="7232534" y="631825"/>
                  </a:cubicBezTo>
                  <a:cubicBezTo>
                    <a:pt x="7232534" y="651114"/>
                    <a:pt x="7217253" y="666750"/>
                    <a:pt x="7198402" y="666750"/>
                  </a:cubicBezTo>
                  <a:cubicBezTo>
                    <a:pt x="7179551" y="666750"/>
                    <a:pt x="7164270" y="651114"/>
                    <a:pt x="7164270" y="631825"/>
                  </a:cubicBezTo>
                  <a:cubicBezTo>
                    <a:pt x="7164270" y="612536"/>
                    <a:pt x="7179551" y="596900"/>
                    <a:pt x="7198402" y="596900"/>
                  </a:cubicBezTo>
                  <a:close/>
                  <a:moveTo>
                    <a:pt x="7112677" y="596900"/>
                  </a:moveTo>
                  <a:cubicBezTo>
                    <a:pt x="7131528" y="596900"/>
                    <a:pt x="7146809" y="612536"/>
                    <a:pt x="7146809" y="631825"/>
                  </a:cubicBezTo>
                  <a:cubicBezTo>
                    <a:pt x="7146809" y="651114"/>
                    <a:pt x="7131528" y="666750"/>
                    <a:pt x="7112677" y="666750"/>
                  </a:cubicBezTo>
                  <a:cubicBezTo>
                    <a:pt x="7093826" y="666750"/>
                    <a:pt x="7078545" y="651114"/>
                    <a:pt x="7078545" y="631825"/>
                  </a:cubicBezTo>
                  <a:cubicBezTo>
                    <a:pt x="7078545" y="612536"/>
                    <a:pt x="7093826" y="596900"/>
                    <a:pt x="7112677" y="596900"/>
                  </a:cubicBezTo>
                  <a:close/>
                  <a:moveTo>
                    <a:pt x="6947577" y="596900"/>
                  </a:moveTo>
                  <a:cubicBezTo>
                    <a:pt x="6966428" y="596900"/>
                    <a:pt x="6981709" y="612536"/>
                    <a:pt x="6981709" y="631825"/>
                  </a:cubicBezTo>
                  <a:cubicBezTo>
                    <a:pt x="6981709" y="651114"/>
                    <a:pt x="6966428" y="666750"/>
                    <a:pt x="6947577" y="666750"/>
                  </a:cubicBezTo>
                  <a:cubicBezTo>
                    <a:pt x="6928726" y="666750"/>
                    <a:pt x="6913445" y="651114"/>
                    <a:pt x="6913445" y="631825"/>
                  </a:cubicBezTo>
                  <a:cubicBezTo>
                    <a:pt x="6913445" y="612536"/>
                    <a:pt x="6928726" y="596900"/>
                    <a:pt x="6947577" y="596900"/>
                  </a:cubicBezTo>
                  <a:close/>
                  <a:moveTo>
                    <a:pt x="6861852" y="596900"/>
                  </a:moveTo>
                  <a:cubicBezTo>
                    <a:pt x="6880703" y="596900"/>
                    <a:pt x="6895984" y="612536"/>
                    <a:pt x="6895984" y="631825"/>
                  </a:cubicBezTo>
                  <a:cubicBezTo>
                    <a:pt x="6895984" y="651114"/>
                    <a:pt x="6880703" y="666750"/>
                    <a:pt x="6861852" y="666750"/>
                  </a:cubicBezTo>
                  <a:cubicBezTo>
                    <a:pt x="6843001" y="666750"/>
                    <a:pt x="6827720" y="651114"/>
                    <a:pt x="6827720" y="631825"/>
                  </a:cubicBezTo>
                  <a:cubicBezTo>
                    <a:pt x="6827720" y="612536"/>
                    <a:pt x="6843001" y="596900"/>
                    <a:pt x="6861852" y="596900"/>
                  </a:cubicBezTo>
                  <a:close/>
                  <a:moveTo>
                    <a:pt x="6691195" y="596900"/>
                  </a:moveTo>
                  <a:cubicBezTo>
                    <a:pt x="6710484" y="596900"/>
                    <a:pt x="6726120" y="612536"/>
                    <a:pt x="6726120" y="631825"/>
                  </a:cubicBezTo>
                  <a:cubicBezTo>
                    <a:pt x="6726120" y="651114"/>
                    <a:pt x="6710484" y="666750"/>
                    <a:pt x="6691195" y="666750"/>
                  </a:cubicBezTo>
                  <a:cubicBezTo>
                    <a:pt x="6671906" y="666750"/>
                    <a:pt x="6656270" y="651114"/>
                    <a:pt x="6656270" y="631825"/>
                  </a:cubicBezTo>
                  <a:cubicBezTo>
                    <a:pt x="6656270" y="612536"/>
                    <a:pt x="6671906" y="596900"/>
                    <a:pt x="6691195" y="596900"/>
                  </a:cubicBezTo>
                  <a:close/>
                  <a:moveTo>
                    <a:pt x="6607852" y="596900"/>
                  </a:moveTo>
                  <a:cubicBezTo>
                    <a:pt x="6628456" y="596900"/>
                    <a:pt x="6645159" y="612536"/>
                    <a:pt x="6645159" y="631825"/>
                  </a:cubicBezTo>
                  <a:cubicBezTo>
                    <a:pt x="6645159" y="651114"/>
                    <a:pt x="6628456" y="666750"/>
                    <a:pt x="6607852" y="666750"/>
                  </a:cubicBezTo>
                  <a:cubicBezTo>
                    <a:pt x="6587248" y="666750"/>
                    <a:pt x="6570545" y="651114"/>
                    <a:pt x="6570545" y="631825"/>
                  </a:cubicBezTo>
                  <a:cubicBezTo>
                    <a:pt x="6570545" y="612536"/>
                    <a:pt x="6587248" y="596900"/>
                    <a:pt x="6607852" y="596900"/>
                  </a:cubicBezTo>
                  <a:close/>
                  <a:moveTo>
                    <a:pt x="6268920" y="596900"/>
                  </a:moveTo>
                  <a:cubicBezTo>
                    <a:pt x="6288209" y="596900"/>
                    <a:pt x="6303845" y="612536"/>
                    <a:pt x="6303845" y="631825"/>
                  </a:cubicBezTo>
                  <a:cubicBezTo>
                    <a:pt x="6303845" y="651114"/>
                    <a:pt x="6288209" y="666750"/>
                    <a:pt x="6268920" y="666750"/>
                  </a:cubicBezTo>
                  <a:cubicBezTo>
                    <a:pt x="6249631" y="666750"/>
                    <a:pt x="6233995" y="651114"/>
                    <a:pt x="6233995" y="631825"/>
                  </a:cubicBezTo>
                  <a:cubicBezTo>
                    <a:pt x="6233995" y="612536"/>
                    <a:pt x="6249631" y="596900"/>
                    <a:pt x="6268920" y="596900"/>
                  </a:cubicBezTo>
                  <a:close/>
                  <a:moveTo>
                    <a:pt x="4332171" y="596900"/>
                  </a:moveTo>
                  <a:cubicBezTo>
                    <a:pt x="4352337" y="596900"/>
                    <a:pt x="4368684" y="612536"/>
                    <a:pt x="4368684" y="631825"/>
                  </a:cubicBezTo>
                  <a:cubicBezTo>
                    <a:pt x="4368684" y="651114"/>
                    <a:pt x="4352337" y="666750"/>
                    <a:pt x="4332171" y="666750"/>
                  </a:cubicBezTo>
                  <a:cubicBezTo>
                    <a:pt x="4312005" y="666750"/>
                    <a:pt x="4295658" y="651114"/>
                    <a:pt x="4295658" y="631825"/>
                  </a:cubicBezTo>
                  <a:cubicBezTo>
                    <a:pt x="4295658" y="612536"/>
                    <a:pt x="4312005" y="596900"/>
                    <a:pt x="4332171" y="596900"/>
                  </a:cubicBezTo>
                  <a:close/>
                  <a:moveTo>
                    <a:pt x="4248827" y="596900"/>
                  </a:moveTo>
                  <a:cubicBezTo>
                    <a:pt x="4267678" y="596900"/>
                    <a:pt x="4282959" y="612536"/>
                    <a:pt x="4282959" y="631825"/>
                  </a:cubicBezTo>
                  <a:cubicBezTo>
                    <a:pt x="4282959" y="651114"/>
                    <a:pt x="4267678" y="666750"/>
                    <a:pt x="4248827" y="666750"/>
                  </a:cubicBezTo>
                  <a:cubicBezTo>
                    <a:pt x="4229976" y="666750"/>
                    <a:pt x="4214695" y="651114"/>
                    <a:pt x="4214695" y="631825"/>
                  </a:cubicBezTo>
                  <a:cubicBezTo>
                    <a:pt x="4214695" y="612536"/>
                    <a:pt x="4229976" y="596900"/>
                    <a:pt x="4248827" y="596900"/>
                  </a:cubicBezTo>
                  <a:close/>
                  <a:moveTo>
                    <a:pt x="4163895" y="596900"/>
                  </a:moveTo>
                  <a:cubicBezTo>
                    <a:pt x="4183184" y="596900"/>
                    <a:pt x="4198820" y="612536"/>
                    <a:pt x="4198820" y="631825"/>
                  </a:cubicBezTo>
                  <a:cubicBezTo>
                    <a:pt x="4198820" y="651114"/>
                    <a:pt x="4183184" y="666750"/>
                    <a:pt x="4163895" y="666750"/>
                  </a:cubicBezTo>
                  <a:cubicBezTo>
                    <a:pt x="4144606" y="666750"/>
                    <a:pt x="4128970" y="651114"/>
                    <a:pt x="4128970" y="631825"/>
                  </a:cubicBezTo>
                  <a:cubicBezTo>
                    <a:pt x="4128970" y="612536"/>
                    <a:pt x="4144606" y="596900"/>
                    <a:pt x="4163895" y="596900"/>
                  </a:cubicBezTo>
                  <a:close/>
                  <a:moveTo>
                    <a:pt x="4078170" y="596900"/>
                  </a:moveTo>
                  <a:cubicBezTo>
                    <a:pt x="4097459" y="596900"/>
                    <a:pt x="4113095" y="612536"/>
                    <a:pt x="4113095" y="631825"/>
                  </a:cubicBezTo>
                  <a:cubicBezTo>
                    <a:pt x="4113095" y="651114"/>
                    <a:pt x="4097459" y="666750"/>
                    <a:pt x="4078170" y="666750"/>
                  </a:cubicBezTo>
                  <a:cubicBezTo>
                    <a:pt x="4058881" y="666750"/>
                    <a:pt x="4043245" y="651114"/>
                    <a:pt x="4043245" y="631825"/>
                  </a:cubicBezTo>
                  <a:cubicBezTo>
                    <a:pt x="4043245" y="612536"/>
                    <a:pt x="4058881" y="596900"/>
                    <a:pt x="4078170" y="596900"/>
                  </a:cubicBezTo>
                  <a:close/>
                  <a:moveTo>
                    <a:pt x="3993240" y="596900"/>
                  </a:moveTo>
                  <a:cubicBezTo>
                    <a:pt x="4012091" y="596900"/>
                    <a:pt x="4027372" y="612536"/>
                    <a:pt x="4027372" y="631825"/>
                  </a:cubicBezTo>
                  <a:cubicBezTo>
                    <a:pt x="4027372" y="651114"/>
                    <a:pt x="4012091" y="666750"/>
                    <a:pt x="3993240" y="666750"/>
                  </a:cubicBezTo>
                  <a:cubicBezTo>
                    <a:pt x="3974389" y="666750"/>
                    <a:pt x="3959108" y="651114"/>
                    <a:pt x="3959108" y="631825"/>
                  </a:cubicBezTo>
                  <a:cubicBezTo>
                    <a:pt x="3959108" y="612536"/>
                    <a:pt x="3974389" y="596900"/>
                    <a:pt x="3993240" y="596900"/>
                  </a:cubicBezTo>
                  <a:close/>
                  <a:moveTo>
                    <a:pt x="3912277" y="596900"/>
                  </a:moveTo>
                  <a:cubicBezTo>
                    <a:pt x="3931128" y="596900"/>
                    <a:pt x="3946409" y="612536"/>
                    <a:pt x="3946409" y="631825"/>
                  </a:cubicBezTo>
                  <a:cubicBezTo>
                    <a:pt x="3946409" y="651114"/>
                    <a:pt x="3931128" y="666750"/>
                    <a:pt x="3912277" y="666750"/>
                  </a:cubicBezTo>
                  <a:cubicBezTo>
                    <a:pt x="3893426" y="666750"/>
                    <a:pt x="3878145" y="651114"/>
                    <a:pt x="3878145" y="631825"/>
                  </a:cubicBezTo>
                  <a:cubicBezTo>
                    <a:pt x="3878145" y="612536"/>
                    <a:pt x="3893426" y="596900"/>
                    <a:pt x="3912277" y="596900"/>
                  </a:cubicBezTo>
                  <a:close/>
                  <a:moveTo>
                    <a:pt x="3826552" y="596900"/>
                  </a:moveTo>
                  <a:cubicBezTo>
                    <a:pt x="3845403" y="596900"/>
                    <a:pt x="3860684" y="612536"/>
                    <a:pt x="3860684" y="631825"/>
                  </a:cubicBezTo>
                  <a:cubicBezTo>
                    <a:pt x="3860684" y="651114"/>
                    <a:pt x="3845403" y="666750"/>
                    <a:pt x="3826552" y="666750"/>
                  </a:cubicBezTo>
                  <a:cubicBezTo>
                    <a:pt x="3807701" y="666750"/>
                    <a:pt x="3792420" y="651114"/>
                    <a:pt x="3792420" y="631825"/>
                  </a:cubicBezTo>
                  <a:cubicBezTo>
                    <a:pt x="3792420" y="612536"/>
                    <a:pt x="3807701" y="596900"/>
                    <a:pt x="3826552" y="596900"/>
                  </a:cubicBezTo>
                  <a:close/>
                  <a:moveTo>
                    <a:pt x="3741620" y="596900"/>
                  </a:moveTo>
                  <a:cubicBezTo>
                    <a:pt x="3760909" y="596900"/>
                    <a:pt x="3776545" y="612536"/>
                    <a:pt x="3776545" y="631825"/>
                  </a:cubicBezTo>
                  <a:cubicBezTo>
                    <a:pt x="3776545" y="651114"/>
                    <a:pt x="3760909" y="666750"/>
                    <a:pt x="3741620" y="666750"/>
                  </a:cubicBezTo>
                  <a:cubicBezTo>
                    <a:pt x="3722331" y="666750"/>
                    <a:pt x="3706695" y="651114"/>
                    <a:pt x="3706695" y="631825"/>
                  </a:cubicBezTo>
                  <a:cubicBezTo>
                    <a:pt x="3706695" y="612536"/>
                    <a:pt x="3722331" y="596900"/>
                    <a:pt x="3741620" y="596900"/>
                  </a:cubicBezTo>
                  <a:close/>
                  <a:moveTo>
                    <a:pt x="3234415" y="596900"/>
                  </a:moveTo>
                  <a:cubicBezTo>
                    <a:pt x="3253266" y="596900"/>
                    <a:pt x="3268547" y="612536"/>
                    <a:pt x="3268547" y="631825"/>
                  </a:cubicBezTo>
                  <a:cubicBezTo>
                    <a:pt x="3268547" y="651114"/>
                    <a:pt x="3253266" y="666750"/>
                    <a:pt x="3234415" y="666750"/>
                  </a:cubicBezTo>
                  <a:cubicBezTo>
                    <a:pt x="3215564" y="666750"/>
                    <a:pt x="3200283" y="651114"/>
                    <a:pt x="3200283" y="631825"/>
                  </a:cubicBezTo>
                  <a:cubicBezTo>
                    <a:pt x="3200283" y="612536"/>
                    <a:pt x="3215564" y="596900"/>
                    <a:pt x="3234415" y="596900"/>
                  </a:cubicBezTo>
                  <a:close/>
                  <a:moveTo>
                    <a:pt x="3153452" y="596900"/>
                  </a:moveTo>
                  <a:cubicBezTo>
                    <a:pt x="3172303" y="596900"/>
                    <a:pt x="3187584" y="612536"/>
                    <a:pt x="3187584" y="631825"/>
                  </a:cubicBezTo>
                  <a:cubicBezTo>
                    <a:pt x="3187584" y="651114"/>
                    <a:pt x="3172303" y="666750"/>
                    <a:pt x="3153452" y="666750"/>
                  </a:cubicBezTo>
                  <a:cubicBezTo>
                    <a:pt x="3134601" y="666750"/>
                    <a:pt x="3119320" y="651114"/>
                    <a:pt x="3119320" y="631825"/>
                  </a:cubicBezTo>
                  <a:cubicBezTo>
                    <a:pt x="3119320" y="612536"/>
                    <a:pt x="3134601" y="596900"/>
                    <a:pt x="3153452" y="596900"/>
                  </a:cubicBezTo>
                  <a:close/>
                  <a:moveTo>
                    <a:pt x="2983590" y="596900"/>
                  </a:moveTo>
                  <a:cubicBezTo>
                    <a:pt x="3002441" y="596900"/>
                    <a:pt x="3017722" y="612536"/>
                    <a:pt x="3017722" y="631825"/>
                  </a:cubicBezTo>
                  <a:cubicBezTo>
                    <a:pt x="3017722" y="651114"/>
                    <a:pt x="3002441" y="666750"/>
                    <a:pt x="2983590" y="666750"/>
                  </a:cubicBezTo>
                  <a:cubicBezTo>
                    <a:pt x="2964739" y="666750"/>
                    <a:pt x="2949458" y="651114"/>
                    <a:pt x="2949458" y="631825"/>
                  </a:cubicBezTo>
                  <a:cubicBezTo>
                    <a:pt x="2949458" y="612536"/>
                    <a:pt x="2964739" y="596900"/>
                    <a:pt x="2983590" y="596900"/>
                  </a:cubicBezTo>
                  <a:close/>
                  <a:moveTo>
                    <a:pt x="2561353" y="596900"/>
                  </a:moveTo>
                  <a:cubicBezTo>
                    <a:pt x="2580204" y="596900"/>
                    <a:pt x="2595485" y="612536"/>
                    <a:pt x="2595485" y="631825"/>
                  </a:cubicBezTo>
                  <a:cubicBezTo>
                    <a:pt x="2595485" y="651114"/>
                    <a:pt x="2580204" y="666750"/>
                    <a:pt x="2561353" y="666750"/>
                  </a:cubicBezTo>
                  <a:cubicBezTo>
                    <a:pt x="2542501" y="666750"/>
                    <a:pt x="2527221" y="651114"/>
                    <a:pt x="2527221" y="631825"/>
                  </a:cubicBezTo>
                  <a:cubicBezTo>
                    <a:pt x="2527221" y="612536"/>
                    <a:pt x="2542501" y="596900"/>
                    <a:pt x="2561353" y="596900"/>
                  </a:cubicBezTo>
                  <a:close/>
                  <a:moveTo>
                    <a:pt x="2309732" y="596900"/>
                  </a:moveTo>
                  <a:cubicBezTo>
                    <a:pt x="2329020" y="596900"/>
                    <a:pt x="2344659" y="612536"/>
                    <a:pt x="2344659" y="631825"/>
                  </a:cubicBezTo>
                  <a:cubicBezTo>
                    <a:pt x="2344659" y="651114"/>
                    <a:pt x="2329020" y="666750"/>
                    <a:pt x="2309732" y="666750"/>
                  </a:cubicBezTo>
                  <a:cubicBezTo>
                    <a:pt x="2290444" y="666750"/>
                    <a:pt x="2274806" y="651114"/>
                    <a:pt x="2274806" y="631825"/>
                  </a:cubicBezTo>
                  <a:cubicBezTo>
                    <a:pt x="2274806" y="612536"/>
                    <a:pt x="2290444" y="596900"/>
                    <a:pt x="2309732" y="596900"/>
                  </a:cubicBezTo>
                  <a:close/>
                  <a:moveTo>
                    <a:pt x="2224804" y="596900"/>
                  </a:moveTo>
                  <a:cubicBezTo>
                    <a:pt x="2243656" y="596900"/>
                    <a:pt x="2258936" y="612536"/>
                    <a:pt x="2258936" y="631825"/>
                  </a:cubicBezTo>
                  <a:cubicBezTo>
                    <a:pt x="2258936" y="651114"/>
                    <a:pt x="2243656" y="666750"/>
                    <a:pt x="2224804" y="666750"/>
                  </a:cubicBezTo>
                  <a:cubicBezTo>
                    <a:pt x="2205953" y="666750"/>
                    <a:pt x="2190671" y="651114"/>
                    <a:pt x="2190671" y="631825"/>
                  </a:cubicBezTo>
                  <a:cubicBezTo>
                    <a:pt x="2190671" y="612536"/>
                    <a:pt x="2205953" y="596900"/>
                    <a:pt x="2224804" y="596900"/>
                  </a:cubicBezTo>
                  <a:close/>
                  <a:moveTo>
                    <a:pt x="2055738" y="596900"/>
                  </a:moveTo>
                  <a:cubicBezTo>
                    <a:pt x="2075903" y="596900"/>
                    <a:pt x="2092252" y="612536"/>
                    <a:pt x="2092252" y="631825"/>
                  </a:cubicBezTo>
                  <a:cubicBezTo>
                    <a:pt x="2092252" y="651114"/>
                    <a:pt x="2075903" y="666750"/>
                    <a:pt x="2055738" y="666750"/>
                  </a:cubicBezTo>
                  <a:cubicBezTo>
                    <a:pt x="2035572" y="666750"/>
                    <a:pt x="2019226" y="651114"/>
                    <a:pt x="2019226" y="631825"/>
                  </a:cubicBezTo>
                  <a:cubicBezTo>
                    <a:pt x="2019226" y="612536"/>
                    <a:pt x="2035572" y="596900"/>
                    <a:pt x="2055738" y="596900"/>
                  </a:cubicBezTo>
                  <a:close/>
                  <a:moveTo>
                    <a:pt x="1973301" y="596900"/>
                  </a:moveTo>
                  <a:cubicBezTo>
                    <a:pt x="1992595" y="596900"/>
                    <a:pt x="2008227" y="612536"/>
                    <a:pt x="2008227" y="631825"/>
                  </a:cubicBezTo>
                  <a:cubicBezTo>
                    <a:pt x="2008227" y="651114"/>
                    <a:pt x="1992595" y="666750"/>
                    <a:pt x="1973301" y="666750"/>
                  </a:cubicBezTo>
                  <a:cubicBezTo>
                    <a:pt x="1954014" y="666750"/>
                    <a:pt x="1938380" y="651114"/>
                    <a:pt x="1938380" y="631825"/>
                  </a:cubicBezTo>
                  <a:cubicBezTo>
                    <a:pt x="1938380" y="612536"/>
                    <a:pt x="1954014" y="596900"/>
                    <a:pt x="1973301" y="596900"/>
                  </a:cubicBezTo>
                  <a:close/>
                  <a:moveTo>
                    <a:pt x="1888373" y="596900"/>
                  </a:moveTo>
                  <a:cubicBezTo>
                    <a:pt x="1907222" y="596900"/>
                    <a:pt x="1922503" y="612536"/>
                    <a:pt x="1922503" y="631825"/>
                  </a:cubicBezTo>
                  <a:cubicBezTo>
                    <a:pt x="1922503" y="651114"/>
                    <a:pt x="1907222" y="666750"/>
                    <a:pt x="1888373" y="666750"/>
                  </a:cubicBezTo>
                  <a:cubicBezTo>
                    <a:pt x="1869524" y="666750"/>
                    <a:pt x="1854243" y="651114"/>
                    <a:pt x="1854243" y="631825"/>
                  </a:cubicBezTo>
                  <a:cubicBezTo>
                    <a:pt x="1854243" y="612536"/>
                    <a:pt x="1869524" y="596900"/>
                    <a:pt x="1888373" y="596900"/>
                  </a:cubicBezTo>
                  <a:close/>
                  <a:moveTo>
                    <a:pt x="1719175" y="596900"/>
                  </a:moveTo>
                  <a:cubicBezTo>
                    <a:pt x="1739342" y="596900"/>
                    <a:pt x="1755688" y="612536"/>
                    <a:pt x="1755688" y="631825"/>
                  </a:cubicBezTo>
                  <a:cubicBezTo>
                    <a:pt x="1755688" y="651114"/>
                    <a:pt x="1739342" y="666750"/>
                    <a:pt x="1719175" y="666750"/>
                  </a:cubicBezTo>
                  <a:cubicBezTo>
                    <a:pt x="1699010" y="666750"/>
                    <a:pt x="1682663" y="651114"/>
                    <a:pt x="1682663" y="631825"/>
                  </a:cubicBezTo>
                  <a:cubicBezTo>
                    <a:pt x="1682663" y="612536"/>
                    <a:pt x="1699010" y="596900"/>
                    <a:pt x="1719175" y="596900"/>
                  </a:cubicBezTo>
                  <a:close/>
                  <a:moveTo>
                    <a:pt x="1636625" y="596900"/>
                  </a:moveTo>
                  <a:cubicBezTo>
                    <a:pt x="1655914" y="596900"/>
                    <a:pt x="1671551" y="612536"/>
                    <a:pt x="1671551" y="631825"/>
                  </a:cubicBezTo>
                  <a:cubicBezTo>
                    <a:pt x="1671551" y="651114"/>
                    <a:pt x="1655914" y="666750"/>
                    <a:pt x="1636625" y="666750"/>
                  </a:cubicBezTo>
                  <a:cubicBezTo>
                    <a:pt x="1617336" y="666750"/>
                    <a:pt x="1601700" y="651114"/>
                    <a:pt x="1601700" y="631825"/>
                  </a:cubicBezTo>
                  <a:cubicBezTo>
                    <a:pt x="1601700" y="612536"/>
                    <a:pt x="1617336" y="596900"/>
                    <a:pt x="1636625" y="596900"/>
                  </a:cubicBezTo>
                  <a:close/>
                  <a:moveTo>
                    <a:pt x="1551694" y="596900"/>
                  </a:moveTo>
                  <a:cubicBezTo>
                    <a:pt x="1570546" y="596900"/>
                    <a:pt x="1585827" y="612536"/>
                    <a:pt x="1585827" y="631825"/>
                  </a:cubicBezTo>
                  <a:cubicBezTo>
                    <a:pt x="1585827" y="651114"/>
                    <a:pt x="1570546" y="666750"/>
                    <a:pt x="1551694" y="666750"/>
                  </a:cubicBezTo>
                  <a:cubicBezTo>
                    <a:pt x="1532843" y="666750"/>
                    <a:pt x="1517562" y="651114"/>
                    <a:pt x="1517562" y="631825"/>
                  </a:cubicBezTo>
                  <a:cubicBezTo>
                    <a:pt x="1517562" y="612536"/>
                    <a:pt x="1532843" y="596900"/>
                    <a:pt x="1551694" y="596900"/>
                  </a:cubicBezTo>
                  <a:close/>
                  <a:moveTo>
                    <a:pt x="1465966" y="596900"/>
                  </a:moveTo>
                  <a:cubicBezTo>
                    <a:pt x="1484817" y="596900"/>
                    <a:pt x="1500098" y="612536"/>
                    <a:pt x="1500098" y="631825"/>
                  </a:cubicBezTo>
                  <a:cubicBezTo>
                    <a:pt x="1500098" y="651114"/>
                    <a:pt x="1484817" y="666750"/>
                    <a:pt x="1465966" y="666750"/>
                  </a:cubicBezTo>
                  <a:cubicBezTo>
                    <a:pt x="1447115" y="666750"/>
                    <a:pt x="1431834" y="651114"/>
                    <a:pt x="1431834" y="631825"/>
                  </a:cubicBezTo>
                  <a:cubicBezTo>
                    <a:pt x="1431834" y="612536"/>
                    <a:pt x="1447115" y="596900"/>
                    <a:pt x="1465966" y="596900"/>
                  </a:cubicBezTo>
                  <a:close/>
                  <a:moveTo>
                    <a:pt x="1380239" y="596900"/>
                  </a:moveTo>
                  <a:cubicBezTo>
                    <a:pt x="1399091" y="596900"/>
                    <a:pt x="1414372" y="612536"/>
                    <a:pt x="1414372" y="631825"/>
                  </a:cubicBezTo>
                  <a:cubicBezTo>
                    <a:pt x="1414372" y="651114"/>
                    <a:pt x="1399091" y="666750"/>
                    <a:pt x="1380239" y="666750"/>
                  </a:cubicBezTo>
                  <a:cubicBezTo>
                    <a:pt x="1361389" y="666750"/>
                    <a:pt x="1346108" y="651114"/>
                    <a:pt x="1346108" y="631825"/>
                  </a:cubicBezTo>
                  <a:cubicBezTo>
                    <a:pt x="1346108" y="612536"/>
                    <a:pt x="1361389" y="596900"/>
                    <a:pt x="1380239" y="596900"/>
                  </a:cubicBezTo>
                  <a:close/>
                  <a:moveTo>
                    <a:pt x="1300069" y="596900"/>
                  </a:moveTo>
                  <a:cubicBezTo>
                    <a:pt x="1319358" y="596900"/>
                    <a:pt x="1334994" y="612536"/>
                    <a:pt x="1334994" y="631825"/>
                  </a:cubicBezTo>
                  <a:cubicBezTo>
                    <a:pt x="1334994" y="651114"/>
                    <a:pt x="1319358" y="666750"/>
                    <a:pt x="1300069" y="666750"/>
                  </a:cubicBezTo>
                  <a:cubicBezTo>
                    <a:pt x="1280780" y="666750"/>
                    <a:pt x="1265143" y="651114"/>
                    <a:pt x="1265143" y="631825"/>
                  </a:cubicBezTo>
                  <a:cubicBezTo>
                    <a:pt x="1265143" y="612536"/>
                    <a:pt x="1280780" y="596900"/>
                    <a:pt x="1300069" y="596900"/>
                  </a:cubicBezTo>
                  <a:close/>
                  <a:moveTo>
                    <a:pt x="1214323" y="596900"/>
                  </a:moveTo>
                  <a:cubicBezTo>
                    <a:pt x="1233612" y="596900"/>
                    <a:pt x="1249248" y="612536"/>
                    <a:pt x="1249248" y="631825"/>
                  </a:cubicBezTo>
                  <a:cubicBezTo>
                    <a:pt x="1249248" y="651114"/>
                    <a:pt x="1233612" y="666750"/>
                    <a:pt x="1214323" y="666750"/>
                  </a:cubicBezTo>
                  <a:cubicBezTo>
                    <a:pt x="1195034" y="666750"/>
                    <a:pt x="1179398" y="651114"/>
                    <a:pt x="1179398" y="631825"/>
                  </a:cubicBezTo>
                  <a:cubicBezTo>
                    <a:pt x="1179398" y="612536"/>
                    <a:pt x="1195034" y="596900"/>
                    <a:pt x="1214323" y="596900"/>
                  </a:cubicBezTo>
                  <a:close/>
                  <a:moveTo>
                    <a:pt x="1129392" y="596900"/>
                  </a:moveTo>
                  <a:cubicBezTo>
                    <a:pt x="1148243" y="596900"/>
                    <a:pt x="1163524" y="612536"/>
                    <a:pt x="1163524" y="631825"/>
                  </a:cubicBezTo>
                  <a:cubicBezTo>
                    <a:pt x="1163524" y="651114"/>
                    <a:pt x="1148243" y="666750"/>
                    <a:pt x="1129392" y="666750"/>
                  </a:cubicBezTo>
                  <a:cubicBezTo>
                    <a:pt x="1110541" y="666750"/>
                    <a:pt x="1095260" y="651114"/>
                    <a:pt x="1095260" y="631825"/>
                  </a:cubicBezTo>
                  <a:cubicBezTo>
                    <a:pt x="1095260" y="612536"/>
                    <a:pt x="1110541" y="596900"/>
                    <a:pt x="1129392" y="596900"/>
                  </a:cubicBezTo>
                  <a:close/>
                  <a:moveTo>
                    <a:pt x="1043667" y="596900"/>
                  </a:moveTo>
                  <a:cubicBezTo>
                    <a:pt x="1062518" y="596900"/>
                    <a:pt x="1077799" y="612536"/>
                    <a:pt x="1077799" y="631825"/>
                  </a:cubicBezTo>
                  <a:cubicBezTo>
                    <a:pt x="1077799" y="651114"/>
                    <a:pt x="1062518" y="666750"/>
                    <a:pt x="1043667" y="666750"/>
                  </a:cubicBezTo>
                  <a:cubicBezTo>
                    <a:pt x="1024816" y="666750"/>
                    <a:pt x="1009535" y="651114"/>
                    <a:pt x="1009535" y="631825"/>
                  </a:cubicBezTo>
                  <a:cubicBezTo>
                    <a:pt x="1009535" y="612536"/>
                    <a:pt x="1024816" y="596900"/>
                    <a:pt x="1043667" y="596900"/>
                  </a:cubicBezTo>
                  <a:close/>
                  <a:moveTo>
                    <a:pt x="960324" y="596900"/>
                  </a:moveTo>
                  <a:cubicBezTo>
                    <a:pt x="980489" y="596900"/>
                    <a:pt x="996836" y="612536"/>
                    <a:pt x="996836" y="631825"/>
                  </a:cubicBezTo>
                  <a:cubicBezTo>
                    <a:pt x="996836" y="651114"/>
                    <a:pt x="980489" y="666750"/>
                    <a:pt x="960324" y="666750"/>
                  </a:cubicBezTo>
                  <a:cubicBezTo>
                    <a:pt x="940157" y="666750"/>
                    <a:pt x="923810" y="651114"/>
                    <a:pt x="923810" y="631825"/>
                  </a:cubicBezTo>
                  <a:cubicBezTo>
                    <a:pt x="923810" y="612536"/>
                    <a:pt x="940157" y="596900"/>
                    <a:pt x="960324" y="596900"/>
                  </a:cubicBezTo>
                  <a:close/>
                  <a:moveTo>
                    <a:pt x="877939" y="596900"/>
                  </a:moveTo>
                  <a:cubicBezTo>
                    <a:pt x="897228" y="596900"/>
                    <a:pt x="912864" y="612536"/>
                    <a:pt x="912864" y="631825"/>
                  </a:cubicBezTo>
                  <a:cubicBezTo>
                    <a:pt x="912864" y="651114"/>
                    <a:pt x="897228" y="666750"/>
                    <a:pt x="877939" y="666750"/>
                  </a:cubicBezTo>
                  <a:cubicBezTo>
                    <a:pt x="858647" y="666750"/>
                    <a:pt x="843014" y="651114"/>
                    <a:pt x="843014" y="631825"/>
                  </a:cubicBezTo>
                  <a:cubicBezTo>
                    <a:pt x="843014" y="612536"/>
                    <a:pt x="858647" y="596900"/>
                    <a:pt x="877939" y="596900"/>
                  </a:cubicBezTo>
                  <a:close/>
                  <a:moveTo>
                    <a:pt x="793002" y="596900"/>
                  </a:moveTo>
                  <a:cubicBezTo>
                    <a:pt x="811858" y="596900"/>
                    <a:pt x="827137" y="612536"/>
                    <a:pt x="827137" y="631825"/>
                  </a:cubicBezTo>
                  <a:cubicBezTo>
                    <a:pt x="827137" y="651114"/>
                    <a:pt x="811858" y="666750"/>
                    <a:pt x="793002" y="666750"/>
                  </a:cubicBezTo>
                  <a:cubicBezTo>
                    <a:pt x="774151" y="666750"/>
                    <a:pt x="758871" y="651114"/>
                    <a:pt x="758871" y="631825"/>
                  </a:cubicBezTo>
                  <a:cubicBezTo>
                    <a:pt x="758871" y="612536"/>
                    <a:pt x="774151" y="596900"/>
                    <a:pt x="793002" y="596900"/>
                  </a:cubicBezTo>
                  <a:close/>
                  <a:moveTo>
                    <a:pt x="707275" y="596900"/>
                  </a:moveTo>
                  <a:cubicBezTo>
                    <a:pt x="726127" y="596900"/>
                    <a:pt x="741409" y="612536"/>
                    <a:pt x="741409" y="631825"/>
                  </a:cubicBezTo>
                  <a:cubicBezTo>
                    <a:pt x="741409" y="651114"/>
                    <a:pt x="726127" y="666750"/>
                    <a:pt x="707275" y="666750"/>
                  </a:cubicBezTo>
                  <a:cubicBezTo>
                    <a:pt x="688422" y="666750"/>
                    <a:pt x="673133" y="651114"/>
                    <a:pt x="673133" y="631825"/>
                  </a:cubicBezTo>
                  <a:cubicBezTo>
                    <a:pt x="673133" y="612536"/>
                    <a:pt x="688422" y="596900"/>
                    <a:pt x="707275" y="596900"/>
                  </a:cubicBezTo>
                  <a:close/>
                  <a:moveTo>
                    <a:pt x="8716052" y="511175"/>
                  </a:moveTo>
                  <a:cubicBezTo>
                    <a:pt x="8734903" y="511175"/>
                    <a:pt x="8750184" y="526456"/>
                    <a:pt x="8750184" y="545307"/>
                  </a:cubicBezTo>
                  <a:cubicBezTo>
                    <a:pt x="8750184" y="564158"/>
                    <a:pt x="8734903" y="579439"/>
                    <a:pt x="8716052" y="579439"/>
                  </a:cubicBezTo>
                  <a:cubicBezTo>
                    <a:pt x="8697201" y="579439"/>
                    <a:pt x="8681920" y="564158"/>
                    <a:pt x="8681920" y="545307"/>
                  </a:cubicBezTo>
                  <a:cubicBezTo>
                    <a:pt x="8681920" y="526456"/>
                    <a:pt x="8697201" y="511175"/>
                    <a:pt x="8716052" y="511175"/>
                  </a:cubicBezTo>
                  <a:close/>
                  <a:moveTo>
                    <a:pt x="8630327" y="511175"/>
                  </a:moveTo>
                  <a:cubicBezTo>
                    <a:pt x="8649178" y="511175"/>
                    <a:pt x="8664459" y="526456"/>
                    <a:pt x="8664459" y="545307"/>
                  </a:cubicBezTo>
                  <a:cubicBezTo>
                    <a:pt x="8664459" y="564158"/>
                    <a:pt x="8649178" y="579439"/>
                    <a:pt x="8630327" y="579439"/>
                  </a:cubicBezTo>
                  <a:cubicBezTo>
                    <a:pt x="8611476" y="579439"/>
                    <a:pt x="8596195" y="564158"/>
                    <a:pt x="8596195" y="545307"/>
                  </a:cubicBezTo>
                  <a:cubicBezTo>
                    <a:pt x="8596195" y="526456"/>
                    <a:pt x="8611476" y="511175"/>
                    <a:pt x="8630327" y="511175"/>
                  </a:cubicBezTo>
                  <a:close/>
                  <a:moveTo>
                    <a:pt x="8544602" y="511175"/>
                  </a:moveTo>
                  <a:cubicBezTo>
                    <a:pt x="8563453" y="511175"/>
                    <a:pt x="8578734" y="526456"/>
                    <a:pt x="8578734" y="545307"/>
                  </a:cubicBezTo>
                  <a:cubicBezTo>
                    <a:pt x="8578734" y="564158"/>
                    <a:pt x="8563453" y="579439"/>
                    <a:pt x="8544602" y="579439"/>
                  </a:cubicBezTo>
                  <a:cubicBezTo>
                    <a:pt x="8525751" y="579439"/>
                    <a:pt x="8510470" y="564158"/>
                    <a:pt x="8510470" y="545307"/>
                  </a:cubicBezTo>
                  <a:cubicBezTo>
                    <a:pt x="8510470" y="526456"/>
                    <a:pt x="8525751" y="511175"/>
                    <a:pt x="8544602" y="511175"/>
                  </a:cubicBezTo>
                  <a:close/>
                  <a:moveTo>
                    <a:pt x="8465227" y="511175"/>
                  </a:moveTo>
                  <a:cubicBezTo>
                    <a:pt x="8484078" y="511175"/>
                    <a:pt x="8499359" y="526456"/>
                    <a:pt x="8499359" y="545307"/>
                  </a:cubicBezTo>
                  <a:cubicBezTo>
                    <a:pt x="8499359" y="564158"/>
                    <a:pt x="8484078" y="579439"/>
                    <a:pt x="8465227" y="579439"/>
                  </a:cubicBezTo>
                  <a:cubicBezTo>
                    <a:pt x="8446376" y="579439"/>
                    <a:pt x="8431095" y="564158"/>
                    <a:pt x="8431095" y="545307"/>
                  </a:cubicBezTo>
                  <a:cubicBezTo>
                    <a:pt x="8431095" y="526456"/>
                    <a:pt x="8446376" y="511175"/>
                    <a:pt x="8465227" y="511175"/>
                  </a:cubicBezTo>
                  <a:close/>
                  <a:moveTo>
                    <a:pt x="8379502" y="511175"/>
                  </a:moveTo>
                  <a:cubicBezTo>
                    <a:pt x="8398353" y="511175"/>
                    <a:pt x="8413634" y="526456"/>
                    <a:pt x="8413634" y="545307"/>
                  </a:cubicBezTo>
                  <a:cubicBezTo>
                    <a:pt x="8413634" y="564158"/>
                    <a:pt x="8398353" y="579439"/>
                    <a:pt x="8379502" y="579439"/>
                  </a:cubicBezTo>
                  <a:cubicBezTo>
                    <a:pt x="8360651" y="579439"/>
                    <a:pt x="8345370" y="564158"/>
                    <a:pt x="8345370" y="545307"/>
                  </a:cubicBezTo>
                  <a:cubicBezTo>
                    <a:pt x="8345370" y="526456"/>
                    <a:pt x="8360651" y="511175"/>
                    <a:pt x="8379502" y="511175"/>
                  </a:cubicBezTo>
                  <a:close/>
                  <a:moveTo>
                    <a:pt x="8293777" y="511175"/>
                  </a:moveTo>
                  <a:cubicBezTo>
                    <a:pt x="8312628" y="511175"/>
                    <a:pt x="8327909" y="526456"/>
                    <a:pt x="8327909" y="545307"/>
                  </a:cubicBezTo>
                  <a:cubicBezTo>
                    <a:pt x="8327909" y="564158"/>
                    <a:pt x="8312628" y="579439"/>
                    <a:pt x="8293777" y="579439"/>
                  </a:cubicBezTo>
                  <a:cubicBezTo>
                    <a:pt x="8274926" y="579439"/>
                    <a:pt x="8259645" y="564158"/>
                    <a:pt x="8259645" y="545307"/>
                  </a:cubicBezTo>
                  <a:cubicBezTo>
                    <a:pt x="8259645" y="526456"/>
                    <a:pt x="8274926" y="511175"/>
                    <a:pt x="8293777" y="511175"/>
                  </a:cubicBezTo>
                  <a:close/>
                  <a:moveTo>
                    <a:pt x="8208052" y="511175"/>
                  </a:moveTo>
                  <a:cubicBezTo>
                    <a:pt x="8226903" y="511175"/>
                    <a:pt x="8242184" y="526456"/>
                    <a:pt x="8242184" y="545307"/>
                  </a:cubicBezTo>
                  <a:cubicBezTo>
                    <a:pt x="8242184" y="564158"/>
                    <a:pt x="8226903" y="579439"/>
                    <a:pt x="8208052" y="579439"/>
                  </a:cubicBezTo>
                  <a:cubicBezTo>
                    <a:pt x="8189201" y="579439"/>
                    <a:pt x="8173920" y="564158"/>
                    <a:pt x="8173920" y="545307"/>
                  </a:cubicBezTo>
                  <a:cubicBezTo>
                    <a:pt x="8173920" y="526456"/>
                    <a:pt x="8189201" y="511175"/>
                    <a:pt x="8208052" y="511175"/>
                  </a:cubicBezTo>
                  <a:close/>
                  <a:moveTo>
                    <a:pt x="8125502" y="511175"/>
                  </a:moveTo>
                  <a:cubicBezTo>
                    <a:pt x="8146106" y="511175"/>
                    <a:pt x="8162809" y="526456"/>
                    <a:pt x="8162809" y="545307"/>
                  </a:cubicBezTo>
                  <a:cubicBezTo>
                    <a:pt x="8162809" y="564158"/>
                    <a:pt x="8146106" y="579439"/>
                    <a:pt x="8125502" y="579439"/>
                  </a:cubicBezTo>
                  <a:cubicBezTo>
                    <a:pt x="8104898" y="579439"/>
                    <a:pt x="8088195" y="564158"/>
                    <a:pt x="8088195" y="545307"/>
                  </a:cubicBezTo>
                  <a:cubicBezTo>
                    <a:pt x="8088195" y="526456"/>
                    <a:pt x="8104898" y="511175"/>
                    <a:pt x="8125502" y="511175"/>
                  </a:cubicBezTo>
                  <a:close/>
                  <a:moveTo>
                    <a:pt x="8042952" y="511175"/>
                  </a:moveTo>
                  <a:cubicBezTo>
                    <a:pt x="8061803" y="511175"/>
                    <a:pt x="8077084" y="526456"/>
                    <a:pt x="8077084" y="545307"/>
                  </a:cubicBezTo>
                  <a:cubicBezTo>
                    <a:pt x="8077084" y="564158"/>
                    <a:pt x="8061803" y="579439"/>
                    <a:pt x="8042952" y="579439"/>
                  </a:cubicBezTo>
                  <a:cubicBezTo>
                    <a:pt x="8024101" y="579439"/>
                    <a:pt x="8008820" y="564158"/>
                    <a:pt x="8008820" y="545307"/>
                  </a:cubicBezTo>
                  <a:cubicBezTo>
                    <a:pt x="8008820" y="526456"/>
                    <a:pt x="8024101" y="511175"/>
                    <a:pt x="8042952" y="511175"/>
                  </a:cubicBezTo>
                  <a:close/>
                  <a:moveTo>
                    <a:pt x="7957227" y="511175"/>
                  </a:moveTo>
                  <a:cubicBezTo>
                    <a:pt x="7976078" y="511175"/>
                    <a:pt x="7991359" y="526456"/>
                    <a:pt x="7991359" y="545307"/>
                  </a:cubicBezTo>
                  <a:cubicBezTo>
                    <a:pt x="7991359" y="564158"/>
                    <a:pt x="7976078" y="579439"/>
                    <a:pt x="7957227" y="579439"/>
                  </a:cubicBezTo>
                  <a:cubicBezTo>
                    <a:pt x="7938376" y="579439"/>
                    <a:pt x="7923095" y="564158"/>
                    <a:pt x="7923095" y="545307"/>
                  </a:cubicBezTo>
                  <a:cubicBezTo>
                    <a:pt x="7923095" y="526456"/>
                    <a:pt x="7938376" y="511175"/>
                    <a:pt x="7957227" y="511175"/>
                  </a:cubicBezTo>
                  <a:close/>
                  <a:moveTo>
                    <a:pt x="7871502" y="511175"/>
                  </a:moveTo>
                  <a:cubicBezTo>
                    <a:pt x="7890353" y="511175"/>
                    <a:pt x="7905634" y="526456"/>
                    <a:pt x="7905634" y="545307"/>
                  </a:cubicBezTo>
                  <a:cubicBezTo>
                    <a:pt x="7905634" y="564158"/>
                    <a:pt x="7890353" y="579439"/>
                    <a:pt x="7871502" y="579439"/>
                  </a:cubicBezTo>
                  <a:cubicBezTo>
                    <a:pt x="7852651" y="579439"/>
                    <a:pt x="7837370" y="564158"/>
                    <a:pt x="7837370" y="545307"/>
                  </a:cubicBezTo>
                  <a:cubicBezTo>
                    <a:pt x="7837370" y="526456"/>
                    <a:pt x="7852651" y="511175"/>
                    <a:pt x="7871502" y="511175"/>
                  </a:cubicBezTo>
                  <a:close/>
                  <a:moveTo>
                    <a:pt x="7785777" y="511175"/>
                  </a:moveTo>
                  <a:cubicBezTo>
                    <a:pt x="7804628" y="511175"/>
                    <a:pt x="7819909" y="526456"/>
                    <a:pt x="7819909" y="545307"/>
                  </a:cubicBezTo>
                  <a:cubicBezTo>
                    <a:pt x="7819909" y="564158"/>
                    <a:pt x="7804628" y="579439"/>
                    <a:pt x="7785777" y="579439"/>
                  </a:cubicBezTo>
                  <a:cubicBezTo>
                    <a:pt x="7766926" y="579439"/>
                    <a:pt x="7751645" y="564158"/>
                    <a:pt x="7751645" y="545307"/>
                  </a:cubicBezTo>
                  <a:cubicBezTo>
                    <a:pt x="7751645" y="526456"/>
                    <a:pt x="7766926" y="511175"/>
                    <a:pt x="7785777" y="511175"/>
                  </a:cubicBezTo>
                  <a:close/>
                  <a:moveTo>
                    <a:pt x="7706402" y="511175"/>
                  </a:moveTo>
                  <a:cubicBezTo>
                    <a:pt x="7725253" y="511175"/>
                    <a:pt x="7740534" y="526456"/>
                    <a:pt x="7740534" y="545307"/>
                  </a:cubicBezTo>
                  <a:cubicBezTo>
                    <a:pt x="7740534" y="564158"/>
                    <a:pt x="7725253" y="579439"/>
                    <a:pt x="7706402" y="579439"/>
                  </a:cubicBezTo>
                  <a:cubicBezTo>
                    <a:pt x="7687551" y="579439"/>
                    <a:pt x="7672270" y="564158"/>
                    <a:pt x="7672270" y="545307"/>
                  </a:cubicBezTo>
                  <a:cubicBezTo>
                    <a:pt x="7672270" y="526456"/>
                    <a:pt x="7687551" y="511175"/>
                    <a:pt x="7706402" y="511175"/>
                  </a:cubicBezTo>
                  <a:close/>
                  <a:moveTo>
                    <a:pt x="7620677" y="511175"/>
                  </a:moveTo>
                  <a:cubicBezTo>
                    <a:pt x="7639528" y="511175"/>
                    <a:pt x="7654809" y="526456"/>
                    <a:pt x="7654809" y="545307"/>
                  </a:cubicBezTo>
                  <a:cubicBezTo>
                    <a:pt x="7654809" y="564158"/>
                    <a:pt x="7639528" y="579439"/>
                    <a:pt x="7620677" y="579439"/>
                  </a:cubicBezTo>
                  <a:cubicBezTo>
                    <a:pt x="7601826" y="579439"/>
                    <a:pt x="7586545" y="564158"/>
                    <a:pt x="7586545" y="545307"/>
                  </a:cubicBezTo>
                  <a:cubicBezTo>
                    <a:pt x="7586545" y="526456"/>
                    <a:pt x="7601826" y="511175"/>
                    <a:pt x="7620677" y="511175"/>
                  </a:cubicBezTo>
                  <a:close/>
                  <a:moveTo>
                    <a:pt x="7534952" y="511175"/>
                  </a:moveTo>
                  <a:cubicBezTo>
                    <a:pt x="7553803" y="511175"/>
                    <a:pt x="7569084" y="526456"/>
                    <a:pt x="7569084" y="545307"/>
                  </a:cubicBezTo>
                  <a:cubicBezTo>
                    <a:pt x="7569084" y="564158"/>
                    <a:pt x="7553803" y="579439"/>
                    <a:pt x="7534952" y="579439"/>
                  </a:cubicBezTo>
                  <a:cubicBezTo>
                    <a:pt x="7516101" y="579439"/>
                    <a:pt x="7500820" y="564158"/>
                    <a:pt x="7500820" y="545307"/>
                  </a:cubicBezTo>
                  <a:cubicBezTo>
                    <a:pt x="7500820" y="526456"/>
                    <a:pt x="7516101" y="511175"/>
                    <a:pt x="7534952" y="511175"/>
                  </a:cubicBezTo>
                  <a:close/>
                  <a:moveTo>
                    <a:pt x="7449227" y="511175"/>
                  </a:moveTo>
                  <a:cubicBezTo>
                    <a:pt x="7468078" y="511175"/>
                    <a:pt x="7483359" y="526456"/>
                    <a:pt x="7483359" y="545307"/>
                  </a:cubicBezTo>
                  <a:cubicBezTo>
                    <a:pt x="7483359" y="564158"/>
                    <a:pt x="7468078" y="579439"/>
                    <a:pt x="7449227" y="579439"/>
                  </a:cubicBezTo>
                  <a:cubicBezTo>
                    <a:pt x="7430376" y="579439"/>
                    <a:pt x="7415095" y="564158"/>
                    <a:pt x="7415095" y="545307"/>
                  </a:cubicBezTo>
                  <a:cubicBezTo>
                    <a:pt x="7415095" y="526456"/>
                    <a:pt x="7430376" y="511175"/>
                    <a:pt x="7449227" y="511175"/>
                  </a:cubicBezTo>
                  <a:close/>
                  <a:moveTo>
                    <a:pt x="7366677" y="511175"/>
                  </a:moveTo>
                  <a:cubicBezTo>
                    <a:pt x="7387281" y="511175"/>
                    <a:pt x="7403984" y="526456"/>
                    <a:pt x="7403984" y="545307"/>
                  </a:cubicBezTo>
                  <a:cubicBezTo>
                    <a:pt x="7403984" y="564158"/>
                    <a:pt x="7387281" y="579439"/>
                    <a:pt x="7366677" y="579439"/>
                  </a:cubicBezTo>
                  <a:cubicBezTo>
                    <a:pt x="7346073" y="579439"/>
                    <a:pt x="7329370" y="564158"/>
                    <a:pt x="7329370" y="545307"/>
                  </a:cubicBezTo>
                  <a:cubicBezTo>
                    <a:pt x="7329370" y="526456"/>
                    <a:pt x="7346073" y="511175"/>
                    <a:pt x="7366677" y="511175"/>
                  </a:cubicBezTo>
                  <a:close/>
                  <a:moveTo>
                    <a:pt x="7284127" y="511175"/>
                  </a:moveTo>
                  <a:cubicBezTo>
                    <a:pt x="7302978" y="511175"/>
                    <a:pt x="7318259" y="526456"/>
                    <a:pt x="7318259" y="545307"/>
                  </a:cubicBezTo>
                  <a:cubicBezTo>
                    <a:pt x="7318259" y="564158"/>
                    <a:pt x="7302978" y="579439"/>
                    <a:pt x="7284127" y="579439"/>
                  </a:cubicBezTo>
                  <a:cubicBezTo>
                    <a:pt x="7265276" y="579439"/>
                    <a:pt x="7249995" y="564158"/>
                    <a:pt x="7249995" y="545307"/>
                  </a:cubicBezTo>
                  <a:cubicBezTo>
                    <a:pt x="7249995" y="526456"/>
                    <a:pt x="7265276" y="511175"/>
                    <a:pt x="7284127" y="511175"/>
                  </a:cubicBezTo>
                  <a:close/>
                  <a:moveTo>
                    <a:pt x="7198402" y="511175"/>
                  </a:moveTo>
                  <a:cubicBezTo>
                    <a:pt x="7217253" y="511175"/>
                    <a:pt x="7232534" y="526456"/>
                    <a:pt x="7232534" y="545307"/>
                  </a:cubicBezTo>
                  <a:cubicBezTo>
                    <a:pt x="7232534" y="564158"/>
                    <a:pt x="7217253" y="579439"/>
                    <a:pt x="7198402" y="579439"/>
                  </a:cubicBezTo>
                  <a:cubicBezTo>
                    <a:pt x="7179551" y="579439"/>
                    <a:pt x="7164270" y="564158"/>
                    <a:pt x="7164270" y="545307"/>
                  </a:cubicBezTo>
                  <a:cubicBezTo>
                    <a:pt x="7164270" y="526456"/>
                    <a:pt x="7179551" y="511175"/>
                    <a:pt x="7198402" y="511175"/>
                  </a:cubicBezTo>
                  <a:close/>
                  <a:moveTo>
                    <a:pt x="7112677" y="511175"/>
                  </a:moveTo>
                  <a:cubicBezTo>
                    <a:pt x="7131528" y="511175"/>
                    <a:pt x="7146809" y="526456"/>
                    <a:pt x="7146809" y="545307"/>
                  </a:cubicBezTo>
                  <a:cubicBezTo>
                    <a:pt x="7146809" y="564158"/>
                    <a:pt x="7131528" y="579439"/>
                    <a:pt x="7112677" y="579439"/>
                  </a:cubicBezTo>
                  <a:cubicBezTo>
                    <a:pt x="7093826" y="579439"/>
                    <a:pt x="7078545" y="564158"/>
                    <a:pt x="7078545" y="545307"/>
                  </a:cubicBezTo>
                  <a:cubicBezTo>
                    <a:pt x="7078545" y="526456"/>
                    <a:pt x="7093826" y="511175"/>
                    <a:pt x="7112677" y="511175"/>
                  </a:cubicBezTo>
                  <a:close/>
                  <a:moveTo>
                    <a:pt x="7027745" y="511175"/>
                  </a:moveTo>
                  <a:cubicBezTo>
                    <a:pt x="7047034" y="511175"/>
                    <a:pt x="7062670" y="526456"/>
                    <a:pt x="7062670" y="545307"/>
                  </a:cubicBezTo>
                  <a:cubicBezTo>
                    <a:pt x="7062670" y="564158"/>
                    <a:pt x="7047034" y="579439"/>
                    <a:pt x="7027745" y="579439"/>
                  </a:cubicBezTo>
                  <a:cubicBezTo>
                    <a:pt x="7008456" y="579439"/>
                    <a:pt x="6992820" y="564158"/>
                    <a:pt x="6992820" y="545307"/>
                  </a:cubicBezTo>
                  <a:cubicBezTo>
                    <a:pt x="6992820" y="526456"/>
                    <a:pt x="7008456" y="511175"/>
                    <a:pt x="7027745" y="511175"/>
                  </a:cubicBezTo>
                  <a:close/>
                  <a:moveTo>
                    <a:pt x="6861852" y="511175"/>
                  </a:moveTo>
                  <a:cubicBezTo>
                    <a:pt x="6880703" y="511175"/>
                    <a:pt x="6895984" y="526456"/>
                    <a:pt x="6895984" y="545307"/>
                  </a:cubicBezTo>
                  <a:cubicBezTo>
                    <a:pt x="6895984" y="564158"/>
                    <a:pt x="6880703" y="579439"/>
                    <a:pt x="6861852" y="579439"/>
                  </a:cubicBezTo>
                  <a:cubicBezTo>
                    <a:pt x="6843001" y="579439"/>
                    <a:pt x="6827720" y="564158"/>
                    <a:pt x="6827720" y="545307"/>
                  </a:cubicBezTo>
                  <a:cubicBezTo>
                    <a:pt x="6827720" y="526456"/>
                    <a:pt x="6843001" y="511175"/>
                    <a:pt x="6861852" y="511175"/>
                  </a:cubicBezTo>
                  <a:close/>
                  <a:moveTo>
                    <a:pt x="6776127" y="511175"/>
                  </a:moveTo>
                  <a:cubicBezTo>
                    <a:pt x="6794978" y="511175"/>
                    <a:pt x="6810259" y="526456"/>
                    <a:pt x="6810259" y="545307"/>
                  </a:cubicBezTo>
                  <a:cubicBezTo>
                    <a:pt x="6810259" y="564158"/>
                    <a:pt x="6794978" y="579439"/>
                    <a:pt x="6776127" y="579439"/>
                  </a:cubicBezTo>
                  <a:cubicBezTo>
                    <a:pt x="6757276" y="579439"/>
                    <a:pt x="6741995" y="564158"/>
                    <a:pt x="6741995" y="545307"/>
                  </a:cubicBezTo>
                  <a:cubicBezTo>
                    <a:pt x="6741995" y="526456"/>
                    <a:pt x="6757276" y="511175"/>
                    <a:pt x="6776127" y="511175"/>
                  </a:cubicBezTo>
                  <a:close/>
                  <a:moveTo>
                    <a:pt x="6691195" y="511175"/>
                  </a:moveTo>
                  <a:cubicBezTo>
                    <a:pt x="6710484" y="511175"/>
                    <a:pt x="6726120" y="526456"/>
                    <a:pt x="6726120" y="545307"/>
                  </a:cubicBezTo>
                  <a:cubicBezTo>
                    <a:pt x="6726120" y="564158"/>
                    <a:pt x="6710484" y="579439"/>
                    <a:pt x="6691195" y="579439"/>
                  </a:cubicBezTo>
                  <a:cubicBezTo>
                    <a:pt x="6671906" y="579439"/>
                    <a:pt x="6656270" y="564158"/>
                    <a:pt x="6656270" y="545307"/>
                  </a:cubicBezTo>
                  <a:cubicBezTo>
                    <a:pt x="6656270" y="526456"/>
                    <a:pt x="6671906" y="511175"/>
                    <a:pt x="6691195" y="511175"/>
                  </a:cubicBezTo>
                  <a:close/>
                  <a:moveTo>
                    <a:pt x="6268920" y="511175"/>
                  </a:moveTo>
                  <a:cubicBezTo>
                    <a:pt x="6288209" y="511175"/>
                    <a:pt x="6303845" y="526456"/>
                    <a:pt x="6303845" y="545307"/>
                  </a:cubicBezTo>
                  <a:cubicBezTo>
                    <a:pt x="6303845" y="564158"/>
                    <a:pt x="6288209" y="579439"/>
                    <a:pt x="6268920" y="579439"/>
                  </a:cubicBezTo>
                  <a:cubicBezTo>
                    <a:pt x="6249631" y="579439"/>
                    <a:pt x="6233995" y="564158"/>
                    <a:pt x="6233995" y="545307"/>
                  </a:cubicBezTo>
                  <a:cubicBezTo>
                    <a:pt x="6233995" y="526456"/>
                    <a:pt x="6249631" y="511175"/>
                    <a:pt x="6268920" y="511175"/>
                  </a:cubicBezTo>
                  <a:close/>
                  <a:moveTo>
                    <a:pt x="4332171" y="511175"/>
                  </a:moveTo>
                  <a:cubicBezTo>
                    <a:pt x="4352337" y="511175"/>
                    <a:pt x="4368684" y="526456"/>
                    <a:pt x="4368684" y="545307"/>
                  </a:cubicBezTo>
                  <a:cubicBezTo>
                    <a:pt x="4368684" y="564158"/>
                    <a:pt x="4352337" y="579439"/>
                    <a:pt x="4332171" y="579439"/>
                  </a:cubicBezTo>
                  <a:cubicBezTo>
                    <a:pt x="4312005" y="579439"/>
                    <a:pt x="4295658" y="564158"/>
                    <a:pt x="4295658" y="545307"/>
                  </a:cubicBezTo>
                  <a:cubicBezTo>
                    <a:pt x="4295658" y="526456"/>
                    <a:pt x="4312005" y="511175"/>
                    <a:pt x="4332171" y="511175"/>
                  </a:cubicBezTo>
                  <a:close/>
                  <a:moveTo>
                    <a:pt x="4248827" y="511175"/>
                  </a:moveTo>
                  <a:cubicBezTo>
                    <a:pt x="4267678" y="511175"/>
                    <a:pt x="4282959" y="526456"/>
                    <a:pt x="4282959" y="545307"/>
                  </a:cubicBezTo>
                  <a:cubicBezTo>
                    <a:pt x="4282959" y="564158"/>
                    <a:pt x="4267678" y="579439"/>
                    <a:pt x="4248827" y="579439"/>
                  </a:cubicBezTo>
                  <a:cubicBezTo>
                    <a:pt x="4229976" y="579439"/>
                    <a:pt x="4214695" y="564158"/>
                    <a:pt x="4214695" y="545307"/>
                  </a:cubicBezTo>
                  <a:cubicBezTo>
                    <a:pt x="4214695" y="526456"/>
                    <a:pt x="4229976" y="511175"/>
                    <a:pt x="4248827" y="511175"/>
                  </a:cubicBezTo>
                  <a:close/>
                  <a:moveTo>
                    <a:pt x="4163895" y="511175"/>
                  </a:moveTo>
                  <a:cubicBezTo>
                    <a:pt x="4183184" y="511175"/>
                    <a:pt x="4198820" y="526456"/>
                    <a:pt x="4198820" y="545307"/>
                  </a:cubicBezTo>
                  <a:cubicBezTo>
                    <a:pt x="4198820" y="564158"/>
                    <a:pt x="4183184" y="579439"/>
                    <a:pt x="4163895" y="579439"/>
                  </a:cubicBezTo>
                  <a:cubicBezTo>
                    <a:pt x="4144606" y="579439"/>
                    <a:pt x="4128970" y="564158"/>
                    <a:pt x="4128970" y="545307"/>
                  </a:cubicBezTo>
                  <a:cubicBezTo>
                    <a:pt x="4128970" y="526456"/>
                    <a:pt x="4144606" y="511175"/>
                    <a:pt x="4163895" y="511175"/>
                  </a:cubicBezTo>
                  <a:close/>
                  <a:moveTo>
                    <a:pt x="4078170" y="511175"/>
                  </a:moveTo>
                  <a:cubicBezTo>
                    <a:pt x="4097459" y="511175"/>
                    <a:pt x="4113095" y="526456"/>
                    <a:pt x="4113095" y="545307"/>
                  </a:cubicBezTo>
                  <a:cubicBezTo>
                    <a:pt x="4113095" y="564158"/>
                    <a:pt x="4097459" y="579439"/>
                    <a:pt x="4078170" y="579439"/>
                  </a:cubicBezTo>
                  <a:cubicBezTo>
                    <a:pt x="4058881" y="579439"/>
                    <a:pt x="4043245" y="564158"/>
                    <a:pt x="4043245" y="545307"/>
                  </a:cubicBezTo>
                  <a:cubicBezTo>
                    <a:pt x="4043245" y="526456"/>
                    <a:pt x="4058881" y="511175"/>
                    <a:pt x="4078170" y="511175"/>
                  </a:cubicBezTo>
                  <a:close/>
                  <a:moveTo>
                    <a:pt x="3993240" y="511175"/>
                  </a:moveTo>
                  <a:cubicBezTo>
                    <a:pt x="4012091" y="511175"/>
                    <a:pt x="4027372" y="526456"/>
                    <a:pt x="4027372" y="545307"/>
                  </a:cubicBezTo>
                  <a:cubicBezTo>
                    <a:pt x="4027372" y="564158"/>
                    <a:pt x="4012091" y="579439"/>
                    <a:pt x="3993240" y="579439"/>
                  </a:cubicBezTo>
                  <a:cubicBezTo>
                    <a:pt x="3974389" y="579439"/>
                    <a:pt x="3959108" y="564158"/>
                    <a:pt x="3959108" y="545307"/>
                  </a:cubicBezTo>
                  <a:cubicBezTo>
                    <a:pt x="3959108" y="526456"/>
                    <a:pt x="3974389" y="511175"/>
                    <a:pt x="3993240" y="511175"/>
                  </a:cubicBezTo>
                  <a:close/>
                  <a:moveTo>
                    <a:pt x="3912277" y="511175"/>
                  </a:moveTo>
                  <a:cubicBezTo>
                    <a:pt x="3931128" y="511175"/>
                    <a:pt x="3946409" y="526456"/>
                    <a:pt x="3946409" y="545307"/>
                  </a:cubicBezTo>
                  <a:cubicBezTo>
                    <a:pt x="3946409" y="564158"/>
                    <a:pt x="3931128" y="579439"/>
                    <a:pt x="3912277" y="579439"/>
                  </a:cubicBezTo>
                  <a:cubicBezTo>
                    <a:pt x="3893426" y="579439"/>
                    <a:pt x="3878145" y="564158"/>
                    <a:pt x="3878145" y="545307"/>
                  </a:cubicBezTo>
                  <a:cubicBezTo>
                    <a:pt x="3878145" y="526456"/>
                    <a:pt x="3893426" y="511175"/>
                    <a:pt x="3912277" y="511175"/>
                  </a:cubicBezTo>
                  <a:close/>
                  <a:moveTo>
                    <a:pt x="3826552" y="511175"/>
                  </a:moveTo>
                  <a:cubicBezTo>
                    <a:pt x="3845403" y="511175"/>
                    <a:pt x="3860684" y="526456"/>
                    <a:pt x="3860684" y="545307"/>
                  </a:cubicBezTo>
                  <a:cubicBezTo>
                    <a:pt x="3860684" y="564158"/>
                    <a:pt x="3845403" y="579439"/>
                    <a:pt x="3826552" y="579439"/>
                  </a:cubicBezTo>
                  <a:cubicBezTo>
                    <a:pt x="3807701" y="579439"/>
                    <a:pt x="3792420" y="564158"/>
                    <a:pt x="3792420" y="545307"/>
                  </a:cubicBezTo>
                  <a:cubicBezTo>
                    <a:pt x="3792420" y="526456"/>
                    <a:pt x="3807701" y="511175"/>
                    <a:pt x="3826552" y="511175"/>
                  </a:cubicBezTo>
                  <a:close/>
                  <a:moveTo>
                    <a:pt x="3741620" y="511175"/>
                  </a:moveTo>
                  <a:cubicBezTo>
                    <a:pt x="3760909" y="511175"/>
                    <a:pt x="3776545" y="526456"/>
                    <a:pt x="3776545" y="545307"/>
                  </a:cubicBezTo>
                  <a:cubicBezTo>
                    <a:pt x="3776545" y="564158"/>
                    <a:pt x="3760909" y="579439"/>
                    <a:pt x="3741620" y="579439"/>
                  </a:cubicBezTo>
                  <a:cubicBezTo>
                    <a:pt x="3722331" y="579439"/>
                    <a:pt x="3706695" y="564158"/>
                    <a:pt x="3706695" y="545307"/>
                  </a:cubicBezTo>
                  <a:cubicBezTo>
                    <a:pt x="3706695" y="526456"/>
                    <a:pt x="3722331" y="511175"/>
                    <a:pt x="3741620" y="511175"/>
                  </a:cubicBezTo>
                  <a:close/>
                  <a:moveTo>
                    <a:pt x="3153452" y="511175"/>
                  </a:moveTo>
                  <a:cubicBezTo>
                    <a:pt x="3172303" y="511175"/>
                    <a:pt x="3187584" y="526456"/>
                    <a:pt x="3187584" y="545307"/>
                  </a:cubicBezTo>
                  <a:cubicBezTo>
                    <a:pt x="3187584" y="564158"/>
                    <a:pt x="3172303" y="579439"/>
                    <a:pt x="3153452" y="579439"/>
                  </a:cubicBezTo>
                  <a:cubicBezTo>
                    <a:pt x="3134601" y="579439"/>
                    <a:pt x="3119320" y="564158"/>
                    <a:pt x="3119320" y="545307"/>
                  </a:cubicBezTo>
                  <a:cubicBezTo>
                    <a:pt x="3119320" y="526456"/>
                    <a:pt x="3134601" y="511175"/>
                    <a:pt x="3153452" y="511175"/>
                  </a:cubicBezTo>
                  <a:close/>
                  <a:moveTo>
                    <a:pt x="3068520" y="511175"/>
                  </a:moveTo>
                  <a:cubicBezTo>
                    <a:pt x="3087809" y="511175"/>
                    <a:pt x="3103445" y="526456"/>
                    <a:pt x="3103445" y="545307"/>
                  </a:cubicBezTo>
                  <a:cubicBezTo>
                    <a:pt x="3103445" y="564158"/>
                    <a:pt x="3087809" y="579439"/>
                    <a:pt x="3068520" y="579439"/>
                  </a:cubicBezTo>
                  <a:cubicBezTo>
                    <a:pt x="3049231" y="579439"/>
                    <a:pt x="3033595" y="564158"/>
                    <a:pt x="3033595" y="545307"/>
                  </a:cubicBezTo>
                  <a:cubicBezTo>
                    <a:pt x="3033595" y="526456"/>
                    <a:pt x="3049231" y="511175"/>
                    <a:pt x="3068520" y="511175"/>
                  </a:cubicBezTo>
                  <a:close/>
                  <a:moveTo>
                    <a:pt x="2983590" y="511175"/>
                  </a:moveTo>
                  <a:cubicBezTo>
                    <a:pt x="3002441" y="511175"/>
                    <a:pt x="3017722" y="526456"/>
                    <a:pt x="3017722" y="545307"/>
                  </a:cubicBezTo>
                  <a:cubicBezTo>
                    <a:pt x="3017722" y="564158"/>
                    <a:pt x="3002441" y="579439"/>
                    <a:pt x="2983590" y="579439"/>
                  </a:cubicBezTo>
                  <a:cubicBezTo>
                    <a:pt x="2964739" y="579439"/>
                    <a:pt x="2949458" y="564158"/>
                    <a:pt x="2949458" y="545307"/>
                  </a:cubicBezTo>
                  <a:cubicBezTo>
                    <a:pt x="2949458" y="526456"/>
                    <a:pt x="2964739" y="511175"/>
                    <a:pt x="2983590" y="511175"/>
                  </a:cubicBezTo>
                  <a:close/>
                  <a:moveTo>
                    <a:pt x="2897865" y="511175"/>
                  </a:moveTo>
                  <a:cubicBezTo>
                    <a:pt x="2916716" y="511175"/>
                    <a:pt x="2931997" y="526456"/>
                    <a:pt x="2931997" y="545307"/>
                  </a:cubicBezTo>
                  <a:cubicBezTo>
                    <a:pt x="2931997" y="564158"/>
                    <a:pt x="2916716" y="579439"/>
                    <a:pt x="2897865" y="579439"/>
                  </a:cubicBezTo>
                  <a:cubicBezTo>
                    <a:pt x="2879014" y="579439"/>
                    <a:pt x="2863733" y="564158"/>
                    <a:pt x="2863733" y="545307"/>
                  </a:cubicBezTo>
                  <a:cubicBezTo>
                    <a:pt x="2863733" y="526456"/>
                    <a:pt x="2879014" y="511175"/>
                    <a:pt x="2897865" y="511175"/>
                  </a:cubicBezTo>
                  <a:close/>
                  <a:moveTo>
                    <a:pt x="2732005" y="511175"/>
                  </a:moveTo>
                  <a:cubicBezTo>
                    <a:pt x="2751293" y="511175"/>
                    <a:pt x="2766929" y="526456"/>
                    <a:pt x="2766929" y="545307"/>
                  </a:cubicBezTo>
                  <a:cubicBezTo>
                    <a:pt x="2766929" y="564158"/>
                    <a:pt x="2751293" y="579439"/>
                    <a:pt x="2732005" y="579439"/>
                  </a:cubicBezTo>
                  <a:cubicBezTo>
                    <a:pt x="2712716" y="579439"/>
                    <a:pt x="2697079" y="564158"/>
                    <a:pt x="2697079" y="545307"/>
                  </a:cubicBezTo>
                  <a:cubicBezTo>
                    <a:pt x="2697079" y="526456"/>
                    <a:pt x="2712716" y="511175"/>
                    <a:pt x="2732005" y="511175"/>
                  </a:cubicBezTo>
                  <a:close/>
                  <a:moveTo>
                    <a:pt x="2475754" y="511175"/>
                  </a:moveTo>
                  <a:cubicBezTo>
                    <a:pt x="2494608" y="511175"/>
                    <a:pt x="2509883" y="526456"/>
                    <a:pt x="2509883" y="545307"/>
                  </a:cubicBezTo>
                  <a:cubicBezTo>
                    <a:pt x="2509883" y="564158"/>
                    <a:pt x="2494608" y="579439"/>
                    <a:pt x="2475754" y="579439"/>
                  </a:cubicBezTo>
                  <a:cubicBezTo>
                    <a:pt x="2456900" y="579439"/>
                    <a:pt x="2441619" y="564158"/>
                    <a:pt x="2441619" y="545307"/>
                  </a:cubicBezTo>
                  <a:cubicBezTo>
                    <a:pt x="2441619" y="526456"/>
                    <a:pt x="2456900" y="511175"/>
                    <a:pt x="2475754" y="511175"/>
                  </a:cubicBezTo>
                  <a:close/>
                  <a:moveTo>
                    <a:pt x="2309856" y="511175"/>
                  </a:moveTo>
                  <a:cubicBezTo>
                    <a:pt x="2329141" y="511175"/>
                    <a:pt x="2344781" y="526456"/>
                    <a:pt x="2344781" y="545307"/>
                  </a:cubicBezTo>
                  <a:cubicBezTo>
                    <a:pt x="2344781" y="564158"/>
                    <a:pt x="2329141" y="579439"/>
                    <a:pt x="2309856" y="579439"/>
                  </a:cubicBezTo>
                  <a:cubicBezTo>
                    <a:pt x="2290564" y="579439"/>
                    <a:pt x="2274920" y="564158"/>
                    <a:pt x="2274920" y="545307"/>
                  </a:cubicBezTo>
                  <a:cubicBezTo>
                    <a:pt x="2274920" y="526456"/>
                    <a:pt x="2290564" y="511175"/>
                    <a:pt x="2309856" y="511175"/>
                  </a:cubicBezTo>
                  <a:close/>
                  <a:moveTo>
                    <a:pt x="2224919" y="511175"/>
                  </a:moveTo>
                  <a:cubicBezTo>
                    <a:pt x="2243761" y="511175"/>
                    <a:pt x="2259040" y="526456"/>
                    <a:pt x="2259040" y="545307"/>
                  </a:cubicBezTo>
                  <a:cubicBezTo>
                    <a:pt x="2259040" y="564158"/>
                    <a:pt x="2243761" y="579439"/>
                    <a:pt x="2224919" y="579439"/>
                  </a:cubicBezTo>
                  <a:cubicBezTo>
                    <a:pt x="2206066" y="579439"/>
                    <a:pt x="2190786" y="564158"/>
                    <a:pt x="2190786" y="545307"/>
                  </a:cubicBezTo>
                  <a:cubicBezTo>
                    <a:pt x="2190786" y="526456"/>
                    <a:pt x="2206066" y="511175"/>
                    <a:pt x="2224919" y="511175"/>
                  </a:cubicBezTo>
                  <a:close/>
                  <a:moveTo>
                    <a:pt x="2055855" y="511175"/>
                  </a:moveTo>
                  <a:cubicBezTo>
                    <a:pt x="2076010" y="511175"/>
                    <a:pt x="2092362" y="526456"/>
                    <a:pt x="2092362" y="545307"/>
                  </a:cubicBezTo>
                  <a:cubicBezTo>
                    <a:pt x="2092362" y="564158"/>
                    <a:pt x="2076010" y="579439"/>
                    <a:pt x="2055855" y="579439"/>
                  </a:cubicBezTo>
                  <a:cubicBezTo>
                    <a:pt x="2035696" y="579439"/>
                    <a:pt x="2019341" y="564158"/>
                    <a:pt x="2019341" y="545307"/>
                  </a:cubicBezTo>
                  <a:cubicBezTo>
                    <a:pt x="2019341" y="526456"/>
                    <a:pt x="2035696" y="511175"/>
                    <a:pt x="2055855" y="511175"/>
                  </a:cubicBezTo>
                  <a:close/>
                  <a:moveTo>
                    <a:pt x="1973301" y="511175"/>
                  </a:moveTo>
                  <a:cubicBezTo>
                    <a:pt x="1992595" y="511175"/>
                    <a:pt x="2008227" y="526456"/>
                    <a:pt x="2008227" y="545307"/>
                  </a:cubicBezTo>
                  <a:cubicBezTo>
                    <a:pt x="2008227" y="564158"/>
                    <a:pt x="1992595" y="579439"/>
                    <a:pt x="1973301" y="579439"/>
                  </a:cubicBezTo>
                  <a:cubicBezTo>
                    <a:pt x="1954014" y="579439"/>
                    <a:pt x="1938380" y="564158"/>
                    <a:pt x="1938380" y="545307"/>
                  </a:cubicBezTo>
                  <a:cubicBezTo>
                    <a:pt x="1938380" y="526456"/>
                    <a:pt x="1954014" y="511175"/>
                    <a:pt x="1973301" y="511175"/>
                  </a:cubicBezTo>
                  <a:close/>
                  <a:moveTo>
                    <a:pt x="1888373" y="511175"/>
                  </a:moveTo>
                  <a:cubicBezTo>
                    <a:pt x="1907222" y="511175"/>
                    <a:pt x="1922503" y="526456"/>
                    <a:pt x="1922503" y="545307"/>
                  </a:cubicBezTo>
                  <a:cubicBezTo>
                    <a:pt x="1922503" y="564158"/>
                    <a:pt x="1907222" y="579439"/>
                    <a:pt x="1888373" y="579439"/>
                  </a:cubicBezTo>
                  <a:cubicBezTo>
                    <a:pt x="1869524" y="579439"/>
                    <a:pt x="1854243" y="564158"/>
                    <a:pt x="1854243" y="545307"/>
                  </a:cubicBezTo>
                  <a:cubicBezTo>
                    <a:pt x="1854243" y="526456"/>
                    <a:pt x="1869524" y="511175"/>
                    <a:pt x="1888373" y="511175"/>
                  </a:cubicBezTo>
                  <a:close/>
                  <a:moveTo>
                    <a:pt x="1802656" y="511175"/>
                  </a:moveTo>
                  <a:cubicBezTo>
                    <a:pt x="1821504" y="511175"/>
                    <a:pt x="1836784" y="526456"/>
                    <a:pt x="1836784" y="545307"/>
                  </a:cubicBezTo>
                  <a:cubicBezTo>
                    <a:pt x="1836784" y="564158"/>
                    <a:pt x="1821504" y="579439"/>
                    <a:pt x="1802656" y="579439"/>
                  </a:cubicBezTo>
                  <a:cubicBezTo>
                    <a:pt x="1783803" y="579439"/>
                    <a:pt x="1768524" y="564158"/>
                    <a:pt x="1768524" y="545307"/>
                  </a:cubicBezTo>
                  <a:cubicBezTo>
                    <a:pt x="1768524" y="526456"/>
                    <a:pt x="1783803" y="511175"/>
                    <a:pt x="1802656" y="511175"/>
                  </a:cubicBezTo>
                  <a:close/>
                  <a:moveTo>
                    <a:pt x="1719314" y="511175"/>
                  </a:moveTo>
                  <a:cubicBezTo>
                    <a:pt x="1739480" y="511175"/>
                    <a:pt x="1755825" y="526456"/>
                    <a:pt x="1755825" y="545307"/>
                  </a:cubicBezTo>
                  <a:cubicBezTo>
                    <a:pt x="1755825" y="564158"/>
                    <a:pt x="1739480" y="579439"/>
                    <a:pt x="1719314" y="579439"/>
                  </a:cubicBezTo>
                  <a:cubicBezTo>
                    <a:pt x="1699147" y="579439"/>
                    <a:pt x="1682803" y="564158"/>
                    <a:pt x="1682803" y="545307"/>
                  </a:cubicBezTo>
                  <a:cubicBezTo>
                    <a:pt x="1682803" y="526456"/>
                    <a:pt x="1699147" y="511175"/>
                    <a:pt x="1719314" y="511175"/>
                  </a:cubicBezTo>
                  <a:close/>
                  <a:moveTo>
                    <a:pt x="1636768" y="511175"/>
                  </a:moveTo>
                  <a:cubicBezTo>
                    <a:pt x="1656054" y="511175"/>
                    <a:pt x="1671691" y="526456"/>
                    <a:pt x="1671691" y="545307"/>
                  </a:cubicBezTo>
                  <a:cubicBezTo>
                    <a:pt x="1671691" y="564158"/>
                    <a:pt x="1656054" y="579439"/>
                    <a:pt x="1636768" y="579439"/>
                  </a:cubicBezTo>
                  <a:cubicBezTo>
                    <a:pt x="1617480" y="579439"/>
                    <a:pt x="1601843" y="564158"/>
                    <a:pt x="1601843" y="545307"/>
                  </a:cubicBezTo>
                  <a:cubicBezTo>
                    <a:pt x="1601843" y="526456"/>
                    <a:pt x="1617480" y="511175"/>
                    <a:pt x="1636768" y="511175"/>
                  </a:cubicBezTo>
                  <a:close/>
                  <a:moveTo>
                    <a:pt x="1551838" y="511175"/>
                  </a:moveTo>
                  <a:cubicBezTo>
                    <a:pt x="1570689" y="511175"/>
                    <a:pt x="1585970" y="526456"/>
                    <a:pt x="1585970" y="545307"/>
                  </a:cubicBezTo>
                  <a:cubicBezTo>
                    <a:pt x="1585970" y="564158"/>
                    <a:pt x="1570689" y="579439"/>
                    <a:pt x="1551838" y="579439"/>
                  </a:cubicBezTo>
                  <a:cubicBezTo>
                    <a:pt x="1532987" y="579439"/>
                    <a:pt x="1517707" y="564158"/>
                    <a:pt x="1517707" y="545307"/>
                  </a:cubicBezTo>
                  <a:cubicBezTo>
                    <a:pt x="1517707" y="526456"/>
                    <a:pt x="1532987" y="511175"/>
                    <a:pt x="1551838" y="511175"/>
                  </a:cubicBezTo>
                  <a:close/>
                  <a:moveTo>
                    <a:pt x="1466114" y="511175"/>
                  </a:moveTo>
                  <a:cubicBezTo>
                    <a:pt x="1484965" y="511175"/>
                    <a:pt x="1500247" y="526456"/>
                    <a:pt x="1500247" y="545307"/>
                  </a:cubicBezTo>
                  <a:cubicBezTo>
                    <a:pt x="1500247" y="564158"/>
                    <a:pt x="1484965" y="579439"/>
                    <a:pt x="1466114" y="579439"/>
                  </a:cubicBezTo>
                  <a:cubicBezTo>
                    <a:pt x="1447265" y="579439"/>
                    <a:pt x="1431983" y="564158"/>
                    <a:pt x="1431983" y="545307"/>
                  </a:cubicBezTo>
                  <a:cubicBezTo>
                    <a:pt x="1431983" y="526456"/>
                    <a:pt x="1447265" y="511175"/>
                    <a:pt x="1466114" y="511175"/>
                  </a:cubicBezTo>
                  <a:close/>
                  <a:moveTo>
                    <a:pt x="1380392" y="511175"/>
                  </a:moveTo>
                  <a:cubicBezTo>
                    <a:pt x="1399243" y="511175"/>
                    <a:pt x="1414522" y="526456"/>
                    <a:pt x="1414522" y="545307"/>
                  </a:cubicBezTo>
                  <a:cubicBezTo>
                    <a:pt x="1414522" y="564158"/>
                    <a:pt x="1399243" y="579439"/>
                    <a:pt x="1380392" y="579439"/>
                  </a:cubicBezTo>
                  <a:cubicBezTo>
                    <a:pt x="1361539" y="579439"/>
                    <a:pt x="1346258" y="564158"/>
                    <a:pt x="1346258" y="545307"/>
                  </a:cubicBezTo>
                  <a:cubicBezTo>
                    <a:pt x="1346258" y="526456"/>
                    <a:pt x="1361539" y="511175"/>
                    <a:pt x="1380392" y="511175"/>
                  </a:cubicBezTo>
                  <a:close/>
                  <a:moveTo>
                    <a:pt x="1300222" y="511175"/>
                  </a:moveTo>
                  <a:cubicBezTo>
                    <a:pt x="1319509" y="511175"/>
                    <a:pt x="1335148" y="526456"/>
                    <a:pt x="1335148" y="545307"/>
                  </a:cubicBezTo>
                  <a:cubicBezTo>
                    <a:pt x="1335148" y="564158"/>
                    <a:pt x="1319509" y="579439"/>
                    <a:pt x="1300222" y="579439"/>
                  </a:cubicBezTo>
                  <a:cubicBezTo>
                    <a:pt x="1280933" y="579439"/>
                    <a:pt x="1265297" y="564158"/>
                    <a:pt x="1265297" y="545307"/>
                  </a:cubicBezTo>
                  <a:cubicBezTo>
                    <a:pt x="1265297" y="526456"/>
                    <a:pt x="1280933" y="511175"/>
                    <a:pt x="1300222" y="511175"/>
                  </a:cubicBezTo>
                  <a:close/>
                  <a:moveTo>
                    <a:pt x="1214500" y="511175"/>
                  </a:moveTo>
                  <a:cubicBezTo>
                    <a:pt x="1233787" y="511175"/>
                    <a:pt x="1249422" y="526456"/>
                    <a:pt x="1249422" y="545307"/>
                  </a:cubicBezTo>
                  <a:cubicBezTo>
                    <a:pt x="1249422" y="564158"/>
                    <a:pt x="1233787" y="579439"/>
                    <a:pt x="1214500" y="579439"/>
                  </a:cubicBezTo>
                  <a:cubicBezTo>
                    <a:pt x="1195210" y="579439"/>
                    <a:pt x="1179573" y="564158"/>
                    <a:pt x="1179573" y="545307"/>
                  </a:cubicBezTo>
                  <a:cubicBezTo>
                    <a:pt x="1179573" y="526456"/>
                    <a:pt x="1195210" y="511175"/>
                    <a:pt x="1214500" y="511175"/>
                  </a:cubicBezTo>
                  <a:close/>
                  <a:moveTo>
                    <a:pt x="1129569" y="511175"/>
                  </a:moveTo>
                  <a:cubicBezTo>
                    <a:pt x="1148422" y="511175"/>
                    <a:pt x="1163703" y="526456"/>
                    <a:pt x="1163703" y="545307"/>
                  </a:cubicBezTo>
                  <a:cubicBezTo>
                    <a:pt x="1163703" y="564158"/>
                    <a:pt x="1148422" y="579439"/>
                    <a:pt x="1129569" y="579439"/>
                  </a:cubicBezTo>
                  <a:cubicBezTo>
                    <a:pt x="1110723" y="579439"/>
                    <a:pt x="1095440" y="564158"/>
                    <a:pt x="1095440" y="545307"/>
                  </a:cubicBezTo>
                  <a:cubicBezTo>
                    <a:pt x="1095440" y="526456"/>
                    <a:pt x="1110723" y="511175"/>
                    <a:pt x="1129569" y="511175"/>
                  </a:cubicBezTo>
                  <a:close/>
                  <a:moveTo>
                    <a:pt x="1043844" y="511175"/>
                  </a:moveTo>
                  <a:cubicBezTo>
                    <a:pt x="1062696" y="511175"/>
                    <a:pt x="1077977" y="526456"/>
                    <a:pt x="1077977" y="545307"/>
                  </a:cubicBezTo>
                  <a:cubicBezTo>
                    <a:pt x="1077977" y="564158"/>
                    <a:pt x="1062696" y="579439"/>
                    <a:pt x="1043844" y="579439"/>
                  </a:cubicBezTo>
                  <a:cubicBezTo>
                    <a:pt x="1024991" y="579439"/>
                    <a:pt x="1009710" y="564158"/>
                    <a:pt x="1009710" y="545307"/>
                  </a:cubicBezTo>
                  <a:cubicBezTo>
                    <a:pt x="1009710" y="526456"/>
                    <a:pt x="1024991" y="511175"/>
                    <a:pt x="1043844" y="511175"/>
                  </a:cubicBezTo>
                  <a:close/>
                  <a:moveTo>
                    <a:pt x="960324" y="511175"/>
                  </a:moveTo>
                  <a:cubicBezTo>
                    <a:pt x="980489" y="511175"/>
                    <a:pt x="996837" y="526456"/>
                    <a:pt x="996837" y="545307"/>
                  </a:cubicBezTo>
                  <a:cubicBezTo>
                    <a:pt x="996837" y="564158"/>
                    <a:pt x="980489" y="579439"/>
                    <a:pt x="960324" y="579439"/>
                  </a:cubicBezTo>
                  <a:cubicBezTo>
                    <a:pt x="940158" y="579439"/>
                    <a:pt x="923810" y="564158"/>
                    <a:pt x="923810" y="545307"/>
                  </a:cubicBezTo>
                  <a:cubicBezTo>
                    <a:pt x="923810" y="526456"/>
                    <a:pt x="940158" y="511175"/>
                    <a:pt x="960324" y="511175"/>
                  </a:cubicBezTo>
                  <a:close/>
                  <a:moveTo>
                    <a:pt x="877939" y="511175"/>
                  </a:moveTo>
                  <a:cubicBezTo>
                    <a:pt x="897228" y="511175"/>
                    <a:pt x="912864" y="526456"/>
                    <a:pt x="912864" y="545307"/>
                  </a:cubicBezTo>
                  <a:cubicBezTo>
                    <a:pt x="912864" y="564158"/>
                    <a:pt x="897228" y="579439"/>
                    <a:pt x="877939" y="579439"/>
                  </a:cubicBezTo>
                  <a:cubicBezTo>
                    <a:pt x="858647" y="579439"/>
                    <a:pt x="843014" y="564158"/>
                    <a:pt x="843014" y="545307"/>
                  </a:cubicBezTo>
                  <a:cubicBezTo>
                    <a:pt x="843014" y="526456"/>
                    <a:pt x="858647" y="511175"/>
                    <a:pt x="877939" y="511175"/>
                  </a:cubicBezTo>
                  <a:close/>
                  <a:moveTo>
                    <a:pt x="8293777" y="425450"/>
                  </a:moveTo>
                  <a:cubicBezTo>
                    <a:pt x="8312628" y="425450"/>
                    <a:pt x="8327909" y="440731"/>
                    <a:pt x="8327909" y="459582"/>
                  </a:cubicBezTo>
                  <a:cubicBezTo>
                    <a:pt x="8327909" y="478433"/>
                    <a:pt x="8312628" y="493714"/>
                    <a:pt x="8293777" y="493714"/>
                  </a:cubicBezTo>
                  <a:cubicBezTo>
                    <a:pt x="8274926" y="493714"/>
                    <a:pt x="8259645" y="478433"/>
                    <a:pt x="8259645" y="459582"/>
                  </a:cubicBezTo>
                  <a:cubicBezTo>
                    <a:pt x="8259645" y="440731"/>
                    <a:pt x="8274926" y="425450"/>
                    <a:pt x="8293777" y="425450"/>
                  </a:cubicBezTo>
                  <a:close/>
                  <a:moveTo>
                    <a:pt x="8208052" y="425450"/>
                  </a:moveTo>
                  <a:cubicBezTo>
                    <a:pt x="8226903" y="425450"/>
                    <a:pt x="8242184" y="440731"/>
                    <a:pt x="8242184" y="459582"/>
                  </a:cubicBezTo>
                  <a:cubicBezTo>
                    <a:pt x="8242184" y="478433"/>
                    <a:pt x="8226903" y="493714"/>
                    <a:pt x="8208052" y="493714"/>
                  </a:cubicBezTo>
                  <a:cubicBezTo>
                    <a:pt x="8189201" y="493714"/>
                    <a:pt x="8173920" y="478433"/>
                    <a:pt x="8173920" y="459582"/>
                  </a:cubicBezTo>
                  <a:cubicBezTo>
                    <a:pt x="8173920" y="440731"/>
                    <a:pt x="8189201" y="425450"/>
                    <a:pt x="8208052" y="425450"/>
                  </a:cubicBezTo>
                  <a:close/>
                  <a:moveTo>
                    <a:pt x="8125502" y="425450"/>
                  </a:moveTo>
                  <a:cubicBezTo>
                    <a:pt x="8146106" y="425450"/>
                    <a:pt x="8162809" y="440731"/>
                    <a:pt x="8162809" y="459582"/>
                  </a:cubicBezTo>
                  <a:cubicBezTo>
                    <a:pt x="8162809" y="478433"/>
                    <a:pt x="8146106" y="493714"/>
                    <a:pt x="8125502" y="493714"/>
                  </a:cubicBezTo>
                  <a:cubicBezTo>
                    <a:pt x="8104898" y="493714"/>
                    <a:pt x="8088195" y="478433"/>
                    <a:pt x="8088195" y="459582"/>
                  </a:cubicBezTo>
                  <a:cubicBezTo>
                    <a:pt x="8088195" y="440731"/>
                    <a:pt x="8104898" y="425450"/>
                    <a:pt x="8125502" y="425450"/>
                  </a:cubicBezTo>
                  <a:close/>
                  <a:moveTo>
                    <a:pt x="8042952" y="425450"/>
                  </a:moveTo>
                  <a:cubicBezTo>
                    <a:pt x="8061803" y="425450"/>
                    <a:pt x="8077084" y="440731"/>
                    <a:pt x="8077084" y="459582"/>
                  </a:cubicBezTo>
                  <a:cubicBezTo>
                    <a:pt x="8077084" y="478433"/>
                    <a:pt x="8061803" y="493714"/>
                    <a:pt x="8042952" y="493714"/>
                  </a:cubicBezTo>
                  <a:cubicBezTo>
                    <a:pt x="8024101" y="493714"/>
                    <a:pt x="8008820" y="478433"/>
                    <a:pt x="8008820" y="459582"/>
                  </a:cubicBezTo>
                  <a:cubicBezTo>
                    <a:pt x="8008820" y="440731"/>
                    <a:pt x="8024101" y="425450"/>
                    <a:pt x="8042952" y="425450"/>
                  </a:cubicBezTo>
                  <a:close/>
                  <a:moveTo>
                    <a:pt x="7957227" y="425450"/>
                  </a:moveTo>
                  <a:cubicBezTo>
                    <a:pt x="7976078" y="425450"/>
                    <a:pt x="7991359" y="440731"/>
                    <a:pt x="7991359" y="459582"/>
                  </a:cubicBezTo>
                  <a:cubicBezTo>
                    <a:pt x="7991359" y="478433"/>
                    <a:pt x="7976078" y="493714"/>
                    <a:pt x="7957227" y="493714"/>
                  </a:cubicBezTo>
                  <a:cubicBezTo>
                    <a:pt x="7938376" y="493714"/>
                    <a:pt x="7923095" y="478433"/>
                    <a:pt x="7923095" y="459582"/>
                  </a:cubicBezTo>
                  <a:cubicBezTo>
                    <a:pt x="7923095" y="440731"/>
                    <a:pt x="7938376" y="425450"/>
                    <a:pt x="7957227" y="425450"/>
                  </a:cubicBezTo>
                  <a:close/>
                  <a:moveTo>
                    <a:pt x="7871502" y="425450"/>
                  </a:moveTo>
                  <a:cubicBezTo>
                    <a:pt x="7890353" y="425450"/>
                    <a:pt x="7905634" y="440731"/>
                    <a:pt x="7905634" y="459582"/>
                  </a:cubicBezTo>
                  <a:cubicBezTo>
                    <a:pt x="7905634" y="478433"/>
                    <a:pt x="7890353" y="493714"/>
                    <a:pt x="7871502" y="493714"/>
                  </a:cubicBezTo>
                  <a:cubicBezTo>
                    <a:pt x="7852651" y="493714"/>
                    <a:pt x="7837370" y="478433"/>
                    <a:pt x="7837370" y="459582"/>
                  </a:cubicBezTo>
                  <a:cubicBezTo>
                    <a:pt x="7837370" y="440731"/>
                    <a:pt x="7852651" y="425450"/>
                    <a:pt x="7871502" y="425450"/>
                  </a:cubicBezTo>
                  <a:close/>
                  <a:moveTo>
                    <a:pt x="7785777" y="425450"/>
                  </a:moveTo>
                  <a:cubicBezTo>
                    <a:pt x="7804628" y="425450"/>
                    <a:pt x="7819909" y="440731"/>
                    <a:pt x="7819909" y="459582"/>
                  </a:cubicBezTo>
                  <a:cubicBezTo>
                    <a:pt x="7819909" y="478433"/>
                    <a:pt x="7804628" y="493714"/>
                    <a:pt x="7785777" y="493714"/>
                  </a:cubicBezTo>
                  <a:cubicBezTo>
                    <a:pt x="7766926" y="493714"/>
                    <a:pt x="7751645" y="478433"/>
                    <a:pt x="7751645" y="459582"/>
                  </a:cubicBezTo>
                  <a:cubicBezTo>
                    <a:pt x="7751645" y="440731"/>
                    <a:pt x="7766926" y="425450"/>
                    <a:pt x="7785777" y="425450"/>
                  </a:cubicBezTo>
                  <a:close/>
                  <a:moveTo>
                    <a:pt x="7706402" y="425450"/>
                  </a:moveTo>
                  <a:cubicBezTo>
                    <a:pt x="7725253" y="425450"/>
                    <a:pt x="7740534" y="440731"/>
                    <a:pt x="7740534" y="459582"/>
                  </a:cubicBezTo>
                  <a:cubicBezTo>
                    <a:pt x="7740534" y="478433"/>
                    <a:pt x="7725253" y="493714"/>
                    <a:pt x="7706402" y="493714"/>
                  </a:cubicBezTo>
                  <a:cubicBezTo>
                    <a:pt x="7687551" y="493714"/>
                    <a:pt x="7672270" y="478433"/>
                    <a:pt x="7672270" y="459582"/>
                  </a:cubicBezTo>
                  <a:cubicBezTo>
                    <a:pt x="7672270" y="440731"/>
                    <a:pt x="7687551" y="425450"/>
                    <a:pt x="7706402" y="425450"/>
                  </a:cubicBezTo>
                  <a:close/>
                  <a:moveTo>
                    <a:pt x="7620677" y="425450"/>
                  </a:moveTo>
                  <a:cubicBezTo>
                    <a:pt x="7639528" y="425450"/>
                    <a:pt x="7654809" y="440731"/>
                    <a:pt x="7654809" y="459582"/>
                  </a:cubicBezTo>
                  <a:cubicBezTo>
                    <a:pt x="7654809" y="478433"/>
                    <a:pt x="7639528" y="493714"/>
                    <a:pt x="7620677" y="493714"/>
                  </a:cubicBezTo>
                  <a:cubicBezTo>
                    <a:pt x="7601826" y="493714"/>
                    <a:pt x="7586545" y="478433"/>
                    <a:pt x="7586545" y="459582"/>
                  </a:cubicBezTo>
                  <a:cubicBezTo>
                    <a:pt x="7586545" y="440731"/>
                    <a:pt x="7601826" y="425450"/>
                    <a:pt x="7620677" y="425450"/>
                  </a:cubicBezTo>
                  <a:close/>
                  <a:moveTo>
                    <a:pt x="7534952" y="425450"/>
                  </a:moveTo>
                  <a:cubicBezTo>
                    <a:pt x="7553803" y="425450"/>
                    <a:pt x="7569084" y="440731"/>
                    <a:pt x="7569084" y="459582"/>
                  </a:cubicBezTo>
                  <a:cubicBezTo>
                    <a:pt x="7569084" y="478433"/>
                    <a:pt x="7553803" y="493714"/>
                    <a:pt x="7534952" y="493714"/>
                  </a:cubicBezTo>
                  <a:cubicBezTo>
                    <a:pt x="7516101" y="493714"/>
                    <a:pt x="7500820" y="478433"/>
                    <a:pt x="7500820" y="459582"/>
                  </a:cubicBezTo>
                  <a:cubicBezTo>
                    <a:pt x="7500820" y="440731"/>
                    <a:pt x="7516101" y="425450"/>
                    <a:pt x="7534952" y="425450"/>
                  </a:cubicBezTo>
                  <a:close/>
                  <a:moveTo>
                    <a:pt x="7449227" y="425450"/>
                  </a:moveTo>
                  <a:cubicBezTo>
                    <a:pt x="7468078" y="425450"/>
                    <a:pt x="7483359" y="440731"/>
                    <a:pt x="7483359" y="459582"/>
                  </a:cubicBezTo>
                  <a:cubicBezTo>
                    <a:pt x="7483359" y="478433"/>
                    <a:pt x="7468078" y="493714"/>
                    <a:pt x="7449227" y="493714"/>
                  </a:cubicBezTo>
                  <a:cubicBezTo>
                    <a:pt x="7430376" y="493714"/>
                    <a:pt x="7415095" y="478433"/>
                    <a:pt x="7415095" y="459582"/>
                  </a:cubicBezTo>
                  <a:cubicBezTo>
                    <a:pt x="7415095" y="440731"/>
                    <a:pt x="7430376" y="425450"/>
                    <a:pt x="7449227" y="425450"/>
                  </a:cubicBezTo>
                  <a:close/>
                  <a:moveTo>
                    <a:pt x="7366677" y="425450"/>
                  </a:moveTo>
                  <a:cubicBezTo>
                    <a:pt x="7387281" y="425450"/>
                    <a:pt x="7403984" y="440731"/>
                    <a:pt x="7403984" y="459582"/>
                  </a:cubicBezTo>
                  <a:cubicBezTo>
                    <a:pt x="7403984" y="478433"/>
                    <a:pt x="7387281" y="493714"/>
                    <a:pt x="7366677" y="493714"/>
                  </a:cubicBezTo>
                  <a:cubicBezTo>
                    <a:pt x="7346073" y="493714"/>
                    <a:pt x="7329370" y="478433"/>
                    <a:pt x="7329370" y="459582"/>
                  </a:cubicBezTo>
                  <a:cubicBezTo>
                    <a:pt x="7329370" y="440731"/>
                    <a:pt x="7346073" y="425450"/>
                    <a:pt x="7366677" y="425450"/>
                  </a:cubicBezTo>
                  <a:close/>
                  <a:moveTo>
                    <a:pt x="7284127" y="425450"/>
                  </a:moveTo>
                  <a:cubicBezTo>
                    <a:pt x="7302978" y="425450"/>
                    <a:pt x="7318259" y="440731"/>
                    <a:pt x="7318259" y="459582"/>
                  </a:cubicBezTo>
                  <a:cubicBezTo>
                    <a:pt x="7318259" y="478433"/>
                    <a:pt x="7302978" y="493714"/>
                    <a:pt x="7284127" y="493714"/>
                  </a:cubicBezTo>
                  <a:cubicBezTo>
                    <a:pt x="7265276" y="493714"/>
                    <a:pt x="7249995" y="478433"/>
                    <a:pt x="7249995" y="459582"/>
                  </a:cubicBezTo>
                  <a:cubicBezTo>
                    <a:pt x="7249995" y="440731"/>
                    <a:pt x="7265276" y="425450"/>
                    <a:pt x="7284127" y="425450"/>
                  </a:cubicBezTo>
                  <a:close/>
                  <a:moveTo>
                    <a:pt x="7198402" y="425450"/>
                  </a:moveTo>
                  <a:cubicBezTo>
                    <a:pt x="7217253" y="425450"/>
                    <a:pt x="7232534" y="440731"/>
                    <a:pt x="7232534" y="459582"/>
                  </a:cubicBezTo>
                  <a:cubicBezTo>
                    <a:pt x="7232534" y="478433"/>
                    <a:pt x="7217253" y="493714"/>
                    <a:pt x="7198402" y="493714"/>
                  </a:cubicBezTo>
                  <a:cubicBezTo>
                    <a:pt x="7179551" y="493714"/>
                    <a:pt x="7164270" y="478433"/>
                    <a:pt x="7164270" y="459582"/>
                  </a:cubicBezTo>
                  <a:cubicBezTo>
                    <a:pt x="7164270" y="440731"/>
                    <a:pt x="7179551" y="425450"/>
                    <a:pt x="7198402" y="425450"/>
                  </a:cubicBezTo>
                  <a:close/>
                  <a:moveTo>
                    <a:pt x="7112677" y="425450"/>
                  </a:moveTo>
                  <a:cubicBezTo>
                    <a:pt x="7131528" y="425450"/>
                    <a:pt x="7146809" y="440731"/>
                    <a:pt x="7146809" y="459582"/>
                  </a:cubicBezTo>
                  <a:cubicBezTo>
                    <a:pt x="7146809" y="478433"/>
                    <a:pt x="7131528" y="493714"/>
                    <a:pt x="7112677" y="493714"/>
                  </a:cubicBezTo>
                  <a:cubicBezTo>
                    <a:pt x="7093826" y="493714"/>
                    <a:pt x="7078545" y="478433"/>
                    <a:pt x="7078545" y="459582"/>
                  </a:cubicBezTo>
                  <a:cubicBezTo>
                    <a:pt x="7078545" y="440731"/>
                    <a:pt x="7093826" y="425450"/>
                    <a:pt x="7112677" y="425450"/>
                  </a:cubicBezTo>
                  <a:close/>
                  <a:moveTo>
                    <a:pt x="7027745" y="425450"/>
                  </a:moveTo>
                  <a:cubicBezTo>
                    <a:pt x="7047034" y="425450"/>
                    <a:pt x="7062670" y="440731"/>
                    <a:pt x="7062670" y="459582"/>
                  </a:cubicBezTo>
                  <a:cubicBezTo>
                    <a:pt x="7062670" y="478433"/>
                    <a:pt x="7047034" y="493714"/>
                    <a:pt x="7027745" y="493714"/>
                  </a:cubicBezTo>
                  <a:cubicBezTo>
                    <a:pt x="7008456" y="493714"/>
                    <a:pt x="6992820" y="478433"/>
                    <a:pt x="6992820" y="459582"/>
                  </a:cubicBezTo>
                  <a:cubicBezTo>
                    <a:pt x="6992820" y="440731"/>
                    <a:pt x="7008456" y="425450"/>
                    <a:pt x="7027745" y="425450"/>
                  </a:cubicBezTo>
                  <a:close/>
                  <a:moveTo>
                    <a:pt x="6947577" y="425450"/>
                  </a:moveTo>
                  <a:cubicBezTo>
                    <a:pt x="6966428" y="425450"/>
                    <a:pt x="6981709" y="440731"/>
                    <a:pt x="6981709" y="459582"/>
                  </a:cubicBezTo>
                  <a:cubicBezTo>
                    <a:pt x="6981709" y="478433"/>
                    <a:pt x="6966428" y="493714"/>
                    <a:pt x="6947577" y="493714"/>
                  </a:cubicBezTo>
                  <a:cubicBezTo>
                    <a:pt x="6928726" y="493714"/>
                    <a:pt x="6913445" y="478433"/>
                    <a:pt x="6913445" y="459582"/>
                  </a:cubicBezTo>
                  <a:cubicBezTo>
                    <a:pt x="6913445" y="440731"/>
                    <a:pt x="6928726" y="425450"/>
                    <a:pt x="6947577" y="425450"/>
                  </a:cubicBezTo>
                  <a:close/>
                  <a:moveTo>
                    <a:pt x="6607852" y="425450"/>
                  </a:moveTo>
                  <a:cubicBezTo>
                    <a:pt x="6628456" y="425450"/>
                    <a:pt x="6645159" y="440731"/>
                    <a:pt x="6645159" y="459582"/>
                  </a:cubicBezTo>
                  <a:cubicBezTo>
                    <a:pt x="6645159" y="478433"/>
                    <a:pt x="6628456" y="493714"/>
                    <a:pt x="6607852" y="493714"/>
                  </a:cubicBezTo>
                  <a:cubicBezTo>
                    <a:pt x="6587248" y="493714"/>
                    <a:pt x="6570545" y="478433"/>
                    <a:pt x="6570545" y="459582"/>
                  </a:cubicBezTo>
                  <a:cubicBezTo>
                    <a:pt x="6570545" y="440731"/>
                    <a:pt x="6587248" y="425450"/>
                    <a:pt x="6607852" y="425450"/>
                  </a:cubicBezTo>
                  <a:close/>
                  <a:moveTo>
                    <a:pt x="6268920" y="425450"/>
                  </a:moveTo>
                  <a:cubicBezTo>
                    <a:pt x="6288209" y="425450"/>
                    <a:pt x="6303845" y="440731"/>
                    <a:pt x="6303845" y="459582"/>
                  </a:cubicBezTo>
                  <a:cubicBezTo>
                    <a:pt x="6303845" y="478433"/>
                    <a:pt x="6288209" y="493714"/>
                    <a:pt x="6268920" y="493714"/>
                  </a:cubicBezTo>
                  <a:cubicBezTo>
                    <a:pt x="6249631" y="493714"/>
                    <a:pt x="6233995" y="478433"/>
                    <a:pt x="6233995" y="459582"/>
                  </a:cubicBezTo>
                  <a:cubicBezTo>
                    <a:pt x="6233995" y="440731"/>
                    <a:pt x="6249631" y="425450"/>
                    <a:pt x="6268920" y="425450"/>
                  </a:cubicBezTo>
                  <a:close/>
                  <a:moveTo>
                    <a:pt x="4500445" y="425450"/>
                  </a:moveTo>
                  <a:cubicBezTo>
                    <a:pt x="4519734" y="425450"/>
                    <a:pt x="4535370" y="440731"/>
                    <a:pt x="4535370" y="459582"/>
                  </a:cubicBezTo>
                  <a:cubicBezTo>
                    <a:pt x="4535370" y="478433"/>
                    <a:pt x="4519734" y="493714"/>
                    <a:pt x="4500445" y="493714"/>
                  </a:cubicBezTo>
                  <a:cubicBezTo>
                    <a:pt x="4481156" y="493714"/>
                    <a:pt x="4465520" y="478433"/>
                    <a:pt x="4465520" y="459582"/>
                  </a:cubicBezTo>
                  <a:cubicBezTo>
                    <a:pt x="4465520" y="440731"/>
                    <a:pt x="4481156" y="425450"/>
                    <a:pt x="4500445" y="425450"/>
                  </a:cubicBezTo>
                  <a:close/>
                  <a:moveTo>
                    <a:pt x="4415515" y="425450"/>
                  </a:moveTo>
                  <a:cubicBezTo>
                    <a:pt x="4434366" y="425450"/>
                    <a:pt x="4449647" y="440731"/>
                    <a:pt x="4449647" y="459582"/>
                  </a:cubicBezTo>
                  <a:cubicBezTo>
                    <a:pt x="4449647" y="478433"/>
                    <a:pt x="4434366" y="493714"/>
                    <a:pt x="4415515" y="493714"/>
                  </a:cubicBezTo>
                  <a:cubicBezTo>
                    <a:pt x="4396664" y="493714"/>
                    <a:pt x="4381383" y="478433"/>
                    <a:pt x="4381383" y="459582"/>
                  </a:cubicBezTo>
                  <a:cubicBezTo>
                    <a:pt x="4381383" y="440731"/>
                    <a:pt x="4396664" y="425450"/>
                    <a:pt x="4415515" y="425450"/>
                  </a:cubicBezTo>
                  <a:close/>
                  <a:moveTo>
                    <a:pt x="4332171" y="425450"/>
                  </a:moveTo>
                  <a:cubicBezTo>
                    <a:pt x="4352337" y="425450"/>
                    <a:pt x="4368684" y="440731"/>
                    <a:pt x="4368684" y="459582"/>
                  </a:cubicBezTo>
                  <a:cubicBezTo>
                    <a:pt x="4368684" y="478433"/>
                    <a:pt x="4352337" y="493714"/>
                    <a:pt x="4332171" y="493714"/>
                  </a:cubicBezTo>
                  <a:cubicBezTo>
                    <a:pt x="4312005" y="493714"/>
                    <a:pt x="4295658" y="478433"/>
                    <a:pt x="4295658" y="459582"/>
                  </a:cubicBezTo>
                  <a:cubicBezTo>
                    <a:pt x="4295658" y="440731"/>
                    <a:pt x="4312005" y="425450"/>
                    <a:pt x="4332171" y="425450"/>
                  </a:cubicBezTo>
                  <a:close/>
                  <a:moveTo>
                    <a:pt x="4248827" y="425450"/>
                  </a:moveTo>
                  <a:cubicBezTo>
                    <a:pt x="4267678" y="425450"/>
                    <a:pt x="4282959" y="440731"/>
                    <a:pt x="4282959" y="459582"/>
                  </a:cubicBezTo>
                  <a:cubicBezTo>
                    <a:pt x="4282959" y="478433"/>
                    <a:pt x="4267678" y="493714"/>
                    <a:pt x="4248827" y="493714"/>
                  </a:cubicBezTo>
                  <a:cubicBezTo>
                    <a:pt x="4229976" y="493714"/>
                    <a:pt x="4214695" y="478433"/>
                    <a:pt x="4214695" y="459582"/>
                  </a:cubicBezTo>
                  <a:cubicBezTo>
                    <a:pt x="4214695" y="440731"/>
                    <a:pt x="4229976" y="425450"/>
                    <a:pt x="4248827" y="425450"/>
                  </a:cubicBezTo>
                  <a:close/>
                  <a:moveTo>
                    <a:pt x="4163895" y="425450"/>
                  </a:moveTo>
                  <a:cubicBezTo>
                    <a:pt x="4183184" y="425450"/>
                    <a:pt x="4198820" y="440731"/>
                    <a:pt x="4198820" y="459582"/>
                  </a:cubicBezTo>
                  <a:cubicBezTo>
                    <a:pt x="4198820" y="478433"/>
                    <a:pt x="4183184" y="493714"/>
                    <a:pt x="4163895" y="493714"/>
                  </a:cubicBezTo>
                  <a:cubicBezTo>
                    <a:pt x="4144606" y="493714"/>
                    <a:pt x="4128970" y="478433"/>
                    <a:pt x="4128970" y="459582"/>
                  </a:cubicBezTo>
                  <a:cubicBezTo>
                    <a:pt x="4128970" y="440731"/>
                    <a:pt x="4144606" y="425450"/>
                    <a:pt x="4163895" y="425450"/>
                  </a:cubicBezTo>
                  <a:close/>
                  <a:moveTo>
                    <a:pt x="4078170" y="425450"/>
                  </a:moveTo>
                  <a:cubicBezTo>
                    <a:pt x="4097459" y="425450"/>
                    <a:pt x="4113095" y="440731"/>
                    <a:pt x="4113095" y="459582"/>
                  </a:cubicBezTo>
                  <a:cubicBezTo>
                    <a:pt x="4113095" y="478433"/>
                    <a:pt x="4097459" y="493714"/>
                    <a:pt x="4078170" y="493714"/>
                  </a:cubicBezTo>
                  <a:cubicBezTo>
                    <a:pt x="4058881" y="493714"/>
                    <a:pt x="4043245" y="478433"/>
                    <a:pt x="4043245" y="459582"/>
                  </a:cubicBezTo>
                  <a:cubicBezTo>
                    <a:pt x="4043245" y="440731"/>
                    <a:pt x="4058881" y="425450"/>
                    <a:pt x="4078170" y="425450"/>
                  </a:cubicBezTo>
                  <a:close/>
                  <a:moveTo>
                    <a:pt x="3993240" y="425450"/>
                  </a:moveTo>
                  <a:cubicBezTo>
                    <a:pt x="4012091" y="425450"/>
                    <a:pt x="4027372" y="440731"/>
                    <a:pt x="4027372" y="459582"/>
                  </a:cubicBezTo>
                  <a:cubicBezTo>
                    <a:pt x="4027372" y="478433"/>
                    <a:pt x="4012091" y="493714"/>
                    <a:pt x="3993240" y="493714"/>
                  </a:cubicBezTo>
                  <a:cubicBezTo>
                    <a:pt x="3974389" y="493714"/>
                    <a:pt x="3959108" y="478433"/>
                    <a:pt x="3959108" y="459582"/>
                  </a:cubicBezTo>
                  <a:cubicBezTo>
                    <a:pt x="3959108" y="440731"/>
                    <a:pt x="3974389" y="425450"/>
                    <a:pt x="3993240" y="425450"/>
                  </a:cubicBezTo>
                  <a:close/>
                  <a:moveTo>
                    <a:pt x="3912277" y="425450"/>
                  </a:moveTo>
                  <a:cubicBezTo>
                    <a:pt x="3931128" y="425450"/>
                    <a:pt x="3946409" y="440731"/>
                    <a:pt x="3946409" y="459582"/>
                  </a:cubicBezTo>
                  <a:cubicBezTo>
                    <a:pt x="3946409" y="478433"/>
                    <a:pt x="3931128" y="493714"/>
                    <a:pt x="3912277" y="493714"/>
                  </a:cubicBezTo>
                  <a:cubicBezTo>
                    <a:pt x="3893426" y="493714"/>
                    <a:pt x="3878145" y="478433"/>
                    <a:pt x="3878145" y="459582"/>
                  </a:cubicBezTo>
                  <a:cubicBezTo>
                    <a:pt x="3878145" y="440731"/>
                    <a:pt x="3893426" y="425450"/>
                    <a:pt x="3912277" y="425450"/>
                  </a:cubicBezTo>
                  <a:close/>
                  <a:moveTo>
                    <a:pt x="3826552" y="425450"/>
                  </a:moveTo>
                  <a:cubicBezTo>
                    <a:pt x="3845403" y="425450"/>
                    <a:pt x="3860684" y="440731"/>
                    <a:pt x="3860684" y="459582"/>
                  </a:cubicBezTo>
                  <a:cubicBezTo>
                    <a:pt x="3860684" y="478433"/>
                    <a:pt x="3845403" y="493714"/>
                    <a:pt x="3826552" y="493714"/>
                  </a:cubicBezTo>
                  <a:cubicBezTo>
                    <a:pt x="3807701" y="493714"/>
                    <a:pt x="3792420" y="478433"/>
                    <a:pt x="3792420" y="459582"/>
                  </a:cubicBezTo>
                  <a:cubicBezTo>
                    <a:pt x="3792420" y="440731"/>
                    <a:pt x="3807701" y="425450"/>
                    <a:pt x="3826552" y="425450"/>
                  </a:cubicBezTo>
                  <a:close/>
                  <a:moveTo>
                    <a:pt x="3741620" y="425450"/>
                  </a:moveTo>
                  <a:cubicBezTo>
                    <a:pt x="3760909" y="425450"/>
                    <a:pt x="3776545" y="440731"/>
                    <a:pt x="3776545" y="459582"/>
                  </a:cubicBezTo>
                  <a:cubicBezTo>
                    <a:pt x="3776545" y="478433"/>
                    <a:pt x="3760909" y="493714"/>
                    <a:pt x="3741620" y="493714"/>
                  </a:cubicBezTo>
                  <a:cubicBezTo>
                    <a:pt x="3722331" y="493714"/>
                    <a:pt x="3706695" y="478433"/>
                    <a:pt x="3706695" y="459582"/>
                  </a:cubicBezTo>
                  <a:cubicBezTo>
                    <a:pt x="3706695" y="440731"/>
                    <a:pt x="3722331" y="425450"/>
                    <a:pt x="3741620" y="425450"/>
                  </a:cubicBezTo>
                  <a:close/>
                  <a:moveTo>
                    <a:pt x="3153452" y="425450"/>
                  </a:moveTo>
                  <a:cubicBezTo>
                    <a:pt x="3172303" y="425450"/>
                    <a:pt x="3187584" y="440731"/>
                    <a:pt x="3187584" y="459582"/>
                  </a:cubicBezTo>
                  <a:cubicBezTo>
                    <a:pt x="3187584" y="478433"/>
                    <a:pt x="3172303" y="493714"/>
                    <a:pt x="3153452" y="493714"/>
                  </a:cubicBezTo>
                  <a:cubicBezTo>
                    <a:pt x="3134601" y="493714"/>
                    <a:pt x="3119320" y="478433"/>
                    <a:pt x="3119320" y="459582"/>
                  </a:cubicBezTo>
                  <a:cubicBezTo>
                    <a:pt x="3119320" y="440731"/>
                    <a:pt x="3134601" y="425450"/>
                    <a:pt x="3153452" y="425450"/>
                  </a:cubicBezTo>
                  <a:close/>
                  <a:moveTo>
                    <a:pt x="3068520" y="425450"/>
                  </a:moveTo>
                  <a:cubicBezTo>
                    <a:pt x="3087809" y="425450"/>
                    <a:pt x="3103445" y="440731"/>
                    <a:pt x="3103445" y="459582"/>
                  </a:cubicBezTo>
                  <a:cubicBezTo>
                    <a:pt x="3103445" y="478433"/>
                    <a:pt x="3087809" y="493714"/>
                    <a:pt x="3068520" y="493714"/>
                  </a:cubicBezTo>
                  <a:cubicBezTo>
                    <a:pt x="3049231" y="493714"/>
                    <a:pt x="3033595" y="478433"/>
                    <a:pt x="3033595" y="459582"/>
                  </a:cubicBezTo>
                  <a:cubicBezTo>
                    <a:pt x="3033595" y="440731"/>
                    <a:pt x="3049231" y="425450"/>
                    <a:pt x="3068520" y="425450"/>
                  </a:cubicBezTo>
                  <a:close/>
                  <a:moveTo>
                    <a:pt x="2897865" y="425450"/>
                  </a:moveTo>
                  <a:cubicBezTo>
                    <a:pt x="2916716" y="425450"/>
                    <a:pt x="2931997" y="440731"/>
                    <a:pt x="2931997" y="459582"/>
                  </a:cubicBezTo>
                  <a:cubicBezTo>
                    <a:pt x="2931997" y="478433"/>
                    <a:pt x="2916716" y="493714"/>
                    <a:pt x="2897865" y="493714"/>
                  </a:cubicBezTo>
                  <a:cubicBezTo>
                    <a:pt x="2879014" y="493714"/>
                    <a:pt x="2863733" y="478433"/>
                    <a:pt x="2863733" y="459582"/>
                  </a:cubicBezTo>
                  <a:cubicBezTo>
                    <a:pt x="2863733" y="440731"/>
                    <a:pt x="2879014" y="425450"/>
                    <a:pt x="2897865" y="425450"/>
                  </a:cubicBezTo>
                  <a:close/>
                  <a:moveTo>
                    <a:pt x="2731999" y="425450"/>
                  </a:moveTo>
                  <a:cubicBezTo>
                    <a:pt x="2751288" y="425450"/>
                    <a:pt x="2766924" y="440731"/>
                    <a:pt x="2766924" y="459582"/>
                  </a:cubicBezTo>
                  <a:cubicBezTo>
                    <a:pt x="2766924" y="478433"/>
                    <a:pt x="2751288" y="493714"/>
                    <a:pt x="2731999" y="493714"/>
                  </a:cubicBezTo>
                  <a:cubicBezTo>
                    <a:pt x="2712710" y="493714"/>
                    <a:pt x="2697074" y="478433"/>
                    <a:pt x="2697074" y="459582"/>
                  </a:cubicBezTo>
                  <a:cubicBezTo>
                    <a:pt x="2697074" y="440731"/>
                    <a:pt x="2712710" y="425450"/>
                    <a:pt x="2731999" y="425450"/>
                  </a:cubicBezTo>
                  <a:close/>
                  <a:moveTo>
                    <a:pt x="2394790" y="425450"/>
                  </a:moveTo>
                  <a:cubicBezTo>
                    <a:pt x="2413638" y="425450"/>
                    <a:pt x="2428919" y="440731"/>
                    <a:pt x="2428919" y="459582"/>
                  </a:cubicBezTo>
                  <a:cubicBezTo>
                    <a:pt x="2428919" y="478433"/>
                    <a:pt x="2413638" y="493714"/>
                    <a:pt x="2394790" y="493714"/>
                  </a:cubicBezTo>
                  <a:cubicBezTo>
                    <a:pt x="2375933" y="493714"/>
                    <a:pt x="2360656" y="478433"/>
                    <a:pt x="2360656" y="459582"/>
                  </a:cubicBezTo>
                  <a:cubicBezTo>
                    <a:pt x="2360656" y="440731"/>
                    <a:pt x="2375933" y="425450"/>
                    <a:pt x="2394790" y="425450"/>
                  </a:cubicBezTo>
                  <a:close/>
                  <a:moveTo>
                    <a:pt x="2309856" y="425450"/>
                  </a:moveTo>
                  <a:cubicBezTo>
                    <a:pt x="2329141" y="425450"/>
                    <a:pt x="2344781" y="440731"/>
                    <a:pt x="2344781" y="459582"/>
                  </a:cubicBezTo>
                  <a:cubicBezTo>
                    <a:pt x="2344781" y="478433"/>
                    <a:pt x="2329141" y="493714"/>
                    <a:pt x="2309856" y="493714"/>
                  </a:cubicBezTo>
                  <a:cubicBezTo>
                    <a:pt x="2290564" y="493714"/>
                    <a:pt x="2274920" y="478433"/>
                    <a:pt x="2274920" y="459582"/>
                  </a:cubicBezTo>
                  <a:cubicBezTo>
                    <a:pt x="2274920" y="440731"/>
                    <a:pt x="2290564" y="425450"/>
                    <a:pt x="2309856" y="425450"/>
                  </a:cubicBezTo>
                  <a:close/>
                  <a:moveTo>
                    <a:pt x="2224919" y="425450"/>
                  </a:moveTo>
                  <a:cubicBezTo>
                    <a:pt x="2243761" y="425450"/>
                    <a:pt x="2259040" y="440731"/>
                    <a:pt x="2259040" y="459582"/>
                  </a:cubicBezTo>
                  <a:cubicBezTo>
                    <a:pt x="2259040" y="478433"/>
                    <a:pt x="2243761" y="493714"/>
                    <a:pt x="2224919" y="493714"/>
                  </a:cubicBezTo>
                  <a:cubicBezTo>
                    <a:pt x="2206066" y="493714"/>
                    <a:pt x="2190786" y="478433"/>
                    <a:pt x="2190786" y="459582"/>
                  </a:cubicBezTo>
                  <a:cubicBezTo>
                    <a:pt x="2190786" y="440731"/>
                    <a:pt x="2206066" y="425450"/>
                    <a:pt x="2224919" y="425450"/>
                  </a:cubicBezTo>
                  <a:close/>
                  <a:moveTo>
                    <a:pt x="2139203" y="425450"/>
                  </a:moveTo>
                  <a:cubicBezTo>
                    <a:pt x="2158055" y="425450"/>
                    <a:pt x="2173331" y="440731"/>
                    <a:pt x="2173331" y="459582"/>
                  </a:cubicBezTo>
                  <a:cubicBezTo>
                    <a:pt x="2173331" y="478433"/>
                    <a:pt x="2158055" y="493714"/>
                    <a:pt x="2139203" y="493714"/>
                  </a:cubicBezTo>
                  <a:cubicBezTo>
                    <a:pt x="2120347" y="493714"/>
                    <a:pt x="2105064" y="478433"/>
                    <a:pt x="2105064" y="459582"/>
                  </a:cubicBezTo>
                  <a:cubicBezTo>
                    <a:pt x="2105064" y="440731"/>
                    <a:pt x="2120347" y="425450"/>
                    <a:pt x="2139203" y="425450"/>
                  </a:cubicBezTo>
                  <a:close/>
                  <a:moveTo>
                    <a:pt x="1973173" y="425450"/>
                  </a:moveTo>
                  <a:cubicBezTo>
                    <a:pt x="1992463" y="425450"/>
                    <a:pt x="2008098" y="440731"/>
                    <a:pt x="2008098" y="459582"/>
                  </a:cubicBezTo>
                  <a:cubicBezTo>
                    <a:pt x="2008098" y="478433"/>
                    <a:pt x="1992463" y="493714"/>
                    <a:pt x="1973173" y="493714"/>
                  </a:cubicBezTo>
                  <a:cubicBezTo>
                    <a:pt x="1953885" y="493714"/>
                    <a:pt x="1938249" y="478433"/>
                    <a:pt x="1938249" y="459582"/>
                  </a:cubicBezTo>
                  <a:cubicBezTo>
                    <a:pt x="1938249" y="440731"/>
                    <a:pt x="1953885" y="425450"/>
                    <a:pt x="1973173" y="425450"/>
                  </a:cubicBezTo>
                  <a:close/>
                  <a:moveTo>
                    <a:pt x="1888373" y="425450"/>
                  </a:moveTo>
                  <a:cubicBezTo>
                    <a:pt x="1907222" y="425450"/>
                    <a:pt x="1922503" y="440731"/>
                    <a:pt x="1922503" y="459582"/>
                  </a:cubicBezTo>
                  <a:cubicBezTo>
                    <a:pt x="1922503" y="478433"/>
                    <a:pt x="1907222" y="493714"/>
                    <a:pt x="1888373" y="493714"/>
                  </a:cubicBezTo>
                  <a:cubicBezTo>
                    <a:pt x="1869524" y="493714"/>
                    <a:pt x="1854243" y="478433"/>
                    <a:pt x="1854243" y="459582"/>
                  </a:cubicBezTo>
                  <a:cubicBezTo>
                    <a:pt x="1854243" y="440731"/>
                    <a:pt x="1869524" y="425450"/>
                    <a:pt x="1888373" y="425450"/>
                  </a:cubicBezTo>
                  <a:close/>
                  <a:moveTo>
                    <a:pt x="1802656" y="425450"/>
                  </a:moveTo>
                  <a:cubicBezTo>
                    <a:pt x="1821504" y="425450"/>
                    <a:pt x="1836784" y="440731"/>
                    <a:pt x="1836784" y="459582"/>
                  </a:cubicBezTo>
                  <a:cubicBezTo>
                    <a:pt x="1836784" y="478433"/>
                    <a:pt x="1821504" y="493714"/>
                    <a:pt x="1802656" y="493714"/>
                  </a:cubicBezTo>
                  <a:cubicBezTo>
                    <a:pt x="1783803" y="493714"/>
                    <a:pt x="1768524" y="478433"/>
                    <a:pt x="1768524" y="459582"/>
                  </a:cubicBezTo>
                  <a:cubicBezTo>
                    <a:pt x="1768524" y="440731"/>
                    <a:pt x="1783803" y="425450"/>
                    <a:pt x="1802656" y="425450"/>
                  </a:cubicBezTo>
                  <a:close/>
                  <a:moveTo>
                    <a:pt x="1719314" y="425450"/>
                  </a:moveTo>
                  <a:cubicBezTo>
                    <a:pt x="1739480" y="425450"/>
                    <a:pt x="1755825" y="440731"/>
                    <a:pt x="1755825" y="459582"/>
                  </a:cubicBezTo>
                  <a:cubicBezTo>
                    <a:pt x="1755825" y="478433"/>
                    <a:pt x="1739480" y="493714"/>
                    <a:pt x="1719314" y="493714"/>
                  </a:cubicBezTo>
                  <a:cubicBezTo>
                    <a:pt x="1699147" y="493714"/>
                    <a:pt x="1682803" y="478433"/>
                    <a:pt x="1682803" y="459582"/>
                  </a:cubicBezTo>
                  <a:cubicBezTo>
                    <a:pt x="1682803" y="440731"/>
                    <a:pt x="1699147" y="425450"/>
                    <a:pt x="1719314" y="425450"/>
                  </a:cubicBezTo>
                  <a:close/>
                  <a:moveTo>
                    <a:pt x="1636626" y="425450"/>
                  </a:moveTo>
                  <a:cubicBezTo>
                    <a:pt x="1655914" y="425450"/>
                    <a:pt x="1671551" y="440731"/>
                    <a:pt x="1671551" y="459582"/>
                  </a:cubicBezTo>
                  <a:cubicBezTo>
                    <a:pt x="1671551" y="478433"/>
                    <a:pt x="1655914" y="493714"/>
                    <a:pt x="1636626" y="493714"/>
                  </a:cubicBezTo>
                  <a:cubicBezTo>
                    <a:pt x="1617336" y="493714"/>
                    <a:pt x="1601701" y="478433"/>
                    <a:pt x="1601701" y="459582"/>
                  </a:cubicBezTo>
                  <a:cubicBezTo>
                    <a:pt x="1601701" y="440731"/>
                    <a:pt x="1617336" y="425450"/>
                    <a:pt x="1636626" y="425450"/>
                  </a:cubicBezTo>
                  <a:close/>
                  <a:moveTo>
                    <a:pt x="1551838" y="425450"/>
                  </a:moveTo>
                  <a:cubicBezTo>
                    <a:pt x="1570689" y="425450"/>
                    <a:pt x="1585970" y="440731"/>
                    <a:pt x="1585970" y="459582"/>
                  </a:cubicBezTo>
                  <a:cubicBezTo>
                    <a:pt x="1585970" y="478433"/>
                    <a:pt x="1570689" y="493714"/>
                    <a:pt x="1551838" y="493714"/>
                  </a:cubicBezTo>
                  <a:cubicBezTo>
                    <a:pt x="1532987" y="493714"/>
                    <a:pt x="1517707" y="478433"/>
                    <a:pt x="1517707" y="459582"/>
                  </a:cubicBezTo>
                  <a:cubicBezTo>
                    <a:pt x="1517707" y="440731"/>
                    <a:pt x="1532987" y="425450"/>
                    <a:pt x="1551838" y="425450"/>
                  </a:cubicBezTo>
                  <a:close/>
                  <a:moveTo>
                    <a:pt x="1466114" y="425450"/>
                  </a:moveTo>
                  <a:cubicBezTo>
                    <a:pt x="1484965" y="425450"/>
                    <a:pt x="1500247" y="440731"/>
                    <a:pt x="1500247" y="459582"/>
                  </a:cubicBezTo>
                  <a:cubicBezTo>
                    <a:pt x="1500247" y="478433"/>
                    <a:pt x="1484965" y="493714"/>
                    <a:pt x="1466114" y="493714"/>
                  </a:cubicBezTo>
                  <a:cubicBezTo>
                    <a:pt x="1447265" y="493714"/>
                    <a:pt x="1431983" y="478433"/>
                    <a:pt x="1431983" y="459582"/>
                  </a:cubicBezTo>
                  <a:cubicBezTo>
                    <a:pt x="1431983" y="440731"/>
                    <a:pt x="1447265" y="425450"/>
                    <a:pt x="1466114" y="425450"/>
                  </a:cubicBezTo>
                  <a:close/>
                  <a:moveTo>
                    <a:pt x="1380392" y="425450"/>
                  </a:moveTo>
                  <a:cubicBezTo>
                    <a:pt x="1399243" y="425450"/>
                    <a:pt x="1414522" y="440731"/>
                    <a:pt x="1414522" y="459582"/>
                  </a:cubicBezTo>
                  <a:cubicBezTo>
                    <a:pt x="1414522" y="478433"/>
                    <a:pt x="1399243" y="493714"/>
                    <a:pt x="1380392" y="493714"/>
                  </a:cubicBezTo>
                  <a:cubicBezTo>
                    <a:pt x="1361539" y="493714"/>
                    <a:pt x="1346258" y="478433"/>
                    <a:pt x="1346258" y="459582"/>
                  </a:cubicBezTo>
                  <a:cubicBezTo>
                    <a:pt x="1346258" y="440731"/>
                    <a:pt x="1361539" y="425450"/>
                    <a:pt x="1380392" y="425450"/>
                  </a:cubicBezTo>
                  <a:close/>
                  <a:moveTo>
                    <a:pt x="1300222" y="425450"/>
                  </a:moveTo>
                  <a:cubicBezTo>
                    <a:pt x="1319509" y="425450"/>
                    <a:pt x="1335148" y="440731"/>
                    <a:pt x="1335148" y="459582"/>
                  </a:cubicBezTo>
                  <a:cubicBezTo>
                    <a:pt x="1335148" y="478433"/>
                    <a:pt x="1319509" y="493714"/>
                    <a:pt x="1300222" y="493714"/>
                  </a:cubicBezTo>
                  <a:cubicBezTo>
                    <a:pt x="1280933" y="493714"/>
                    <a:pt x="1265297" y="478433"/>
                    <a:pt x="1265297" y="459582"/>
                  </a:cubicBezTo>
                  <a:cubicBezTo>
                    <a:pt x="1265297" y="440731"/>
                    <a:pt x="1280933" y="425450"/>
                    <a:pt x="1300222" y="425450"/>
                  </a:cubicBezTo>
                  <a:close/>
                  <a:moveTo>
                    <a:pt x="1214500" y="425450"/>
                  </a:moveTo>
                  <a:cubicBezTo>
                    <a:pt x="1233787" y="425450"/>
                    <a:pt x="1249422" y="440731"/>
                    <a:pt x="1249422" y="459582"/>
                  </a:cubicBezTo>
                  <a:cubicBezTo>
                    <a:pt x="1249422" y="478433"/>
                    <a:pt x="1233787" y="493714"/>
                    <a:pt x="1214500" y="493714"/>
                  </a:cubicBezTo>
                  <a:cubicBezTo>
                    <a:pt x="1195210" y="493714"/>
                    <a:pt x="1179573" y="478433"/>
                    <a:pt x="1179573" y="459582"/>
                  </a:cubicBezTo>
                  <a:cubicBezTo>
                    <a:pt x="1179573" y="440731"/>
                    <a:pt x="1195210" y="425450"/>
                    <a:pt x="1214500" y="425450"/>
                  </a:cubicBezTo>
                  <a:close/>
                  <a:moveTo>
                    <a:pt x="8042952" y="339725"/>
                  </a:moveTo>
                  <a:cubicBezTo>
                    <a:pt x="8061803" y="339725"/>
                    <a:pt x="8077084" y="355006"/>
                    <a:pt x="8077084" y="373857"/>
                  </a:cubicBezTo>
                  <a:cubicBezTo>
                    <a:pt x="8077084" y="392708"/>
                    <a:pt x="8061803" y="407989"/>
                    <a:pt x="8042952" y="407989"/>
                  </a:cubicBezTo>
                  <a:cubicBezTo>
                    <a:pt x="8024101" y="407989"/>
                    <a:pt x="8008820" y="392708"/>
                    <a:pt x="8008820" y="373857"/>
                  </a:cubicBezTo>
                  <a:cubicBezTo>
                    <a:pt x="8008820" y="355006"/>
                    <a:pt x="8024101" y="339725"/>
                    <a:pt x="8042952" y="339725"/>
                  </a:cubicBezTo>
                  <a:close/>
                  <a:moveTo>
                    <a:pt x="7957227" y="339725"/>
                  </a:moveTo>
                  <a:cubicBezTo>
                    <a:pt x="7976078" y="339725"/>
                    <a:pt x="7991359" y="355006"/>
                    <a:pt x="7991359" y="373857"/>
                  </a:cubicBezTo>
                  <a:cubicBezTo>
                    <a:pt x="7991359" y="392708"/>
                    <a:pt x="7976078" y="407989"/>
                    <a:pt x="7957227" y="407989"/>
                  </a:cubicBezTo>
                  <a:cubicBezTo>
                    <a:pt x="7938376" y="407989"/>
                    <a:pt x="7923095" y="392708"/>
                    <a:pt x="7923095" y="373857"/>
                  </a:cubicBezTo>
                  <a:cubicBezTo>
                    <a:pt x="7923095" y="355006"/>
                    <a:pt x="7938376" y="339725"/>
                    <a:pt x="7957227" y="339725"/>
                  </a:cubicBezTo>
                  <a:close/>
                  <a:moveTo>
                    <a:pt x="7871502" y="339725"/>
                  </a:moveTo>
                  <a:cubicBezTo>
                    <a:pt x="7890353" y="339725"/>
                    <a:pt x="7905634" y="355006"/>
                    <a:pt x="7905634" y="373857"/>
                  </a:cubicBezTo>
                  <a:cubicBezTo>
                    <a:pt x="7905634" y="392708"/>
                    <a:pt x="7890353" y="407989"/>
                    <a:pt x="7871502" y="407989"/>
                  </a:cubicBezTo>
                  <a:cubicBezTo>
                    <a:pt x="7852651" y="407989"/>
                    <a:pt x="7837370" y="392708"/>
                    <a:pt x="7837370" y="373857"/>
                  </a:cubicBezTo>
                  <a:cubicBezTo>
                    <a:pt x="7837370" y="355006"/>
                    <a:pt x="7852651" y="339725"/>
                    <a:pt x="7871502" y="339725"/>
                  </a:cubicBezTo>
                  <a:close/>
                  <a:moveTo>
                    <a:pt x="7785777" y="339725"/>
                  </a:moveTo>
                  <a:cubicBezTo>
                    <a:pt x="7804628" y="339725"/>
                    <a:pt x="7819909" y="355006"/>
                    <a:pt x="7819909" y="373857"/>
                  </a:cubicBezTo>
                  <a:cubicBezTo>
                    <a:pt x="7819909" y="392708"/>
                    <a:pt x="7804628" y="407989"/>
                    <a:pt x="7785777" y="407989"/>
                  </a:cubicBezTo>
                  <a:cubicBezTo>
                    <a:pt x="7766926" y="407989"/>
                    <a:pt x="7751645" y="392708"/>
                    <a:pt x="7751645" y="373857"/>
                  </a:cubicBezTo>
                  <a:cubicBezTo>
                    <a:pt x="7751645" y="355006"/>
                    <a:pt x="7766926" y="339725"/>
                    <a:pt x="7785777" y="339725"/>
                  </a:cubicBezTo>
                  <a:close/>
                  <a:moveTo>
                    <a:pt x="7706402" y="339725"/>
                  </a:moveTo>
                  <a:cubicBezTo>
                    <a:pt x="7725253" y="339725"/>
                    <a:pt x="7740534" y="355006"/>
                    <a:pt x="7740534" y="373857"/>
                  </a:cubicBezTo>
                  <a:cubicBezTo>
                    <a:pt x="7740534" y="392708"/>
                    <a:pt x="7725253" y="407989"/>
                    <a:pt x="7706402" y="407989"/>
                  </a:cubicBezTo>
                  <a:cubicBezTo>
                    <a:pt x="7687551" y="407989"/>
                    <a:pt x="7672270" y="392708"/>
                    <a:pt x="7672270" y="373857"/>
                  </a:cubicBezTo>
                  <a:cubicBezTo>
                    <a:pt x="7672270" y="355006"/>
                    <a:pt x="7687551" y="339725"/>
                    <a:pt x="7706402" y="339725"/>
                  </a:cubicBezTo>
                  <a:close/>
                  <a:moveTo>
                    <a:pt x="7620677" y="339725"/>
                  </a:moveTo>
                  <a:cubicBezTo>
                    <a:pt x="7639528" y="339725"/>
                    <a:pt x="7654809" y="355006"/>
                    <a:pt x="7654809" y="373857"/>
                  </a:cubicBezTo>
                  <a:cubicBezTo>
                    <a:pt x="7654809" y="392708"/>
                    <a:pt x="7639528" y="407989"/>
                    <a:pt x="7620677" y="407989"/>
                  </a:cubicBezTo>
                  <a:cubicBezTo>
                    <a:pt x="7601826" y="407989"/>
                    <a:pt x="7586545" y="392708"/>
                    <a:pt x="7586545" y="373857"/>
                  </a:cubicBezTo>
                  <a:cubicBezTo>
                    <a:pt x="7586545" y="355006"/>
                    <a:pt x="7601826" y="339725"/>
                    <a:pt x="7620677" y="339725"/>
                  </a:cubicBezTo>
                  <a:close/>
                  <a:moveTo>
                    <a:pt x="7534952" y="339725"/>
                  </a:moveTo>
                  <a:cubicBezTo>
                    <a:pt x="7553803" y="339725"/>
                    <a:pt x="7569084" y="355006"/>
                    <a:pt x="7569084" y="373857"/>
                  </a:cubicBezTo>
                  <a:cubicBezTo>
                    <a:pt x="7569084" y="392708"/>
                    <a:pt x="7553803" y="407989"/>
                    <a:pt x="7534952" y="407989"/>
                  </a:cubicBezTo>
                  <a:cubicBezTo>
                    <a:pt x="7516101" y="407989"/>
                    <a:pt x="7500820" y="392708"/>
                    <a:pt x="7500820" y="373857"/>
                  </a:cubicBezTo>
                  <a:cubicBezTo>
                    <a:pt x="7500820" y="355006"/>
                    <a:pt x="7516101" y="339725"/>
                    <a:pt x="7534952" y="339725"/>
                  </a:cubicBezTo>
                  <a:close/>
                  <a:moveTo>
                    <a:pt x="7449227" y="339725"/>
                  </a:moveTo>
                  <a:cubicBezTo>
                    <a:pt x="7468078" y="339725"/>
                    <a:pt x="7483359" y="355006"/>
                    <a:pt x="7483359" y="373857"/>
                  </a:cubicBezTo>
                  <a:cubicBezTo>
                    <a:pt x="7483359" y="392708"/>
                    <a:pt x="7468078" y="407989"/>
                    <a:pt x="7449227" y="407989"/>
                  </a:cubicBezTo>
                  <a:cubicBezTo>
                    <a:pt x="7430376" y="407989"/>
                    <a:pt x="7415095" y="392708"/>
                    <a:pt x="7415095" y="373857"/>
                  </a:cubicBezTo>
                  <a:cubicBezTo>
                    <a:pt x="7415095" y="355006"/>
                    <a:pt x="7430376" y="339725"/>
                    <a:pt x="7449227" y="339725"/>
                  </a:cubicBezTo>
                  <a:close/>
                  <a:moveTo>
                    <a:pt x="7366677" y="339725"/>
                  </a:moveTo>
                  <a:cubicBezTo>
                    <a:pt x="7387281" y="339725"/>
                    <a:pt x="7403984" y="355006"/>
                    <a:pt x="7403984" y="373857"/>
                  </a:cubicBezTo>
                  <a:cubicBezTo>
                    <a:pt x="7403984" y="392708"/>
                    <a:pt x="7387281" y="407989"/>
                    <a:pt x="7366677" y="407989"/>
                  </a:cubicBezTo>
                  <a:cubicBezTo>
                    <a:pt x="7346073" y="407989"/>
                    <a:pt x="7329370" y="392708"/>
                    <a:pt x="7329370" y="373857"/>
                  </a:cubicBezTo>
                  <a:cubicBezTo>
                    <a:pt x="7329370" y="355006"/>
                    <a:pt x="7346073" y="339725"/>
                    <a:pt x="7366677" y="339725"/>
                  </a:cubicBezTo>
                  <a:close/>
                  <a:moveTo>
                    <a:pt x="7284127" y="339725"/>
                  </a:moveTo>
                  <a:cubicBezTo>
                    <a:pt x="7302978" y="339725"/>
                    <a:pt x="7318259" y="355006"/>
                    <a:pt x="7318259" y="373857"/>
                  </a:cubicBezTo>
                  <a:cubicBezTo>
                    <a:pt x="7318259" y="392708"/>
                    <a:pt x="7302978" y="407989"/>
                    <a:pt x="7284127" y="407989"/>
                  </a:cubicBezTo>
                  <a:cubicBezTo>
                    <a:pt x="7265276" y="407989"/>
                    <a:pt x="7249995" y="392708"/>
                    <a:pt x="7249995" y="373857"/>
                  </a:cubicBezTo>
                  <a:cubicBezTo>
                    <a:pt x="7249995" y="355006"/>
                    <a:pt x="7265276" y="339725"/>
                    <a:pt x="7284127" y="339725"/>
                  </a:cubicBezTo>
                  <a:close/>
                  <a:moveTo>
                    <a:pt x="7198402" y="339725"/>
                  </a:moveTo>
                  <a:cubicBezTo>
                    <a:pt x="7217253" y="339725"/>
                    <a:pt x="7232534" y="355006"/>
                    <a:pt x="7232534" y="373857"/>
                  </a:cubicBezTo>
                  <a:cubicBezTo>
                    <a:pt x="7232534" y="392708"/>
                    <a:pt x="7217253" y="407989"/>
                    <a:pt x="7198402" y="407989"/>
                  </a:cubicBezTo>
                  <a:cubicBezTo>
                    <a:pt x="7179551" y="407989"/>
                    <a:pt x="7164270" y="392708"/>
                    <a:pt x="7164270" y="373857"/>
                  </a:cubicBezTo>
                  <a:cubicBezTo>
                    <a:pt x="7164270" y="355006"/>
                    <a:pt x="7179551" y="339725"/>
                    <a:pt x="7198402" y="339725"/>
                  </a:cubicBezTo>
                  <a:close/>
                  <a:moveTo>
                    <a:pt x="7112677" y="339725"/>
                  </a:moveTo>
                  <a:cubicBezTo>
                    <a:pt x="7131528" y="339725"/>
                    <a:pt x="7146809" y="355006"/>
                    <a:pt x="7146809" y="373857"/>
                  </a:cubicBezTo>
                  <a:cubicBezTo>
                    <a:pt x="7146809" y="392708"/>
                    <a:pt x="7131528" y="407989"/>
                    <a:pt x="7112677" y="407989"/>
                  </a:cubicBezTo>
                  <a:cubicBezTo>
                    <a:pt x="7093826" y="407989"/>
                    <a:pt x="7078545" y="392708"/>
                    <a:pt x="7078545" y="373857"/>
                  </a:cubicBezTo>
                  <a:cubicBezTo>
                    <a:pt x="7078545" y="355006"/>
                    <a:pt x="7093826" y="339725"/>
                    <a:pt x="7112677" y="339725"/>
                  </a:cubicBezTo>
                  <a:close/>
                  <a:moveTo>
                    <a:pt x="7027745" y="339725"/>
                  </a:moveTo>
                  <a:cubicBezTo>
                    <a:pt x="7047034" y="339725"/>
                    <a:pt x="7062670" y="355006"/>
                    <a:pt x="7062670" y="373857"/>
                  </a:cubicBezTo>
                  <a:cubicBezTo>
                    <a:pt x="7062670" y="392708"/>
                    <a:pt x="7047034" y="407989"/>
                    <a:pt x="7027745" y="407989"/>
                  </a:cubicBezTo>
                  <a:cubicBezTo>
                    <a:pt x="7008456" y="407989"/>
                    <a:pt x="6992820" y="392708"/>
                    <a:pt x="6992820" y="373857"/>
                  </a:cubicBezTo>
                  <a:cubicBezTo>
                    <a:pt x="6992820" y="355006"/>
                    <a:pt x="7008456" y="339725"/>
                    <a:pt x="7027745" y="339725"/>
                  </a:cubicBezTo>
                  <a:close/>
                  <a:moveTo>
                    <a:pt x="6861852" y="339725"/>
                  </a:moveTo>
                  <a:cubicBezTo>
                    <a:pt x="6880703" y="339725"/>
                    <a:pt x="6895984" y="355006"/>
                    <a:pt x="6895984" y="373857"/>
                  </a:cubicBezTo>
                  <a:cubicBezTo>
                    <a:pt x="6895984" y="392708"/>
                    <a:pt x="6880703" y="407989"/>
                    <a:pt x="6861852" y="407989"/>
                  </a:cubicBezTo>
                  <a:cubicBezTo>
                    <a:pt x="6843001" y="407989"/>
                    <a:pt x="6827720" y="392708"/>
                    <a:pt x="6827720" y="373857"/>
                  </a:cubicBezTo>
                  <a:cubicBezTo>
                    <a:pt x="6827720" y="355006"/>
                    <a:pt x="6843001" y="339725"/>
                    <a:pt x="6861852" y="339725"/>
                  </a:cubicBezTo>
                  <a:close/>
                  <a:moveTo>
                    <a:pt x="6268920" y="339725"/>
                  </a:moveTo>
                  <a:cubicBezTo>
                    <a:pt x="6288209" y="339725"/>
                    <a:pt x="6303845" y="355006"/>
                    <a:pt x="6303845" y="373857"/>
                  </a:cubicBezTo>
                  <a:cubicBezTo>
                    <a:pt x="6303845" y="392708"/>
                    <a:pt x="6288209" y="407989"/>
                    <a:pt x="6268920" y="407989"/>
                  </a:cubicBezTo>
                  <a:cubicBezTo>
                    <a:pt x="6249631" y="407989"/>
                    <a:pt x="6233995" y="392708"/>
                    <a:pt x="6233995" y="373857"/>
                  </a:cubicBezTo>
                  <a:cubicBezTo>
                    <a:pt x="6233995" y="355006"/>
                    <a:pt x="6249631" y="339725"/>
                    <a:pt x="6268920" y="339725"/>
                  </a:cubicBezTo>
                  <a:close/>
                  <a:moveTo>
                    <a:pt x="4415515" y="339725"/>
                  </a:moveTo>
                  <a:cubicBezTo>
                    <a:pt x="4434366" y="339725"/>
                    <a:pt x="4449647" y="355006"/>
                    <a:pt x="4449647" y="373857"/>
                  </a:cubicBezTo>
                  <a:cubicBezTo>
                    <a:pt x="4449647" y="392708"/>
                    <a:pt x="4434366" y="407989"/>
                    <a:pt x="4415515" y="407989"/>
                  </a:cubicBezTo>
                  <a:cubicBezTo>
                    <a:pt x="4396664" y="407989"/>
                    <a:pt x="4381383" y="392708"/>
                    <a:pt x="4381383" y="373857"/>
                  </a:cubicBezTo>
                  <a:cubicBezTo>
                    <a:pt x="4381383" y="355006"/>
                    <a:pt x="4396664" y="339725"/>
                    <a:pt x="4415515" y="339725"/>
                  </a:cubicBezTo>
                  <a:close/>
                  <a:moveTo>
                    <a:pt x="4332171" y="339725"/>
                  </a:moveTo>
                  <a:cubicBezTo>
                    <a:pt x="4352337" y="339725"/>
                    <a:pt x="4368684" y="355006"/>
                    <a:pt x="4368684" y="373857"/>
                  </a:cubicBezTo>
                  <a:cubicBezTo>
                    <a:pt x="4368684" y="392708"/>
                    <a:pt x="4352337" y="407989"/>
                    <a:pt x="4332171" y="407989"/>
                  </a:cubicBezTo>
                  <a:cubicBezTo>
                    <a:pt x="4312005" y="407989"/>
                    <a:pt x="4295658" y="392708"/>
                    <a:pt x="4295658" y="373857"/>
                  </a:cubicBezTo>
                  <a:cubicBezTo>
                    <a:pt x="4295658" y="355006"/>
                    <a:pt x="4312005" y="339725"/>
                    <a:pt x="4332171" y="339725"/>
                  </a:cubicBezTo>
                  <a:close/>
                  <a:moveTo>
                    <a:pt x="4248827" y="339725"/>
                  </a:moveTo>
                  <a:cubicBezTo>
                    <a:pt x="4267678" y="339725"/>
                    <a:pt x="4282959" y="355006"/>
                    <a:pt x="4282959" y="373857"/>
                  </a:cubicBezTo>
                  <a:cubicBezTo>
                    <a:pt x="4282959" y="392708"/>
                    <a:pt x="4267678" y="407989"/>
                    <a:pt x="4248827" y="407989"/>
                  </a:cubicBezTo>
                  <a:cubicBezTo>
                    <a:pt x="4229976" y="407989"/>
                    <a:pt x="4214695" y="392708"/>
                    <a:pt x="4214695" y="373857"/>
                  </a:cubicBezTo>
                  <a:cubicBezTo>
                    <a:pt x="4214695" y="355006"/>
                    <a:pt x="4229976" y="339725"/>
                    <a:pt x="4248827" y="339725"/>
                  </a:cubicBezTo>
                  <a:close/>
                  <a:moveTo>
                    <a:pt x="4163895" y="339725"/>
                  </a:moveTo>
                  <a:cubicBezTo>
                    <a:pt x="4183184" y="339725"/>
                    <a:pt x="4198820" y="355006"/>
                    <a:pt x="4198820" y="373857"/>
                  </a:cubicBezTo>
                  <a:cubicBezTo>
                    <a:pt x="4198820" y="392708"/>
                    <a:pt x="4183184" y="407989"/>
                    <a:pt x="4163895" y="407989"/>
                  </a:cubicBezTo>
                  <a:cubicBezTo>
                    <a:pt x="4144606" y="407989"/>
                    <a:pt x="4128970" y="392708"/>
                    <a:pt x="4128970" y="373857"/>
                  </a:cubicBezTo>
                  <a:cubicBezTo>
                    <a:pt x="4128970" y="355006"/>
                    <a:pt x="4144606" y="339725"/>
                    <a:pt x="4163895" y="339725"/>
                  </a:cubicBezTo>
                  <a:close/>
                  <a:moveTo>
                    <a:pt x="4078170" y="339725"/>
                  </a:moveTo>
                  <a:cubicBezTo>
                    <a:pt x="4097459" y="339725"/>
                    <a:pt x="4113095" y="355006"/>
                    <a:pt x="4113095" y="373857"/>
                  </a:cubicBezTo>
                  <a:cubicBezTo>
                    <a:pt x="4113095" y="392708"/>
                    <a:pt x="4097459" y="407989"/>
                    <a:pt x="4078170" y="407989"/>
                  </a:cubicBezTo>
                  <a:cubicBezTo>
                    <a:pt x="4058881" y="407989"/>
                    <a:pt x="4043245" y="392708"/>
                    <a:pt x="4043245" y="373857"/>
                  </a:cubicBezTo>
                  <a:cubicBezTo>
                    <a:pt x="4043245" y="355006"/>
                    <a:pt x="4058881" y="339725"/>
                    <a:pt x="4078170" y="339725"/>
                  </a:cubicBezTo>
                  <a:close/>
                  <a:moveTo>
                    <a:pt x="3993240" y="339725"/>
                  </a:moveTo>
                  <a:cubicBezTo>
                    <a:pt x="4012091" y="339725"/>
                    <a:pt x="4027372" y="355006"/>
                    <a:pt x="4027372" y="373857"/>
                  </a:cubicBezTo>
                  <a:cubicBezTo>
                    <a:pt x="4027372" y="392708"/>
                    <a:pt x="4012091" y="407989"/>
                    <a:pt x="3993240" y="407989"/>
                  </a:cubicBezTo>
                  <a:cubicBezTo>
                    <a:pt x="3974389" y="407989"/>
                    <a:pt x="3959108" y="392708"/>
                    <a:pt x="3959108" y="373857"/>
                  </a:cubicBezTo>
                  <a:cubicBezTo>
                    <a:pt x="3959108" y="355006"/>
                    <a:pt x="3974389" y="339725"/>
                    <a:pt x="3993240" y="339725"/>
                  </a:cubicBezTo>
                  <a:close/>
                  <a:moveTo>
                    <a:pt x="3912277" y="339725"/>
                  </a:moveTo>
                  <a:cubicBezTo>
                    <a:pt x="3931128" y="339725"/>
                    <a:pt x="3946409" y="355006"/>
                    <a:pt x="3946409" y="373857"/>
                  </a:cubicBezTo>
                  <a:cubicBezTo>
                    <a:pt x="3946409" y="392708"/>
                    <a:pt x="3931128" y="407989"/>
                    <a:pt x="3912277" y="407989"/>
                  </a:cubicBezTo>
                  <a:cubicBezTo>
                    <a:pt x="3893426" y="407989"/>
                    <a:pt x="3878145" y="392708"/>
                    <a:pt x="3878145" y="373857"/>
                  </a:cubicBezTo>
                  <a:cubicBezTo>
                    <a:pt x="3878145" y="355006"/>
                    <a:pt x="3893426" y="339725"/>
                    <a:pt x="3912277" y="339725"/>
                  </a:cubicBezTo>
                  <a:close/>
                  <a:moveTo>
                    <a:pt x="3826552" y="339725"/>
                  </a:moveTo>
                  <a:cubicBezTo>
                    <a:pt x="3845403" y="339725"/>
                    <a:pt x="3860684" y="355006"/>
                    <a:pt x="3860684" y="373857"/>
                  </a:cubicBezTo>
                  <a:cubicBezTo>
                    <a:pt x="3860684" y="392708"/>
                    <a:pt x="3845403" y="407989"/>
                    <a:pt x="3826552" y="407989"/>
                  </a:cubicBezTo>
                  <a:cubicBezTo>
                    <a:pt x="3807701" y="407989"/>
                    <a:pt x="3792420" y="392708"/>
                    <a:pt x="3792420" y="373857"/>
                  </a:cubicBezTo>
                  <a:cubicBezTo>
                    <a:pt x="3792420" y="355006"/>
                    <a:pt x="3807701" y="339725"/>
                    <a:pt x="3826552" y="339725"/>
                  </a:cubicBezTo>
                  <a:close/>
                  <a:moveTo>
                    <a:pt x="3741620" y="339725"/>
                  </a:moveTo>
                  <a:cubicBezTo>
                    <a:pt x="3760909" y="339725"/>
                    <a:pt x="3776545" y="355006"/>
                    <a:pt x="3776545" y="373857"/>
                  </a:cubicBezTo>
                  <a:cubicBezTo>
                    <a:pt x="3776545" y="392708"/>
                    <a:pt x="3760909" y="407989"/>
                    <a:pt x="3741620" y="407989"/>
                  </a:cubicBezTo>
                  <a:cubicBezTo>
                    <a:pt x="3722331" y="407989"/>
                    <a:pt x="3706695" y="392708"/>
                    <a:pt x="3706695" y="373857"/>
                  </a:cubicBezTo>
                  <a:cubicBezTo>
                    <a:pt x="3706695" y="355006"/>
                    <a:pt x="3722331" y="339725"/>
                    <a:pt x="3741620" y="339725"/>
                  </a:cubicBezTo>
                  <a:close/>
                  <a:moveTo>
                    <a:pt x="2983590" y="339725"/>
                  </a:moveTo>
                  <a:cubicBezTo>
                    <a:pt x="3002441" y="339725"/>
                    <a:pt x="3017722" y="355006"/>
                    <a:pt x="3017722" y="373857"/>
                  </a:cubicBezTo>
                  <a:cubicBezTo>
                    <a:pt x="3017722" y="392708"/>
                    <a:pt x="3002441" y="407989"/>
                    <a:pt x="2983590" y="407989"/>
                  </a:cubicBezTo>
                  <a:cubicBezTo>
                    <a:pt x="2964739" y="407989"/>
                    <a:pt x="2949458" y="392708"/>
                    <a:pt x="2949458" y="373857"/>
                  </a:cubicBezTo>
                  <a:cubicBezTo>
                    <a:pt x="2949458" y="355006"/>
                    <a:pt x="2964739" y="339725"/>
                    <a:pt x="2983590" y="339725"/>
                  </a:cubicBezTo>
                  <a:close/>
                  <a:moveTo>
                    <a:pt x="2814521" y="339725"/>
                  </a:moveTo>
                  <a:cubicBezTo>
                    <a:pt x="2834687" y="339725"/>
                    <a:pt x="2851034" y="355006"/>
                    <a:pt x="2851034" y="373857"/>
                  </a:cubicBezTo>
                  <a:cubicBezTo>
                    <a:pt x="2851034" y="392708"/>
                    <a:pt x="2834687" y="407989"/>
                    <a:pt x="2814521" y="407989"/>
                  </a:cubicBezTo>
                  <a:cubicBezTo>
                    <a:pt x="2794355" y="407989"/>
                    <a:pt x="2778008" y="392708"/>
                    <a:pt x="2778008" y="373857"/>
                  </a:cubicBezTo>
                  <a:cubicBezTo>
                    <a:pt x="2778008" y="355006"/>
                    <a:pt x="2794355" y="339725"/>
                    <a:pt x="2814521" y="339725"/>
                  </a:cubicBezTo>
                  <a:close/>
                  <a:moveTo>
                    <a:pt x="2646274" y="339725"/>
                  </a:moveTo>
                  <a:cubicBezTo>
                    <a:pt x="2665563" y="339725"/>
                    <a:pt x="2681199" y="355006"/>
                    <a:pt x="2681199" y="373857"/>
                  </a:cubicBezTo>
                  <a:cubicBezTo>
                    <a:pt x="2681199" y="392708"/>
                    <a:pt x="2665563" y="407989"/>
                    <a:pt x="2646274" y="407989"/>
                  </a:cubicBezTo>
                  <a:cubicBezTo>
                    <a:pt x="2626986" y="407989"/>
                    <a:pt x="2611349" y="392708"/>
                    <a:pt x="2611349" y="373857"/>
                  </a:cubicBezTo>
                  <a:cubicBezTo>
                    <a:pt x="2611349" y="355006"/>
                    <a:pt x="2626986" y="339725"/>
                    <a:pt x="2646274" y="339725"/>
                  </a:cubicBezTo>
                  <a:close/>
                  <a:moveTo>
                    <a:pt x="2475754" y="339725"/>
                  </a:moveTo>
                  <a:cubicBezTo>
                    <a:pt x="2494608" y="339725"/>
                    <a:pt x="2509883" y="355006"/>
                    <a:pt x="2509883" y="373857"/>
                  </a:cubicBezTo>
                  <a:cubicBezTo>
                    <a:pt x="2509883" y="392708"/>
                    <a:pt x="2494608" y="407989"/>
                    <a:pt x="2475754" y="407989"/>
                  </a:cubicBezTo>
                  <a:cubicBezTo>
                    <a:pt x="2456900" y="407989"/>
                    <a:pt x="2441619" y="392708"/>
                    <a:pt x="2441619" y="373857"/>
                  </a:cubicBezTo>
                  <a:cubicBezTo>
                    <a:pt x="2441619" y="355006"/>
                    <a:pt x="2456900" y="339725"/>
                    <a:pt x="2475754" y="339725"/>
                  </a:cubicBezTo>
                  <a:close/>
                  <a:moveTo>
                    <a:pt x="2394668" y="339725"/>
                  </a:moveTo>
                  <a:cubicBezTo>
                    <a:pt x="2413519" y="339725"/>
                    <a:pt x="2428802" y="355006"/>
                    <a:pt x="2428802" y="373857"/>
                  </a:cubicBezTo>
                  <a:cubicBezTo>
                    <a:pt x="2428802" y="392708"/>
                    <a:pt x="2413519" y="407989"/>
                    <a:pt x="2394668" y="407989"/>
                  </a:cubicBezTo>
                  <a:cubicBezTo>
                    <a:pt x="2375818" y="407989"/>
                    <a:pt x="2360538" y="392708"/>
                    <a:pt x="2360538" y="373857"/>
                  </a:cubicBezTo>
                  <a:cubicBezTo>
                    <a:pt x="2360538" y="355006"/>
                    <a:pt x="2375818" y="339725"/>
                    <a:pt x="2394668" y="339725"/>
                  </a:cubicBezTo>
                  <a:close/>
                  <a:moveTo>
                    <a:pt x="2309738" y="339725"/>
                  </a:moveTo>
                  <a:cubicBezTo>
                    <a:pt x="2329025" y="339725"/>
                    <a:pt x="2344663" y="355006"/>
                    <a:pt x="2344663" y="373857"/>
                  </a:cubicBezTo>
                  <a:cubicBezTo>
                    <a:pt x="2344663" y="392708"/>
                    <a:pt x="2329025" y="407989"/>
                    <a:pt x="2309738" y="407989"/>
                  </a:cubicBezTo>
                  <a:cubicBezTo>
                    <a:pt x="2290447" y="407989"/>
                    <a:pt x="2274811" y="392708"/>
                    <a:pt x="2274811" y="373857"/>
                  </a:cubicBezTo>
                  <a:cubicBezTo>
                    <a:pt x="2274811" y="355006"/>
                    <a:pt x="2290447" y="339725"/>
                    <a:pt x="2309738" y="339725"/>
                  </a:cubicBezTo>
                  <a:close/>
                  <a:moveTo>
                    <a:pt x="2224806" y="339725"/>
                  </a:moveTo>
                  <a:cubicBezTo>
                    <a:pt x="2243657" y="339725"/>
                    <a:pt x="2258939" y="355006"/>
                    <a:pt x="2258939" y="373857"/>
                  </a:cubicBezTo>
                  <a:cubicBezTo>
                    <a:pt x="2258939" y="392708"/>
                    <a:pt x="2243657" y="407989"/>
                    <a:pt x="2224806" y="407989"/>
                  </a:cubicBezTo>
                  <a:cubicBezTo>
                    <a:pt x="2205955" y="407989"/>
                    <a:pt x="2190673" y="392708"/>
                    <a:pt x="2190673" y="373857"/>
                  </a:cubicBezTo>
                  <a:cubicBezTo>
                    <a:pt x="2190673" y="355006"/>
                    <a:pt x="2205955" y="339725"/>
                    <a:pt x="2224806" y="339725"/>
                  </a:cubicBezTo>
                  <a:close/>
                  <a:moveTo>
                    <a:pt x="1888373" y="339725"/>
                  </a:moveTo>
                  <a:cubicBezTo>
                    <a:pt x="1907222" y="339725"/>
                    <a:pt x="1922503" y="355006"/>
                    <a:pt x="1922503" y="373857"/>
                  </a:cubicBezTo>
                  <a:cubicBezTo>
                    <a:pt x="1922503" y="392708"/>
                    <a:pt x="1907222" y="407989"/>
                    <a:pt x="1888373" y="407989"/>
                  </a:cubicBezTo>
                  <a:cubicBezTo>
                    <a:pt x="1869524" y="407989"/>
                    <a:pt x="1854243" y="392708"/>
                    <a:pt x="1854243" y="373857"/>
                  </a:cubicBezTo>
                  <a:cubicBezTo>
                    <a:pt x="1854243" y="355006"/>
                    <a:pt x="1869524" y="339725"/>
                    <a:pt x="1888373" y="339725"/>
                  </a:cubicBezTo>
                  <a:close/>
                  <a:moveTo>
                    <a:pt x="1802656" y="339725"/>
                  </a:moveTo>
                  <a:cubicBezTo>
                    <a:pt x="1821504" y="339725"/>
                    <a:pt x="1836784" y="355006"/>
                    <a:pt x="1836784" y="373857"/>
                  </a:cubicBezTo>
                  <a:cubicBezTo>
                    <a:pt x="1836784" y="392708"/>
                    <a:pt x="1821504" y="407989"/>
                    <a:pt x="1802656" y="407989"/>
                  </a:cubicBezTo>
                  <a:cubicBezTo>
                    <a:pt x="1783803" y="407989"/>
                    <a:pt x="1768524" y="392708"/>
                    <a:pt x="1768524" y="373857"/>
                  </a:cubicBezTo>
                  <a:cubicBezTo>
                    <a:pt x="1768524" y="355006"/>
                    <a:pt x="1783803" y="339725"/>
                    <a:pt x="1802656" y="339725"/>
                  </a:cubicBezTo>
                  <a:close/>
                  <a:moveTo>
                    <a:pt x="1551838" y="339725"/>
                  </a:moveTo>
                  <a:cubicBezTo>
                    <a:pt x="1570689" y="339725"/>
                    <a:pt x="1585970" y="355006"/>
                    <a:pt x="1585970" y="373857"/>
                  </a:cubicBezTo>
                  <a:cubicBezTo>
                    <a:pt x="1585970" y="392708"/>
                    <a:pt x="1570689" y="407989"/>
                    <a:pt x="1551838" y="407989"/>
                  </a:cubicBezTo>
                  <a:cubicBezTo>
                    <a:pt x="1532987" y="407989"/>
                    <a:pt x="1517707" y="392708"/>
                    <a:pt x="1517707" y="373857"/>
                  </a:cubicBezTo>
                  <a:cubicBezTo>
                    <a:pt x="1517707" y="355006"/>
                    <a:pt x="1532987" y="339725"/>
                    <a:pt x="1551838" y="339725"/>
                  </a:cubicBezTo>
                  <a:close/>
                  <a:moveTo>
                    <a:pt x="1466114" y="339725"/>
                  </a:moveTo>
                  <a:cubicBezTo>
                    <a:pt x="1484965" y="339725"/>
                    <a:pt x="1500247" y="355006"/>
                    <a:pt x="1500247" y="373857"/>
                  </a:cubicBezTo>
                  <a:cubicBezTo>
                    <a:pt x="1500247" y="392708"/>
                    <a:pt x="1484965" y="407989"/>
                    <a:pt x="1466114" y="407989"/>
                  </a:cubicBezTo>
                  <a:cubicBezTo>
                    <a:pt x="1447265" y="407989"/>
                    <a:pt x="1431983" y="392708"/>
                    <a:pt x="1431983" y="373857"/>
                  </a:cubicBezTo>
                  <a:cubicBezTo>
                    <a:pt x="1431983" y="355006"/>
                    <a:pt x="1447265" y="339725"/>
                    <a:pt x="1466114" y="339725"/>
                  </a:cubicBezTo>
                  <a:close/>
                  <a:moveTo>
                    <a:pt x="7620677" y="258763"/>
                  </a:moveTo>
                  <a:cubicBezTo>
                    <a:pt x="7639528" y="258763"/>
                    <a:pt x="7654809" y="274044"/>
                    <a:pt x="7654809" y="292895"/>
                  </a:cubicBezTo>
                  <a:cubicBezTo>
                    <a:pt x="7654809" y="311746"/>
                    <a:pt x="7639528" y="327027"/>
                    <a:pt x="7620677" y="327027"/>
                  </a:cubicBezTo>
                  <a:cubicBezTo>
                    <a:pt x="7601826" y="327027"/>
                    <a:pt x="7586545" y="311746"/>
                    <a:pt x="7586545" y="292895"/>
                  </a:cubicBezTo>
                  <a:cubicBezTo>
                    <a:pt x="7586545" y="274044"/>
                    <a:pt x="7601826" y="258763"/>
                    <a:pt x="7620677" y="258763"/>
                  </a:cubicBezTo>
                  <a:close/>
                  <a:moveTo>
                    <a:pt x="7534952" y="258763"/>
                  </a:moveTo>
                  <a:cubicBezTo>
                    <a:pt x="7553803" y="258763"/>
                    <a:pt x="7569084" y="274044"/>
                    <a:pt x="7569084" y="292895"/>
                  </a:cubicBezTo>
                  <a:cubicBezTo>
                    <a:pt x="7569084" y="311746"/>
                    <a:pt x="7553803" y="327027"/>
                    <a:pt x="7534952" y="327027"/>
                  </a:cubicBezTo>
                  <a:cubicBezTo>
                    <a:pt x="7516101" y="327027"/>
                    <a:pt x="7500820" y="311746"/>
                    <a:pt x="7500820" y="292895"/>
                  </a:cubicBezTo>
                  <a:cubicBezTo>
                    <a:pt x="7500820" y="274044"/>
                    <a:pt x="7516101" y="258763"/>
                    <a:pt x="7534952" y="258763"/>
                  </a:cubicBezTo>
                  <a:close/>
                  <a:moveTo>
                    <a:pt x="7366677" y="258763"/>
                  </a:moveTo>
                  <a:cubicBezTo>
                    <a:pt x="7387281" y="258763"/>
                    <a:pt x="7403984" y="274044"/>
                    <a:pt x="7403984" y="292895"/>
                  </a:cubicBezTo>
                  <a:cubicBezTo>
                    <a:pt x="7403984" y="311746"/>
                    <a:pt x="7387281" y="327027"/>
                    <a:pt x="7366677" y="327027"/>
                  </a:cubicBezTo>
                  <a:cubicBezTo>
                    <a:pt x="7346073" y="327027"/>
                    <a:pt x="7329370" y="311746"/>
                    <a:pt x="7329370" y="292895"/>
                  </a:cubicBezTo>
                  <a:cubicBezTo>
                    <a:pt x="7329370" y="274044"/>
                    <a:pt x="7346073" y="258763"/>
                    <a:pt x="7366677" y="258763"/>
                  </a:cubicBezTo>
                  <a:close/>
                  <a:moveTo>
                    <a:pt x="7284127" y="258763"/>
                  </a:moveTo>
                  <a:cubicBezTo>
                    <a:pt x="7302978" y="258763"/>
                    <a:pt x="7318259" y="274044"/>
                    <a:pt x="7318259" y="292895"/>
                  </a:cubicBezTo>
                  <a:cubicBezTo>
                    <a:pt x="7318259" y="311746"/>
                    <a:pt x="7302978" y="327027"/>
                    <a:pt x="7284127" y="327027"/>
                  </a:cubicBezTo>
                  <a:cubicBezTo>
                    <a:pt x="7265276" y="327027"/>
                    <a:pt x="7249995" y="311746"/>
                    <a:pt x="7249995" y="292895"/>
                  </a:cubicBezTo>
                  <a:cubicBezTo>
                    <a:pt x="7249995" y="274044"/>
                    <a:pt x="7265276" y="258763"/>
                    <a:pt x="7284127" y="258763"/>
                  </a:cubicBezTo>
                  <a:close/>
                  <a:moveTo>
                    <a:pt x="7198402" y="258763"/>
                  </a:moveTo>
                  <a:cubicBezTo>
                    <a:pt x="7217253" y="258763"/>
                    <a:pt x="7232534" y="274044"/>
                    <a:pt x="7232534" y="292895"/>
                  </a:cubicBezTo>
                  <a:cubicBezTo>
                    <a:pt x="7232534" y="311746"/>
                    <a:pt x="7217253" y="327027"/>
                    <a:pt x="7198402" y="327027"/>
                  </a:cubicBezTo>
                  <a:cubicBezTo>
                    <a:pt x="7179551" y="327027"/>
                    <a:pt x="7164270" y="311746"/>
                    <a:pt x="7164270" y="292895"/>
                  </a:cubicBezTo>
                  <a:cubicBezTo>
                    <a:pt x="7164270" y="274044"/>
                    <a:pt x="7179551" y="258763"/>
                    <a:pt x="7198402" y="258763"/>
                  </a:cubicBezTo>
                  <a:close/>
                  <a:moveTo>
                    <a:pt x="7112677" y="258763"/>
                  </a:moveTo>
                  <a:cubicBezTo>
                    <a:pt x="7131528" y="258763"/>
                    <a:pt x="7146809" y="274044"/>
                    <a:pt x="7146809" y="292895"/>
                  </a:cubicBezTo>
                  <a:cubicBezTo>
                    <a:pt x="7146809" y="311746"/>
                    <a:pt x="7131528" y="327027"/>
                    <a:pt x="7112677" y="327027"/>
                  </a:cubicBezTo>
                  <a:cubicBezTo>
                    <a:pt x="7093826" y="327027"/>
                    <a:pt x="7078545" y="311746"/>
                    <a:pt x="7078545" y="292895"/>
                  </a:cubicBezTo>
                  <a:cubicBezTo>
                    <a:pt x="7078545" y="274044"/>
                    <a:pt x="7093826" y="258763"/>
                    <a:pt x="7112677" y="258763"/>
                  </a:cubicBezTo>
                  <a:close/>
                  <a:moveTo>
                    <a:pt x="7027745" y="258763"/>
                  </a:moveTo>
                  <a:cubicBezTo>
                    <a:pt x="7047034" y="258763"/>
                    <a:pt x="7062670" y="274044"/>
                    <a:pt x="7062670" y="292895"/>
                  </a:cubicBezTo>
                  <a:cubicBezTo>
                    <a:pt x="7062670" y="311746"/>
                    <a:pt x="7047034" y="327027"/>
                    <a:pt x="7027745" y="327027"/>
                  </a:cubicBezTo>
                  <a:cubicBezTo>
                    <a:pt x="7008456" y="327027"/>
                    <a:pt x="6992820" y="311746"/>
                    <a:pt x="6992820" y="292895"/>
                  </a:cubicBezTo>
                  <a:cubicBezTo>
                    <a:pt x="6992820" y="274044"/>
                    <a:pt x="7008456" y="258763"/>
                    <a:pt x="7027745" y="258763"/>
                  </a:cubicBezTo>
                  <a:close/>
                  <a:moveTo>
                    <a:pt x="6353852" y="258763"/>
                  </a:moveTo>
                  <a:cubicBezTo>
                    <a:pt x="6372703" y="258763"/>
                    <a:pt x="6387984" y="274044"/>
                    <a:pt x="6387984" y="292895"/>
                  </a:cubicBezTo>
                  <a:cubicBezTo>
                    <a:pt x="6387984" y="311746"/>
                    <a:pt x="6372703" y="327027"/>
                    <a:pt x="6353852" y="327027"/>
                  </a:cubicBezTo>
                  <a:cubicBezTo>
                    <a:pt x="6335001" y="327027"/>
                    <a:pt x="6319720" y="311746"/>
                    <a:pt x="6319720" y="292895"/>
                  </a:cubicBezTo>
                  <a:cubicBezTo>
                    <a:pt x="6319720" y="274044"/>
                    <a:pt x="6335001" y="258763"/>
                    <a:pt x="6353852" y="258763"/>
                  </a:cubicBezTo>
                  <a:close/>
                  <a:moveTo>
                    <a:pt x="5344202" y="258763"/>
                  </a:moveTo>
                  <a:cubicBezTo>
                    <a:pt x="5363053" y="258763"/>
                    <a:pt x="5378334" y="274044"/>
                    <a:pt x="5378334" y="292895"/>
                  </a:cubicBezTo>
                  <a:cubicBezTo>
                    <a:pt x="5378334" y="311746"/>
                    <a:pt x="5363053" y="327027"/>
                    <a:pt x="5344202" y="327027"/>
                  </a:cubicBezTo>
                  <a:cubicBezTo>
                    <a:pt x="5325351" y="327027"/>
                    <a:pt x="5310070" y="311746"/>
                    <a:pt x="5310070" y="292895"/>
                  </a:cubicBezTo>
                  <a:cubicBezTo>
                    <a:pt x="5310070" y="274044"/>
                    <a:pt x="5325351" y="258763"/>
                    <a:pt x="5344202" y="258763"/>
                  </a:cubicBezTo>
                  <a:close/>
                  <a:moveTo>
                    <a:pt x="4500445" y="258763"/>
                  </a:moveTo>
                  <a:cubicBezTo>
                    <a:pt x="4519734" y="258763"/>
                    <a:pt x="4535370" y="274044"/>
                    <a:pt x="4535370" y="292895"/>
                  </a:cubicBezTo>
                  <a:cubicBezTo>
                    <a:pt x="4535370" y="311746"/>
                    <a:pt x="4519734" y="327027"/>
                    <a:pt x="4500445" y="327027"/>
                  </a:cubicBezTo>
                  <a:cubicBezTo>
                    <a:pt x="4481156" y="327027"/>
                    <a:pt x="4465520" y="311746"/>
                    <a:pt x="4465520" y="292895"/>
                  </a:cubicBezTo>
                  <a:cubicBezTo>
                    <a:pt x="4465520" y="274044"/>
                    <a:pt x="4481156" y="258763"/>
                    <a:pt x="4500445" y="258763"/>
                  </a:cubicBezTo>
                  <a:close/>
                  <a:moveTo>
                    <a:pt x="4415515" y="258763"/>
                  </a:moveTo>
                  <a:cubicBezTo>
                    <a:pt x="4434366" y="258763"/>
                    <a:pt x="4449647" y="274044"/>
                    <a:pt x="4449647" y="292895"/>
                  </a:cubicBezTo>
                  <a:cubicBezTo>
                    <a:pt x="4449647" y="311746"/>
                    <a:pt x="4434366" y="327027"/>
                    <a:pt x="4415515" y="327027"/>
                  </a:cubicBezTo>
                  <a:cubicBezTo>
                    <a:pt x="4396664" y="327027"/>
                    <a:pt x="4381383" y="311746"/>
                    <a:pt x="4381383" y="292895"/>
                  </a:cubicBezTo>
                  <a:cubicBezTo>
                    <a:pt x="4381383" y="274044"/>
                    <a:pt x="4396664" y="258763"/>
                    <a:pt x="4415515" y="258763"/>
                  </a:cubicBezTo>
                  <a:close/>
                  <a:moveTo>
                    <a:pt x="4332171" y="258763"/>
                  </a:moveTo>
                  <a:cubicBezTo>
                    <a:pt x="4352337" y="258763"/>
                    <a:pt x="4368684" y="274044"/>
                    <a:pt x="4368684" y="292895"/>
                  </a:cubicBezTo>
                  <a:cubicBezTo>
                    <a:pt x="4368684" y="311746"/>
                    <a:pt x="4352337" y="327027"/>
                    <a:pt x="4332171" y="327027"/>
                  </a:cubicBezTo>
                  <a:cubicBezTo>
                    <a:pt x="4312005" y="327027"/>
                    <a:pt x="4295658" y="311746"/>
                    <a:pt x="4295658" y="292895"/>
                  </a:cubicBezTo>
                  <a:cubicBezTo>
                    <a:pt x="4295658" y="274044"/>
                    <a:pt x="4312005" y="258763"/>
                    <a:pt x="4332171" y="258763"/>
                  </a:cubicBezTo>
                  <a:close/>
                  <a:moveTo>
                    <a:pt x="4248827" y="258763"/>
                  </a:moveTo>
                  <a:cubicBezTo>
                    <a:pt x="4267678" y="258763"/>
                    <a:pt x="4282959" y="274044"/>
                    <a:pt x="4282959" y="292895"/>
                  </a:cubicBezTo>
                  <a:cubicBezTo>
                    <a:pt x="4282959" y="311746"/>
                    <a:pt x="4267678" y="327027"/>
                    <a:pt x="4248827" y="327027"/>
                  </a:cubicBezTo>
                  <a:cubicBezTo>
                    <a:pt x="4229976" y="327027"/>
                    <a:pt x="4214695" y="311746"/>
                    <a:pt x="4214695" y="292895"/>
                  </a:cubicBezTo>
                  <a:cubicBezTo>
                    <a:pt x="4214695" y="274044"/>
                    <a:pt x="4229976" y="258763"/>
                    <a:pt x="4248827" y="258763"/>
                  </a:cubicBezTo>
                  <a:close/>
                  <a:moveTo>
                    <a:pt x="4163895" y="258763"/>
                  </a:moveTo>
                  <a:cubicBezTo>
                    <a:pt x="4183184" y="258763"/>
                    <a:pt x="4198820" y="274044"/>
                    <a:pt x="4198820" y="292895"/>
                  </a:cubicBezTo>
                  <a:cubicBezTo>
                    <a:pt x="4198820" y="311746"/>
                    <a:pt x="4183184" y="327027"/>
                    <a:pt x="4163895" y="327027"/>
                  </a:cubicBezTo>
                  <a:cubicBezTo>
                    <a:pt x="4144606" y="327027"/>
                    <a:pt x="4128970" y="311746"/>
                    <a:pt x="4128970" y="292895"/>
                  </a:cubicBezTo>
                  <a:cubicBezTo>
                    <a:pt x="4128970" y="274044"/>
                    <a:pt x="4144606" y="258763"/>
                    <a:pt x="4163895" y="258763"/>
                  </a:cubicBezTo>
                  <a:close/>
                  <a:moveTo>
                    <a:pt x="4078170" y="258763"/>
                  </a:moveTo>
                  <a:cubicBezTo>
                    <a:pt x="4097459" y="258763"/>
                    <a:pt x="4113095" y="274044"/>
                    <a:pt x="4113095" y="292895"/>
                  </a:cubicBezTo>
                  <a:cubicBezTo>
                    <a:pt x="4113095" y="311746"/>
                    <a:pt x="4097459" y="327027"/>
                    <a:pt x="4078170" y="327027"/>
                  </a:cubicBezTo>
                  <a:cubicBezTo>
                    <a:pt x="4058881" y="327027"/>
                    <a:pt x="4043245" y="311746"/>
                    <a:pt x="4043245" y="292895"/>
                  </a:cubicBezTo>
                  <a:cubicBezTo>
                    <a:pt x="4043245" y="274044"/>
                    <a:pt x="4058881" y="258763"/>
                    <a:pt x="4078170" y="258763"/>
                  </a:cubicBezTo>
                  <a:close/>
                  <a:moveTo>
                    <a:pt x="3993240" y="258763"/>
                  </a:moveTo>
                  <a:cubicBezTo>
                    <a:pt x="4012091" y="258763"/>
                    <a:pt x="4027372" y="274044"/>
                    <a:pt x="4027372" y="292895"/>
                  </a:cubicBezTo>
                  <a:cubicBezTo>
                    <a:pt x="4027372" y="311746"/>
                    <a:pt x="4012091" y="327027"/>
                    <a:pt x="3993240" y="327027"/>
                  </a:cubicBezTo>
                  <a:cubicBezTo>
                    <a:pt x="3974389" y="327027"/>
                    <a:pt x="3959108" y="311746"/>
                    <a:pt x="3959108" y="292895"/>
                  </a:cubicBezTo>
                  <a:cubicBezTo>
                    <a:pt x="3959108" y="274044"/>
                    <a:pt x="3974389" y="258763"/>
                    <a:pt x="3993240" y="258763"/>
                  </a:cubicBezTo>
                  <a:close/>
                  <a:moveTo>
                    <a:pt x="3912277" y="258763"/>
                  </a:moveTo>
                  <a:cubicBezTo>
                    <a:pt x="3931128" y="258763"/>
                    <a:pt x="3946409" y="274044"/>
                    <a:pt x="3946409" y="292895"/>
                  </a:cubicBezTo>
                  <a:cubicBezTo>
                    <a:pt x="3946409" y="311746"/>
                    <a:pt x="3931128" y="327027"/>
                    <a:pt x="3912277" y="327027"/>
                  </a:cubicBezTo>
                  <a:cubicBezTo>
                    <a:pt x="3893426" y="327027"/>
                    <a:pt x="3878145" y="311746"/>
                    <a:pt x="3878145" y="292895"/>
                  </a:cubicBezTo>
                  <a:cubicBezTo>
                    <a:pt x="3878145" y="274044"/>
                    <a:pt x="3893426" y="258763"/>
                    <a:pt x="3912277" y="258763"/>
                  </a:cubicBezTo>
                  <a:close/>
                  <a:moveTo>
                    <a:pt x="3826552" y="258763"/>
                  </a:moveTo>
                  <a:cubicBezTo>
                    <a:pt x="3845403" y="258763"/>
                    <a:pt x="3860684" y="274044"/>
                    <a:pt x="3860684" y="292895"/>
                  </a:cubicBezTo>
                  <a:cubicBezTo>
                    <a:pt x="3860684" y="311746"/>
                    <a:pt x="3845403" y="327027"/>
                    <a:pt x="3826552" y="327027"/>
                  </a:cubicBezTo>
                  <a:cubicBezTo>
                    <a:pt x="3807701" y="327027"/>
                    <a:pt x="3792420" y="311746"/>
                    <a:pt x="3792420" y="292895"/>
                  </a:cubicBezTo>
                  <a:cubicBezTo>
                    <a:pt x="3792420" y="274044"/>
                    <a:pt x="3807701" y="258763"/>
                    <a:pt x="3826552" y="258763"/>
                  </a:cubicBezTo>
                  <a:close/>
                  <a:moveTo>
                    <a:pt x="3741620" y="258763"/>
                  </a:moveTo>
                  <a:cubicBezTo>
                    <a:pt x="3760909" y="258763"/>
                    <a:pt x="3776545" y="274044"/>
                    <a:pt x="3776545" y="292895"/>
                  </a:cubicBezTo>
                  <a:cubicBezTo>
                    <a:pt x="3776545" y="311746"/>
                    <a:pt x="3760909" y="327027"/>
                    <a:pt x="3741620" y="327027"/>
                  </a:cubicBezTo>
                  <a:cubicBezTo>
                    <a:pt x="3722331" y="327027"/>
                    <a:pt x="3706695" y="311746"/>
                    <a:pt x="3706695" y="292895"/>
                  </a:cubicBezTo>
                  <a:cubicBezTo>
                    <a:pt x="3706695" y="274044"/>
                    <a:pt x="3722331" y="258763"/>
                    <a:pt x="3741620" y="258763"/>
                  </a:cubicBezTo>
                  <a:close/>
                  <a:moveTo>
                    <a:pt x="3153452" y="258763"/>
                  </a:moveTo>
                  <a:cubicBezTo>
                    <a:pt x="3172303" y="258763"/>
                    <a:pt x="3187584" y="274044"/>
                    <a:pt x="3187584" y="292895"/>
                  </a:cubicBezTo>
                  <a:cubicBezTo>
                    <a:pt x="3187584" y="311746"/>
                    <a:pt x="3172303" y="327027"/>
                    <a:pt x="3153452" y="327027"/>
                  </a:cubicBezTo>
                  <a:cubicBezTo>
                    <a:pt x="3134601" y="327027"/>
                    <a:pt x="3119320" y="311746"/>
                    <a:pt x="3119320" y="292895"/>
                  </a:cubicBezTo>
                  <a:cubicBezTo>
                    <a:pt x="3119320" y="274044"/>
                    <a:pt x="3134601" y="258763"/>
                    <a:pt x="3153452" y="258763"/>
                  </a:cubicBezTo>
                  <a:close/>
                  <a:moveTo>
                    <a:pt x="2897865" y="258763"/>
                  </a:moveTo>
                  <a:cubicBezTo>
                    <a:pt x="2916716" y="258763"/>
                    <a:pt x="2931997" y="274044"/>
                    <a:pt x="2931997" y="292895"/>
                  </a:cubicBezTo>
                  <a:cubicBezTo>
                    <a:pt x="2931997" y="311746"/>
                    <a:pt x="2916716" y="327027"/>
                    <a:pt x="2897865" y="327027"/>
                  </a:cubicBezTo>
                  <a:cubicBezTo>
                    <a:pt x="2879014" y="327027"/>
                    <a:pt x="2863733" y="311746"/>
                    <a:pt x="2863733" y="292895"/>
                  </a:cubicBezTo>
                  <a:cubicBezTo>
                    <a:pt x="2863733" y="274044"/>
                    <a:pt x="2879014" y="258763"/>
                    <a:pt x="2897865" y="258763"/>
                  </a:cubicBezTo>
                  <a:close/>
                  <a:moveTo>
                    <a:pt x="2731999" y="258763"/>
                  </a:moveTo>
                  <a:cubicBezTo>
                    <a:pt x="2751288" y="258763"/>
                    <a:pt x="2766923" y="274044"/>
                    <a:pt x="2766923" y="292895"/>
                  </a:cubicBezTo>
                  <a:cubicBezTo>
                    <a:pt x="2766923" y="311746"/>
                    <a:pt x="2751288" y="327027"/>
                    <a:pt x="2731999" y="327027"/>
                  </a:cubicBezTo>
                  <a:cubicBezTo>
                    <a:pt x="2712710" y="327027"/>
                    <a:pt x="2697074" y="311746"/>
                    <a:pt x="2697074" y="292895"/>
                  </a:cubicBezTo>
                  <a:cubicBezTo>
                    <a:pt x="2697074" y="274044"/>
                    <a:pt x="2712710" y="258763"/>
                    <a:pt x="2731999" y="258763"/>
                  </a:cubicBezTo>
                  <a:close/>
                  <a:moveTo>
                    <a:pt x="2561479" y="258763"/>
                  </a:moveTo>
                  <a:cubicBezTo>
                    <a:pt x="2580330" y="258763"/>
                    <a:pt x="2595609" y="274044"/>
                    <a:pt x="2595609" y="292895"/>
                  </a:cubicBezTo>
                  <a:cubicBezTo>
                    <a:pt x="2595609" y="311746"/>
                    <a:pt x="2580330" y="327027"/>
                    <a:pt x="2561479" y="327027"/>
                  </a:cubicBezTo>
                  <a:cubicBezTo>
                    <a:pt x="2542628" y="327027"/>
                    <a:pt x="2527342" y="311746"/>
                    <a:pt x="2527342" y="292895"/>
                  </a:cubicBezTo>
                  <a:cubicBezTo>
                    <a:pt x="2527342" y="274044"/>
                    <a:pt x="2542628" y="258763"/>
                    <a:pt x="2561479" y="258763"/>
                  </a:cubicBezTo>
                  <a:close/>
                  <a:moveTo>
                    <a:pt x="2309735" y="258763"/>
                  </a:moveTo>
                  <a:cubicBezTo>
                    <a:pt x="2329023" y="258763"/>
                    <a:pt x="2344661" y="274044"/>
                    <a:pt x="2344661" y="292895"/>
                  </a:cubicBezTo>
                  <a:cubicBezTo>
                    <a:pt x="2344661" y="311746"/>
                    <a:pt x="2329023" y="327027"/>
                    <a:pt x="2309735" y="327027"/>
                  </a:cubicBezTo>
                  <a:cubicBezTo>
                    <a:pt x="2290446" y="327027"/>
                    <a:pt x="2274810" y="311746"/>
                    <a:pt x="2274810" y="292895"/>
                  </a:cubicBezTo>
                  <a:cubicBezTo>
                    <a:pt x="2274810" y="274044"/>
                    <a:pt x="2290446" y="258763"/>
                    <a:pt x="2309735" y="258763"/>
                  </a:cubicBezTo>
                  <a:close/>
                  <a:moveTo>
                    <a:pt x="2224806" y="258763"/>
                  </a:moveTo>
                  <a:cubicBezTo>
                    <a:pt x="2243656" y="258763"/>
                    <a:pt x="2258937" y="274044"/>
                    <a:pt x="2258937" y="292895"/>
                  </a:cubicBezTo>
                  <a:cubicBezTo>
                    <a:pt x="2258937" y="311746"/>
                    <a:pt x="2243656" y="327027"/>
                    <a:pt x="2224806" y="327027"/>
                  </a:cubicBezTo>
                  <a:cubicBezTo>
                    <a:pt x="2205955" y="327027"/>
                    <a:pt x="2190673" y="311746"/>
                    <a:pt x="2190673" y="292895"/>
                  </a:cubicBezTo>
                  <a:cubicBezTo>
                    <a:pt x="2190673" y="274044"/>
                    <a:pt x="2205955" y="258763"/>
                    <a:pt x="2224806" y="258763"/>
                  </a:cubicBezTo>
                  <a:close/>
                  <a:moveTo>
                    <a:pt x="2055738" y="258763"/>
                  </a:moveTo>
                  <a:cubicBezTo>
                    <a:pt x="2075905" y="258763"/>
                    <a:pt x="2092252" y="274044"/>
                    <a:pt x="2092252" y="292895"/>
                  </a:cubicBezTo>
                  <a:cubicBezTo>
                    <a:pt x="2092252" y="311746"/>
                    <a:pt x="2075905" y="327027"/>
                    <a:pt x="2055738" y="327027"/>
                  </a:cubicBezTo>
                  <a:cubicBezTo>
                    <a:pt x="2035573" y="327027"/>
                    <a:pt x="2019226" y="311746"/>
                    <a:pt x="2019226" y="292895"/>
                  </a:cubicBezTo>
                  <a:cubicBezTo>
                    <a:pt x="2019226" y="274044"/>
                    <a:pt x="2035573" y="258763"/>
                    <a:pt x="2055738" y="258763"/>
                  </a:cubicBezTo>
                  <a:close/>
                  <a:moveTo>
                    <a:pt x="7198402" y="173038"/>
                  </a:moveTo>
                  <a:cubicBezTo>
                    <a:pt x="7217253" y="173038"/>
                    <a:pt x="7232534" y="188319"/>
                    <a:pt x="7232534" y="207170"/>
                  </a:cubicBezTo>
                  <a:cubicBezTo>
                    <a:pt x="7232534" y="226021"/>
                    <a:pt x="7217253" y="241302"/>
                    <a:pt x="7198402" y="241302"/>
                  </a:cubicBezTo>
                  <a:cubicBezTo>
                    <a:pt x="7179551" y="241302"/>
                    <a:pt x="7164270" y="226021"/>
                    <a:pt x="7164270" y="207170"/>
                  </a:cubicBezTo>
                  <a:cubicBezTo>
                    <a:pt x="7164270" y="188319"/>
                    <a:pt x="7179551" y="173038"/>
                    <a:pt x="7198402" y="173038"/>
                  </a:cubicBezTo>
                  <a:close/>
                  <a:moveTo>
                    <a:pt x="7112677" y="173038"/>
                  </a:moveTo>
                  <a:cubicBezTo>
                    <a:pt x="7131528" y="173038"/>
                    <a:pt x="7146809" y="188319"/>
                    <a:pt x="7146809" y="207170"/>
                  </a:cubicBezTo>
                  <a:cubicBezTo>
                    <a:pt x="7146809" y="226021"/>
                    <a:pt x="7131528" y="241302"/>
                    <a:pt x="7112677" y="241302"/>
                  </a:cubicBezTo>
                  <a:cubicBezTo>
                    <a:pt x="7093826" y="241302"/>
                    <a:pt x="7078545" y="226021"/>
                    <a:pt x="7078545" y="207170"/>
                  </a:cubicBezTo>
                  <a:cubicBezTo>
                    <a:pt x="7078545" y="188319"/>
                    <a:pt x="7093826" y="173038"/>
                    <a:pt x="7112677" y="173038"/>
                  </a:cubicBezTo>
                  <a:close/>
                  <a:moveTo>
                    <a:pt x="7027745" y="173038"/>
                  </a:moveTo>
                  <a:cubicBezTo>
                    <a:pt x="7047034" y="173038"/>
                    <a:pt x="7062670" y="188319"/>
                    <a:pt x="7062670" y="207170"/>
                  </a:cubicBezTo>
                  <a:cubicBezTo>
                    <a:pt x="7062670" y="226021"/>
                    <a:pt x="7047034" y="241302"/>
                    <a:pt x="7027745" y="241302"/>
                  </a:cubicBezTo>
                  <a:cubicBezTo>
                    <a:pt x="7008456" y="241302"/>
                    <a:pt x="6992820" y="226021"/>
                    <a:pt x="6992820" y="207170"/>
                  </a:cubicBezTo>
                  <a:cubicBezTo>
                    <a:pt x="6992820" y="188319"/>
                    <a:pt x="7008456" y="173038"/>
                    <a:pt x="7027745" y="173038"/>
                  </a:cubicBezTo>
                  <a:close/>
                  <a:moveTo>
                    <a:pt x="6439577" y="173038"/>
                  </a:moveTo>
                  <a:cubicBezTo>
                    <a:pt x="6458428" y="173038"/>
                    <a:pt x="6473709" y="188319"/>
                    <a:pt x="6473709" y="207170"/>
                  </a:cubicBezTo>
                  <a:cubicBezTo>
                    <a:pt x="6473709" y="226021"/>
                    <a:pt x="6458428" y="241302"/>
                    <a:pt x="6439577" y="241302"/>
                  </a:cubicBezTo>
                  <a:cubicBezTo>
                    <a:pt x="6420726" y="241302"/>
                    <a:pt x="6405445" y="226021"/>
                    <a:pt x="6405445" y="207170"/>
                  </a:cubicBezTo>
                  <a:cubicBezTo>
                    <a:pt x="6405445" y="188319"/>
                    <a:pt x="6420726" y="173038"/>
                    <a:pt x="6439577" y="173038"/>
                  </a:cubicBezTo>
                  <a:close/>
                  <a:moveTo>
                    <a:pt x="5429927" y="173038"/>
                  </a:moveTo>
                  <a:cubicBezTo>
                    <a:pt x="5448778" y="173038"/>
                    <a:pt x="5464059" y="188319"/>
                    <a:pt x="5464059" y="207170"/>
                  </a:cubicBezTo>
                  <a:cubicBezTo>
                    <a:pt x="5464059" y="226021"/>
                    <a:pt x="5448778" y="241302"/>
                    <a:pt x="5429927" y="241302"/>
                  </a:cubicBezTo>
                  <a:cubicBezTo>
                    <a:pt x="5411076" y="241302"/>
                    <a:pt x="5395795" y="226021"/>
                    <a:pt x="5395795" y="207170"/>
                  </a:cubicBezTo>
                  <a:cubicBezTo>
                    <a:pt x="5395795" y="188319"/>
                    <a:pt x="5411076" y="173038"/>
                    <a:pt x="5429927" y="173038"/>
                  </a:cubicBezTo>
                  <a:close/>
                  <a:moveTo>
                    <a:pt x="5344202" y="173038"/>
                  </a:moveTo>
                  <a:cubicBezTo>
                    <a:pt x="5363053" y="173038"/>
                    <a:pt x="5378334" y="188319"/>
                    <a:pt x="5378334" y="207170"/>
                  </a:cubicBezTo>
                  <a:cubicBezTo>
                    <a:pt x="5378334" y="226021"/>
                    <a:pt x="5363053" y="241302"/>
                    <a:pt x="5344202" y="241302"/>
                  </a:cubicBezTo>
                  <a:cubicBezTo>
                    <a:pt x="5325351" y="241302"/>
                    <a:pt x="5310070" y="226021"/>
                    <a:pt x="5310070" y="207170"/>
                  </a:cubicBezTo>
                  <a:cubicBezTo>
                    <a:pt x="5310070" y="188319"/>
                    <a:pt x="5325351" y="173038"/>
                    <a:pt x="5344202" y="173038"/>
                  </a:cubicBezTo>
                  <a:close/>
                  <a:moveTo>
                    <a:pt x="4500445" y="173038"/>
                  </a:moveTo>
                  <a:cubicBezTo>
                    <a:pt x="4519734" y="173038"/>
                    <a:pt x="4535370" y="188319"/>
                    <a:pt x="4535370" y="207170"/>
                  </a:cubicBezTo>
                  <a:cubicBezTo>
                    <a:pt x="4535370" y="226021"/>
                    <a:pt x="4519734" y="241302"/>
                    <a:pt x="4500445" y="241302"/>
                  </a:cubicBezTo>
                  <a:cubicBezTo>
                    <a:pt x="4481156" y="241302"/>
                    <a:pt x="4465520" y="226021"/>
                    <a:pt x="4465520" y="207170"/>
                  </a:cubicBezTo>
                  <a:cubicBezTo>
                    <a:pt x="4465520" y="188319"/>
                    <a:pt x="4481156" y="173038"/>
                    <a:pt x="4500445" y="173038"/>
                  </a:cubicBezTo>
                  <a:close/>
                  <a:moveTo>
                    <a:pt x="4415515" y="173038"/>
                  </a:moveTo>
                  <a:cubicBezTo>
                    <a:pt x="4434366" y="173038"/>
                    <a:pt x="4449647" y="188319"/>
                    <a:pt x="4449647" y="207170"/>
                  </a:cubicBezTo>
                  <a:cubicBezTo>
                    <a:pt x="4449647" y="226021"/>
                    <a:pt x="4434366" y="241302"/>
                    <a:pt x="4415515" y="241302"/>
                  </a:cubicBezTo>
                  <a:cubicBezTo>
                    <a:pt x="4396664" y="241302"/>
                    <a:pt x="4381383" y="226021"/>
                    <a:pt x="4381383" y="207170"/>
                  </a:cubicBezTo>
                  <a:cubicBezTo>
                    <a:pt x="4381383" y="188319"/>
                    <a:pt x="4396664" y="173038"/>
                    <a:pt x="4415515" y="173038"/>
                  </a:cubicBezTo>
                  <a:close/>
                  <a:moveTo>
                    <a:pt x="4332171" y="173038"/>
                  </a:moveTo>
                  <a:cubicBezTo>
                    <a:pt x="4352337" y="173038"/>
                    <a:pt x="4368684" y="188319"/>
                    <a:pt x="4368684" y="207170"/>
                  </a:cubicBezTo>
                  <a:cubicBezTo>
                    <a:pt x="4368684" y="226021"/>
                    <a:pt x="4352337" y="241302"/>
                    <a:pt x="4332171" y="241302"/>
                  </a:cubicBezTo>
                  <a:cubicBezTo>
                    <a:pt x="4312005" y="241302"/>
                    <a:pt x="4295658" y="226021"/>
                    <a:pt x="4295658" y="207170"/>
                  </a:cubicBezTo>
                  <a:cubicBezTo>
                    <a:pt x="4295658" y="188319"/>
                    <a:pt x="4312005" y="173038"/>
                    <a:pt x="4332171" y="173038"/>
                  </a:cubicBezTo>
                  <a:close/>
                  <a:moveTo>
                    <a:pt x="4248827" y="173038"/>
                  </a:moveTo>
                  <a:cubicBezTo>
                    <a:pt x="4267678" y="173038"/>
                    <a:pt x="4282959" y="188319"/>
                    <a:pt x="4282959" y="207170"/>
                  </a:cubicBezTo>
                  <a:cubicBezTo>
                    <a:pt x="4282959" y="226021"/>
                    <a:pt x="4267678" y="241302"/>
                    <a:pt x="4248827" y="241302"/>
                  </a:cubicBezTo>
                  <a:cubicBezTo>
                    <a:pt x="4229976" y="241302"/>
                    <a:pt x="4214695" y="226021"/>
                    <a:pt x="4214695" y="207170"/>
                  </a:cubicBezTo>
                  <a:cubicBezTo>
                    <a:pt x="4214695" y="188319"/>
                    <a:pt x="4229976" y="173038"/>
                    <a:pt x="4248827" y="173038"/>
                  </a:cubicBezTo>
                  <a:close/>
                  <a:moveTo>
                    <a:pt x="4163895" y="173038"/>
                  </a:moveTo>
                  <a:cubicBezTo>
                    <a:pt x="4183184" y="173038"/>
                    <a:pt x="4198820" y="188319"/>
                    <a:pt x="4198820" y="207170"/>
                  </a:cubicBezTo>
                  <a:cubicBezTo>
                    <a:pt x="4198820" y="226021"/>
                    <a:pt x="4183184" y="241302"/>
                    <a:pt x="4163895" y="241302"/>
                  </a:cubicBezTo>
                  <a:cubicBezTo>
                    <a:pt x="4144606" y="241302"/>
                    <a:pt x="4128970" y="226021"/>
                    <a:pt x="4128970" y="207170"/>
                  </a:cubicBezTo>
                  <a:cubicBezTo>
                    <a:pt x="4128970" y="188319"/>
                    <a:pt x="4144606" y="173038"/>
                    <a:pt x="4163895" y="173038"/>
                  </a:cubicBezTo>
                  <a:close/>
                  <a:moveTo>
                    <a:pt x="4078170" y="173038"/>
                  </a:moveTo>
                  <a:cubicBezTo>
                    <a:pt x="4097459" y="173038"/>
                    <a:pt x="4113095" y="188319"/>
                    <a:pt x="4113095" y="207170"/>
                  </a:cubicBezTo>
                  <a:cubicBezTo>
                    <a:pt x="4113095" y="226021"/>
                    <a:pt x="4097459" y="241302"/>
                    <a:pt x="4078170" y="241302"/>
                  </a:cubicBezTo>
                  <a:cubicBezTo>
                    <a:pt x="4058881" y="241302"/>
                    <a:pt x="4043245" y="226021"/>
                    <a:pt x="4043245" y="207170"/>
                  </a:cubicBezTo>
                  <a:cubicBezTo>
                    <a:pt x="4043245" y="188319"/>
                    <a:pt x="4058881" y="173038"/>
                    <a:pt x="4078170" y="173038"/>
                  </a:cubicBezTo>
                  <a:close/>
                  <a:moveTo>
                    <a:pt x="3993240" y="173038"/>
                  </a:moveTo>
                  <a:cubicBezTo>
                    <a:pt x="4012091" y="173038"/>
                    <a:pt x="4027372" y="188319"/>
                    <a:pt x="4027372" y="207170"/>
                  </a:cubicBezTo>
                  <a:cubicBezTo>
                    <a:pt x="4027372" y="226021"/>
                    <a:pt x="4012091" y="241302"/>
                    <a:pt x="3993240" y="241302"/>
                  </a:cubicBezTo>
                  <a:cubicBezTo>
                    <a:pt x="3974389" y="241302"/>
                    <a:pt x="3959108" y="226021"/>
                    <a:pt x="3959108" y="207170"/>
                  </a:cubicBezTo>
                  <a:cubicBezTo>
                    <a:pt x="3959108" y="188319"/>
                    <a:pt x="3974389" y="173038"/>
                    <a:pt x="3993240" y="173038"/>
                  </a:cubicBezTo>
                  <a:close/>
                  <a:moveTo>
                    <a:pt x="3912277" y="173038"/>
                  </a:moveTo>
                  <a:cubicBezTo>
                    <a:pt x="3931128" y="173038"/>
                    <a:pt x="3946409" y="188319"/>
                    <a:pt x="3946409" y="207170"/>
                  </a:cubicBezTo>
                  <a:cubicBezTo>
                    <a:pt x="3946409" y="226021"/>
                    <a:pt x="3931128" y="241302"/>
                    <a:pt x="3912277" y="241302"/>
                  </a:cubicBezTo>
                  <a:cubicBezTo>
                    <a:pt x="3893426" y="241302"/>
                    <a:pt x="3878145" y="226021"/>
                    <a:pt x="3878145" y="207170"/>
                  </a:cubicBezTo>
                  <a:cubicBezTo>
                    <a:pt x="3878145" y="188319"/>
                    <a:pt x="3893426" y="173038"/>
                    <a:pt x="3912277" y="173038"/>
                  </a:cubicBezTo>
                  <a:close/>
                  <a:moveTo>
                    <a:pt x="3826552" y="173038"/>
                  </a:moveTo>
                  <a:cubicBezTo>
                    <a:pt x="3845403" y="173038"/>
                    <a:pt x="3860684" y="188319"/>
                    <a:pt x="3860684" y="207170"/>
                  </a:cubicBezTo>
                  <a:cubicBezTo>
                    <a:pt x="3860684" y="226021"/>
                    <a:pt x="3845403" y="241302"/>
                    <a:pt x="3826552" y="241302"/>
                  </a:cubicBezTo>
                  <a:cubicBezTo>
                    <a:pt x="3807701" y="241302"/>
                    <a:pt x="3792420" y="226021"/>
                    <a:pt x="3792420" y="207170"/>
                  </a:cubicBezTo>
                  <a:cubicBezTo>
                    <a:pt x="3792420" y="188319"/>
                    <a:pt x="3807701" y="173038"/>
                    <a:pt x="3826552" y="173038"/>
                  </a:cubicBezTo>
                  <a:close/>
                  <a:moveTo>
                    <a:pt x="3741620" y="173038"/>
                  </a:moveTo>
                  <a:cubicBezTo>
                    <a:pt x="3760909" y="173038"/>
                    <a:pt x="3776545" y="188319"/>
                    <a:pt x="3776545" y="207170"/>
                  </a:cubicBezTo>
                  <a:cubicBezTo>
                    <a:pt x="3776545" y="226021"/>
                    <a:pt x="3760909" y="241302"/>
                    <a:pt x="3741620" y="241302"/>
                  </a:cubicBezTo>
                  <a:cubicBezTo>
                    <a:pt x="3722331" y="241302"/>
                    <a:pt x="3706695" y="226021"/>
                    <a:pt x="3706695" y="207170"/>
                  </a:cubicBezTo>
                  <a:cubicBezTo>
                    <a:pt x="3706695" y="188319"/>
                    <a:pt x="3722331" y="173038"/>
                    <a:pt x="3741620" y="173038"/>
                  </a:cubicBezTo>
                  <a:close/>
                  <a:moveTo>
                    <a:pt x="3656689" y="173038"/>
                  </a:moveTo>
                  <a:cubicBezTo>
                    <a:pt x="3675540" y="173038"/>
                    <a:pt x="3690821" y="188319"/>
                    <a:pt x="3690821" y="207170"/>
                  </a:cubicBezTo>
                  <a:cubicBezTo>
                    <a:pt x="3690821" y="226021"/>
                    <a:pt x="3675540" y="241302"/>
                    <a:pt x="3656689" y="241302"/>
                  </a:cubicBezTo>
                  <a:cubicBezTo>
                    <a:pt x="3637838" y="241302"/>
                    <a:pt x="3622557" y="226021"/>
                    <a:pt x="3622557" y="207170"/>
                  </a:cubicBezTo>
                  <a:cubicBezTo>
                    <a:pt x="3622557" y="188319"/>
                    <a:pt x="3637838" y="173038"/>
                    <a:pt x="3656689" y="173038"/>
                  </a:cubicBezTo>
                  <a:close/>
                  <a:moveTo>
                    <a:pt x="3573346" y="173038"/>
                  </a:moveTo>
                  <a:cubicBezTo>
                    <a:pt x="3593512" y="173038"/>
                    <a:pt x="3609859" y="188319"/>
                    <a:pt x="3609859" y="207170"/>
                  </a:cubicBezTo>
                  <a:cubicBezTo>
                    <a:pt x="3609859" y="226021"/>
                    <a:pt x="3593512" y="241302"/>
                    <a:pt x="3573346" y="241302"/>
                  </a:cubicBezTo>
                  <a:cubicBezTo>
                    <a:pt x="3553180" y="241302"/>
                    <a:pt x="3536833" y="226021"/>
                    <a:pt x="3536833" y="207170"/>
                  </a:cubicBezTo>
                  <a:cubicBezTo>
                    <a:pt x="3536833" y="188319"/>
                    <a:pt x="3553180" y="173038"/>
                    <a:pt x="3573346" y="173038"/>
                  </a:cubicBezTo>
                  <a:close/>
                  <a:moveTo>
                    <a:pt x="3490002" y="173038"/>
                  </a:moveTo>
                  <a:cubicBezTo>
                    <a:pt x="3508853" y="173038"/>
                    <a:pt x="3524134" y="188319"/>
                    <a:pt x="3524134" y="207170"/>
                  </a:cubicBezTo>
                  <a:cubicBezTo>
                    <a:pt x="3524134" y="226021"/>
                    <a:pt x="3508853" y="241302"/>
                    <a:pt x="3490002" y="241302"/>
                  </a:cubicBezTo>
                  <a:cubicBezTo>
                    <a:pt x="3471151" y="241302"/>
                    <a:pt x="3455870" y="226021"/>
                    <a:pt x="3455870" y="207170"/>
                  </a:cubicBezTo>
                  <a:cubicBezTo>
                    <a:pt x="3455870" y="188319"/>
                    <a:pt x="3471151" y="173038"/>
                    <a:pt x="3490002" y="173038"/>
                  </a:cubicBezTo>
                  <a:close/>
                  <a:moveTo>
                    <a:pt x="3153452" y="173038"/>
                  </a:moveTo>
                  <a:cubicBezTo>
                    <a:pt x="3172303" y="173038"/>
                    <a:pt x="3187584" y="188319"/>
                    <a:pt x="3187584" y="207170"/>
                  </a:cubicBezTo>
                  <a:cubicBezTo>
                    <a:pt x="3187584" y="226021"/>
                    <a:pt x="3172303" y="241302"/>
                    <a:pt x="3153452" y="241302"/>
                  </a:cubicBezTo>
                  <a:cubicBezTo>
                    <a:pt x="3134601" y="241302"/>
                    <a:pt x="3119320" y="226021"/>
                    <a:pt x="3119320" y="207170"/>
                  </a:cubicBezTo>
                  <a:cubicBezTo>
                    <a:pt x="3119320" y="188319"/>
                    <a:pt x="3134601" y="173038"/>
                    <a:pt x="3153452" y="173038"/>
                  </a:cubicBezTo>
                  <a:close/>
                  <a:moveTo>
                    <a:pt x="3068520" y="173038"/>
                  </a:moveTo>
                  <a:cubicBezTo>
                    <a:pt x="3087809" y="173038"/>
                    <a:pt x="3103445" y="188319"/>
                    <a:pt x="3103445" y="207170"/>
                  </a:cubicBezTo>
                  <a:cubicBezTo>
                    <a:pt x="3103445" y="226021"/>
                    <a:pt x="3087809" y="241302"/>
                    <a:pt x="3068520" y="241302"/>
                  </a:cubicBezTo>
                  <a:cubicBezTo>
                    <a:pt x="3049231" y="241302"/>
                    <a:pt x="3033595" y="226021"/>
                    <a:pt x="3033595" y="207170"/>
                  </a:cubicBezTo>
                  <a:cubicBezTo>
                    <a:pt x="3033595" y="188319"/>
                    <a:pt x="3049231" y="173038"/>
                    <a:pt x="3068520" y="173038"/>
                  </a:cubicBezTo>
                  <a:close/>
                  <a:moveTo>
                    <a:pt x="2983590" y="173038"/>
                  </a:moveTo>
                  <a:cubicBezTo>
                    <a:pt x="3002441" y="173038"/>
                    <a:pt x="3017722" y="188319"/>
                    <a:pt x="3017722" y="207170"/>
                  </a:cubicBezTo>
                  <a:cubicBezTo>
                    <a:pt x="3017722" y="226021"/>
                    <a:pt x="3002441" y="241302"/>
                    <a:pt x="2983590" y="241302"/>
                  </a:cubicBezTo>
                  <a:cubicBezTo>
                    <a:pt x="2964739" y="241302"/>
                    <a:pt x="2949458" y="226021"/>
                    <a:pt x="2949458" y="207170"/>
                  </a:cubicBezTo>
                  <a:cubicBezTo>
                    <a:pt x="2949458" y="188319"/>
                    <a:pt x="2964739" y="173038"/>
                    <a:pt x="2983590" y="173038"/>
                  </a:cubicBezTo>
                  <a:close/>
                  <a:moveTo>
                    <a:pt x="2309735" y="173038"/>
                  </a:moveTo>
                  <a:cubicBezTo>
                    <a:pt x="2329023" y="173038"/>
                    <a:pt x="2344662" y="188319"/>
                    <a:pt x="2344662" y="207170"/>
                  </a:cubicBezTo>
                  <a:cubicBezTo>
                    <a:pt x="2344662" y="226021"/>
                    <a:pt x="2329023" y="241302"/>
                    <a:pt x="2309735" y="241302"/>
                  </a:cubicBezTo>
                  <a:cubicBezTo>
                    <a:pt x="2290446" y="241302"/>
                    <a:pt x="2274810" y="226021"/>
                    <a:pt x="2274810" y="207170"/>
                  </a:cubicBezTo>
                  <a:cubicBezTo>
                    <a:pt x="2274810" y="188319"/>
                    <a:pt x="2290446" y="173038"/>
                    <a:pt x="2309735" y="173038"/>
                  </a:cubicBezTo>
                  <a:close/>
                  <a:moveTo>
                    <a:pt x="2224806" y="173038"/>
                  </a:moveTo>
                  <a:cubicBezTo>
                    <a:pt x="2243656" y="173038"/>
                    <a:pt x="2258937" y="188319"/>
                    <a:pt x="2258937" y="207170"/>
                  </a:cubicBezTo>
                  <a:cubicBezTo>
                    <a:pt x="2258937" y="226021"/>
                    <a:pt x="2243656" y="241302"/>
                    <a:pt x="2224806" y="241302"/>
                  </a:cubicBezTo>
                  <a:cubicBezTo>
                    <a:pt x="2205954" y="241302"/>
                    <a:pt x="2190673" y="226021"/>
                    <a:pt x="2190673" y="207170"/>
                  </a:cubicBezTo>
                  <a:cubicBezTo>
                    <a:pt x="2190673" y="188319"/>
                    <a:pt x="2205954" y="173038"/>
                    <a:pt x="2224806" y="173038"/>
                  </a:cubicBezTo>
                  <a:close/>
                  <a:moveTo>
                    <a:pt x="5344202" y="87313"/>
                  </a:moveTo>
                  <a:cubicBezTo>
                    <a:pt x="5363053" y="87313"/>
                    <a:pt x="5378334" y="102594"/>
                    <a:pt x="5378334" y="121445"/>
                  </a:cubicBezTo>
                  <a:cubicBezTo>
                    <a:pt x="5378334" y="140296"/>
                    <a:pt x="5363053" y="155577"/>
                    <a:pt x="5344202" y="155577"/>
                  </a:cubicBezTo>
                  <a:cubicBezTo>
                    <a:pt x="5325351" y="155577"/>
                    <a:pt x="5310070" y="140296"/>
                    <a:pt x="5310070" y="121445"/>
                  </a:cubicBezTo>
                  <a:cubicBezTo>
                    <a:pt x="5310070" y="102594"/>
                    <a:pt x="5325351" y="87313"/>
                    <a:pt x="5344202" y="87313"/>
                  </a:cubicBezTo>
                  <a:close/>
                  <a:moveTo>
                    <a:pt x="5258477" y="87313"/>
                  </a:moveTo>
                  <a:cubicBezTo>
                    <a:pt x="5277328" y="87313"/>
                    <a:pt x="5292609" y="102594"/>
                    <a:pt x="5292609" y="121445"/>
                  </a:cubicBezTo>
                  <a:cubicBezTo>
                    <a:pt x="5292609" y="140296"/>
                    <a:pt x="5277328" y="155577"/>
                    <a:pt x="5258477" y="155577"/>
                  </a:cubicBezTo>
                  <a:cubicBezTo>
                    <a:pt x="5239626" y="155577"/>
                    <a:pt x="5224345" y="140296"/>
                    <a:pt x="5224345" y="121445"/>
                  </a:cubicBezTo>
                  <a:cubicBezTo>
                    <a:pt x="5224345" y="102594"/>
                    <a:pt x="5239626" y="87313"/>
                    <a:pt x="5258477" y="87313"/>
                  </a:cubicBezTo>
                  <a:close/>
                  <a:moveTo>
                    <a:pt x="4585377" y="87313"/>
                  </a:moveTo>
                  <a:cubicBezTo>
                    <a:pt x="4604228" y="87313"/>
                    <a:pt x="4619509" y="102594"/>
                    <a:pt x="4619509" y="121445"/>
                  </a:cubicBezTo>
                  <a:cubicBezTo>
                    <a:pt x="4619509" y="140296"/>
                    <a:pt x="4604228" y="155577"/>
                    <a:pt x="4585377" y="155577"/>
                  </a:cubicBezTo>
                  <a:cubicBezTo>
                    <a:pt x="4566526" y="155577"/>
                    <a:pt x="4551245" y="140296"/>
                    <a:pt x="4551245" y="121445"/>
                  </a:cubicBezTo>
                  <a:cubicBezTo>
                    <a:pt x="4551245" y="102594"/>
                    <a:pt x="4566526" y="87313"/>
                    <a:pt x="4585377" y="87313"/>
                  </a:cubicBezTo>
                  <a:close/>
                  <a:moveTo>
                    <a:pt x="4500445" y="87313"/>
                  </a:moveTo>
                  <a:cubicBezTo>
                    <a:pt x="4519734" y="87313"/>
                    <a:pt x="4535370" y="102594"/>
                    <a:pt x="4535370" y="121445"/>
                  </a:cubicBezTo>
                  <a:cubicBezTo>
                    <a:pt x="4535370" y="140296"/>
                    <a:pt x="4519734" y="155577"/>
                    <a:pt x="4500445" y="155577"/>
                  </a:cubicBezTo>
                  <a:cubicBezTo>
                    <a:pt x="4481156" y="155577"/>
                    <a:pt x="4465520" y="140296"/>
                    <a:pt x="4465520" y="121445"/>
                  </a:cubicBezTo>
                  <a:cubicBezTo>
                    <a:pt x="4465520" y="102594"/>
                    <a:pt x="4481156" y="87313"/>
                    <a:pt x="4500445" y="87313"/>
                  </a:cubicBezTo>
                  <a:close/>
                  <a:moveTo>
                    <a:pt x="4415515" y="87313"/>
                  </a:moveTo>
                  <a:cubicBezTo>
                    <a:pt x="4434366" y="87313"/>
                    <a:pt x="4449647" y="102594"/>
                    <a:pt x="4449647" y="121445"/>
                  </a:cubicBezTo>
                  <a:cubicBezTo>
                    <a:pt x="4449647" y="140296"/>
                    <a:pt x="4434366" y="155577"/>
                    <a:pt x="4415515" y="155577"/>
                  </a:cubicBezTo>
                  <a:cubicBezTo>
                    <a:pt x="4396664" y="155577"/>
                    <a:pt x="4381383" y="140296"/>
                    <a:pt x="4381383" y="121445"/>
                  </a:cubicBezTo>
                  <a:cubicBezTo>
                    <a:pt x="4381383" y="102594"/>
                    <a:pt x="4396664" y="87313"/>
                    <a:pt x="4415515" y="87313"/>
                  </a:cubicBezTo>
                  <a:close/>
                  <a:moveTo>
                    <a:pt x="4332171" y="87313"/>
                  </a:moveTo>
                  <a:cubicBezTo>
                    <a:pt x="4352337" y="87313"/>
                    <a:pt x="4368684" y="102594"/>
                    <a:pt x="4368684" y="121445"/>
                  </a:cubicBezTo>
                  <a:cubicBezTo>
                    <a:pt x="4368684" y="140296"/>
                    <a:pt x="4352337" y="155577"/>
                    <a:pt x="4332171" y="155577"/>
                  </a:cubicBezTo>
                  <a:cubicBezTo>
                    <a:pt x="4312005" y="155577"/>
                    <a:pt x="4295658" y="140296"/>
                    <a:pt x="4295658" y="121445"/>
                  </a:cubicBezTo>
                  <a:cubicBezTo>
                    <a:pt x="4295658" y="102594"/>
                    <a:pt x="4312005" y="87313"/>
                    <a:pt x="4332171" y="87313"/>
                  </a:cubicBezTo>
                  <a:close/>
                  <a:moveTo>
                    <a:pt x="4248827" y="87313"/>
                  </a:moveTo>
                  <a:cubicBezTo>
                    <a:pt x="4267678" y="87313"/>
                    <a:pt x="4282959" y="102594"/>
                    <a:pt x="4282959" y="121445"/>
                  </a:cubicBezTo>
                  <a:cubicBezTo>
                    <a:pt x="4282959" y="140296"/>
                    <a:pt x="4267678" y="155577"/>
                    <a:pt x="4248827" y="155577"/>
                  </a:cubicBezTo>
                  <a:cubicBezTo>
                    <a:pt x="4229976" y="155577"/>
                    <a:pt x="4214695" y="140296"/>
                    <a:pt x="4214695" y="121445"/>
                  </a:cubicBezTo>
                  <a:cubicBezTo>
                    <a:pt x="4214695" y="102594"/>
                    <a:pt x="4229976" y="87313"/>
                    <a:pt x="4248827" y="87313"/>
                  </a:cubicBezTo>
                  <a:close/>
                  <a:moveTo>
                    <a:pt x="4163895" y="87313"/>
                  </a:moveTo>
                  <a:cubicBezTo>
                    <a:pt x="4183184" y="87313"/>
                    <a:pt x="4198820" y="102594"/>
                    <a:pt x="4198820" y="121445"/>
                  </a:cubicBezTo>
                  <a:cubicBezTo>
                    <a:pt x="4198820" y="140296"/>
                    <a:pt x="4183184" y="155577"/>
                    <a:pt x="4163895" y="155577"/>
                  </a:cubicBezTo>
                  <a:cubicBezTo>
                    <a:pt x="4144606" y="155577"/>
                    <a:pt x="4128970" y="140296"/>
                    <a:pt x="4128970" y="121445"/>
                  </a:cubicBezTo>
                  <a:cubicBezTo>
                    <a:pt x="4128970" y="102594"/>
                    <a:pt x="4144606" y="87313"/>
                    <a:pt x="4163895" y="87313"/>
                  </a:cubicBezTo>
                  <a:close/>
                  <a:moveTo>
                    <a:pt x="4078170" y="87313"/>
                  </a:moveTo>
                  <a:cubicBezTo>
                    <a:pt x="4097459" y="87313"/>
                    <a:pt x="4113095" y="102594"/>
                    <a:pt x="4113095" y="121445"/>
                  </a:cubicBezTo>
                  <a:cubicBezTo>
                    <a:pt x="4113095" y="140296"/>
                    <a:pt x="4097459" y="155577"/>
                    <a:pt x="4078170" y="155577"/>
                  </a:cubicBezTo>
                  <a:cubicBezTo>
                    <a:pt x="4058881" y="155577"/>
                    <a:pt x="4043245" y="140296"/>
                    <a:pt x="4043245" y="121445"/>
                  </a:cubicBezTo>
                  <a:cubicBezTo>
                    <a:pt x="4043245" y="102594"/>
                    <a:pt x="4058881" y="87313"/>
                    <a:pt x="4078170" y="87313"/>
                  </a:cubicBezTo>
                  <a:close/>
                  <a:moveTo>
                    <a:pt x="3993240" y="87313"/>
                  </a:moveTo>
                  <a:cubicBezTo>
                    <a:pt x="4012091" y="87313"/>
                    <a:pt x="4027372" y="102594"/>
                    <a:pt x="4027372" y="121445"/>
                  </a:cubicBezTo>
                  <a:cubicBezTo>
                    <a:pt x="4027372" y="140296"/>
                    <a:pt x="4012091" y="155577"/>
                    <a:pt x="3993240" y="155577"/>
                  </a:cubicBezTo>
                  <a:cubicBezTo>
                    <a:pt x="3974389" y="155577"/>
                    <a:pt x="3959108" y="140296"/>
                    <a:pt x="3959108" y="121445"/>
                  </a:cubicBezTo>
                  <a:cubicBezTo>
                    <a:pt x="3959108" y="102594"/>
                    <a:pt x="3974389" y="87313"/>
                    <a:pt x="3993240" y="87313"/>
                  </a:cubicBezTo>
                  <a:close/>
                  <a:moveTo>
                    <a:pt x="3912277" y="87313"/>
                  </a:moveTo>
                  <a:cubicBezTo>
                    <a:pt x="3931128" y="87313"/>
                    <a:pt x="3946409" y="102594"/>
                    <a:pt x="3946409" y="121445"/>
                  </a:cubicBezTo>
                  <a:cubicBezTo>
                    <a:pt x="3946409" y="140296"/>
                    <a:pt x="3931128" y="155577"/>
                    <a:pt x="3912277" y="155577"/>
                  </a:cubicBezTo>
                  <a:cubicBezTo>
                    <a:pt x="3893426" y="155577"/>
                    <a:pt x="3878145" y="140296"/>
                    <a:pt x="3878145" y="121445"/>
                  </a:cubicBezTo>
                  <a:cubicBezTo>
                    <a:pt x="3878145" y="102594"/>
                    <a:pt x="3893426" y="87313"/>
                    <a:pt x="3912277" y="87313"/>
                  </a:cubicBezTo>
                  <a:close/>
                  <a:moveTo>
                    <a:pt x="3826552" y="87313"/>
                  </a:moveTo>
                  <a:cubicBezTo>
                    <a:pt x="3845403" y="87313"/>
                    <a:pt x="3860684" y="102594"/>
                    <a:pt x="3860684" y="121445"/>
                  </a:cubicBezTo>
                  <a:cubicBezTo>
                    <a:pt x="3860684" y="140296"/>
                    <a:pt x="3845403" y="155577"/>
                    <a:pt x="3826552" y="155577"/>
                  </a:cubicBezTo>
                  <a:cubicBezTo>
                    <a:pt x="3807701" y="155577"/>
                    <a:pt x="3792420" y="140296"/>
                    <a:pt x="3792420" y="121445"/>
                  </a:cubicBezTo>
                  <a:cubicBezTo>
                    <a:pt x="3792420" y="102594"/>
                    <a:pt x="3807701" y="87313"/>
                    <a:pt x="3826552" y="87313"/>
                  </a:cubicBezTo>
                  <a:close/>
                  <a:moveTo>
                    <a:pt x="3741620" y="87313"/>
                  </a:moveTo>
                  <a:cubicBezTo>
                    <a:pt x="3760909" y="87313"/>
                    <a:pt x="3776545" y="102594"/>
                    <a:pt x="3776545" y="121445"/>
                  </a:cubicBezTo>
                  <a:cubicBezTo>
                    <a:pt x="3776545" y="140296"/>
                    <a:pt x="3760909" y="155577"/>
                    <a:pt x="3741620" y="155577"/>
                  </a:cubicBezTo>
                  <a:cubicBezTo>
                    <a:pt x="3722331" y="155577"/>
                    <a:pt x="3706695" y="140296"/>
                    <a:pt x="3706695" y="121445"/>
                  </a:cubicBezTo>
                  <a:cubicBezTo>
                    <a:pt x="3706695" y="102594"/>
                    <a:pt x="3722331" y="87313"/>
                    <a:pt x="3741620" y="87313"/>
                  </a:cubicBezTo>
                  <a:close/>
                  <a:moveTo>
                    <a:pt x="3656689" y="87313"/>
                  </a:moveTo>
                  <a:cubicBezTo>
                    <a:pt x="3675540" y="87313"/>
                    <a:pt x="3690821" y="102594"/>
                    <a:pt x="3690821" y="121445"/>
                  </a:cubicBezTo>
                  <a:cubicBezTo>
                    <a:pt x="3690821" y="140296"/>
                    <a:pt x="3675540" y="155577"/>
                    <a:pt x="3656689" y="155577"/>
                  </a:cubicBezTo>
                  <a:cubicBezTo>
                    <a:pt x="3637838" y="155577"/>
                    <a:pt x="3622557" y="140296"/>
                    <a:pt x="3622557" y="121445"/>
                  </a:cubicBezTo>
                  <a:cubicBezTo>
                    <a:pt x="3622557" y="102594"/>
                    <a:pt x="3637838" y="87313"/>
                    <a:pt x="3656689" y="87313"/>
                  </a:cubicBezTo>
                  <a:close/>
                  <a:moveTo>
                    <a:pt x="3573345" y="87313"/>
                  </a:moveTo>
                  <a:cubicBezTo>
                    <a:pt x="3593511" y="87313"/>
                    <a:pt x="3609858" y="102594"/>
                    <a:pt x="3609858" y="121445"/>
                  </a:cubicBezTo>
                  <a:cubicBezTo>
                    <a:pt x="3609858" y="140296"/>
                    <a:pt x="3593511" y="155577"/>
                    <a:pt x="3573345" y="155577"/>
                  </a:cubicBezTo>
                  <a:cubicBezTo>
                    <a:pt x="3553179" y="155577"/>
                    <a:pt x="3536832" y="140296"/>
                    <a:pt x="3536832" y="121445"/>
                  </a:cubicBezTo>
                  <a:cubicBezTo>
                    <a:pt x="3536832" y="102594"/>
                    <a:pt x="3553179" y="87313"/>
                    <a:pt x="3573345" y="87313"/>
                  </a:cubicBezTo>
                  <a:close/>
                  <a:moveTo>
                    <a:pt x="3234415" y="87313"/>
                  </a:moveTo>
                  <a:cubicBezTo>
                    <a:pt x="3253266" y="87313"/>
                    <a:pt x="3268547" y="102594"/>
                    <a:pt x="3268547" y="121445"/>
                  </a:cubicBezTo>
                  <a:cubicBezTo>
                    <a:pt x="3268547" y="140296"/>
                    <a:pt x="3253266" y="155577"/>
                    <a:pt x="3234415" y="155577"/>
                  </a:cubicBezTo>
                  <a:cubicBezTo>
                    <a:pt x="3215564" y="155577"/>
                    <a:pt x="3200283" y="140296"/>
                    <a:pt x="3200283" y="121445"/>
                  </a:cubicBezTo>
                  <a:cubicBezTo>
                    <a:pt x="3200283" y="102594"/>
                    <a:pt x="3215564" y="87313"/>
                    <a:pt x="3234415" y="87313"/>
                  </a:cubicBezTo>
                  <a:close/>
                  <a:moveTo>
                    <a:pt x="3153452" y="87313"/>
                  </a:moveTo>
                  <a:cubicBezTo>
                    <a:pt x="3172303" y="87313"/>
                    <a:pt x="3187584" y="102594"/>
                    <a:pt x="3187584" y="121445"/>
                  </a:cubicBezTo>
                  <a:cubicBezTo>
                    <a:pt x="3187584" y="140296"/>
                    <a:pt x="3172303" y="155577"/>
                    <a:pt x="3153452" y="155577"/>
                  </a:cubicBezTo>
                  <a:cubicBezTo>
                    <a:pt x="3134601" y="155577"/>
                    <a:pt x="3119320" y="140296"/>
                    <a:pt x="3119320" y="121445"/>
                  </a:cubicBezTo>
                  <a:cubicBezTo>
                    <a:pt x="3119320" y="102594"/>
                    <a:pt x="3134601" y="87313"/>
                    <a:pt x="3153452" y="87313"/>
                  </a:cubicBezTo>
                  <a:close/>
                  <a:moveTo>
                    <a:pt x="2983590" y="87313"/>
                  </a:moveTo>
                  <a:cubicBezTo>
                    <a:pt x="3002441" y="87313"/>
                    <a:pt x="3017722" y="102594"/>
                    <a:pt x="3017722" y="121445"/>
                  </a:cubicBezTo>
                  <a:cubicBezTo>
                    <a:pt x="3017722" y="140296"/>
                    <a:pt x="3002441" y="155577"/>
                    <a:pt x="2983590" y="155577"/>
                  </a:cubicBezTo>
                  <a:cubicBezTo>
                    <a:pt x="2964739" y="155577"/>
                    <a:pt x="2949458" y="140296"/>
                    <a:pt x="2949458" y="121445"/>
                  </a:cubicBezTo>
                  <a:cubicBezTo>
                    <a:pt x="2949458" y="102594"/>
                    <a:pt x="2964739" y="87313"/>
                    <a:pt x="2983590" y="87313"/>
                  </a:cubicBezTo>
                  <a:close/>
                  <a:moveTo>
                    <a:pt x="5510095" y="0"/>
                  </a:moveTo>
                  <a:cubicBezTo>
                    <a:pt x="5529384" y="0"/>
                    <a:pt x="5545020" y="15636"/>
                    <a:pt x="5545020" y="34925"/>
                  </a:cubicBezTo>
                  <a:cubicBezTo>
                    <a:pt x="5545020" y="54214"/>
                    <a:pt x="5529384" y="69850"/>
                    <a:pt x="5510095" y="69850"/>
                  </a:cubicBezTo>
                  <a:cubicBezTo>
                    <a:pt x="5490806" y="69850"/>
                    <a:pt x="5475170" y="54214"/>
                    <a:pt x="5475170" y="34925"/>
                  </a:cubicBezTo>
                  <a:cubicBezTo>
                    <a:pt x="5475170" y="15636"/>
                    <a:pt x="5490806" y="0"/>
                    <a:pt x="5510095" y="0"/>
                  </a:cubicBezTo>
                  <a:close/>
                  <a:moveTo>
                    <a:pt x="5429927" y="0"/>
                  </a:moveTo>
                  <a:cubicBezTo>
                    <a:pt x="5448778" y="0"/>
                    <a:pt x="5464059" y="15636"/>
                    <a:pt x="5464059" y="34925"/>
                  </a:cubicBezTo>
                  <a:cubicBezTo>
                    <a:pt x="5464059" y="54214"/>
                    <a:pt x="5448778" y="69850"/>
                    <a:pt x="5429927" y="69850"/>
                  </a:cubicBezTo>
                  <a:cubicBezTo>
                    <a:pt x="5411076" y="69850"/>
                    <a:pt x="5395795" y="54214"/>
                    <a:pt x="5395795" y="34925"/>
                  </a:cubicBezTo>
                  <a:cubicBezTo>
                    <a:pt x="5395795" y="15636"/>
                    <a:pt x="5411076" y="0"/>
                    <a:pt x="5429927" y="0"/>
                  </a:cubicBezTo>
                  <a:close/>
                  <a:moveTo>
                    <a:pt x="4585377" y="0"/>
                  </a:moveTo>
                  <a:cubicBezTo>
                    <a:pt x="4604228" y="0"/>
                    <a:pt x="4619509" y="15636"/>
                    <a:pt x="4619509" y="34925"/>
                  </a:cubicBezTo>
                  <a:cubicBezTo>
                    <a:pt x="4619509" y="54214"/>
                    <a:pt x="4604228" y="69850"/>
                    <a:pt x="4585377" y="69850"/>
                  </a:cubicBezTo>
                  <a:cubicBezTo>
                    <a:pt x="4566526" y="69850"/>
                    <a:pt x="4551245" y="54214"/>
                    <a:pt x="4551245" y="34925"/>
                  </a:cubicBezTo>
                  <a:cubicBezTo>
                    <a:pt x="4551245" y="15636"/>
                    <a:pt x="4566526" y="0"/>
                    <a:pt x="4585377" y="0"/>
                  </a:cubicBezTo>
                  <a:close/>
                  <a:moveTo>
                    <a:pt x="4500445" y="0"/>
                  </a:moveTo>
                  <a:cubicBezTo>
                    <a:pt x="4519734" y="0"/>
                    <a:pt x="4535370" y="15636"/>
                    <a:pt x="4535370" y="34925"/>
                  </a:cubicBezTo>
                  <a:cubicBezTo>
                    <a:pt x="4535370" y="54214"/>
                    <a:pt x="4519734" y="69850"/>
                    <a:pt x="4500445" y="69850"/>
                  </a:cubicBezTo>
                  <a:cubicBezTo>
                    <a:pt x="4481156" y="69850"/>
                    <a:pt x="4465520" y="54214"/>
                    <a:pt x="4465520" y="34925"/>
                  </a:cubicBezTo>
                  <a:cubicBezTo>
                    <a:pt x="4465520" y="15636"/>
                    <a:pt x="4481156" y="0"/>
                    <a:pt x="4500445" y="0"/>
                  </a:cubicBezTo>
                  <a:close/>
                  <a:moveTo>
                    <a:pt x="4415515" y="0"/>
                  </a:moveTo>
                  <a:cubicBezTo>
                    <a:pt x="4434366" y="0"/>
                    <a:pt x="4449647" y="15636"/>
                    <a:pt x="4449647" y="34925"/>
                  </a:cubicBezTo>
                  <a:cubicBezTo>
                    <a:pt x="4449647" y="54214"/>
                    <a:pt x="4434366" y="69850"/>
                    <a:pt x="4415515" y="69850"/>
                  </a:cubicBezTo>
                  <a:cubicBezTo>
                    <a:pt x="4396664" y="69850"/>
                    <a:pt x="4381383" y="54214"/>
                    <a:pt x="4381383" y="34925"/>
                  </a:cubicBezTo>
                  <a:cubicBezTo>
                    <a:pt x="4381383" y="15636"/>
                    <a:pt x="4396664" y="0"/>
                    <a:pt x="4415515" y="0"/>
                  </a:cubicBezTo>
                  <a:close/>
                  <a:moveTo>
                    <a:pt x="4332171" y="0"/>
                  </a:moveTo>
                  <a:cubicBezTo>
                    <a:pt x="4352337" y="0"/>
                    <a:pt x="4368684" y="15636"/>
                    <a:pt x="4368684" y="34925"/>
                  </a:cubicBezTo>
                  <a:cubicBezTo>
                    <a:pt x="4368684" y="54214"/>
                    <a:pt x="4352337" y="69850"/>
                    <a:pt x="4332171" y="69850"/>
                  </a:cubicBezTo>
                  <a:cubicBezTo>
                    <a:pt x="4312005" y="69850"/>
                    <a:pt x="4295658" y="54214"/>
                    <a:pt x="4295658" y="34925"/>
                  </a:cubicBezTo>
                  <a:cubicBezTo>
                    <a:pt x="4295658" y="15636"/>
                    <a:pt x="4312005" y="0"/>
                    <a:pt x="4332171" y="0"/>
                  </a:cubicBezTo>
                  <a:close/>
                  <a:moveTo>
                    <a:pt x="4248827" y="0"/>
                  </a:moveTo>
                  <a:cubicBezTo>
                    <a:pt x="4267678" y="0"/>
                    <a:pt x="4282959" y="15636"/>
                    <a:pt x="4282959" y="34925"/>
                  </a:cubicBezTo>
                  <a:cubicBezTo>
                    <a:pt x="4282959" y="54214"/>
                    <a:pt x="4267678" y="69850"/>
                    <a:pt x="4248827" y="69850"/>
                  </a:cubicBezTo>
                  <a:cubicBezTo>
                    <a:pt x="4229976" y="69850"/>
                    <a:pt x="4214695" y="54214"/>
                    <a:pt x="4214695" y="34925"/>
                  </a:cubicBezTo>
                  <a:cubicBezTo>
                    <a:pt x="4214695" y="15636"/>
                    <a:pt x="4229976" y="0"/>
                    <a:pt x="4248827" y="0"/>
                  </a:cubicBezTo>
                  <a:close/>
                  <a:moveTo>
                    <a:pt x="4163895" y="0"/>
                  </a:moveTo>
                  <a:cubicBezTo>
                    <a:pt x="4183184" y="0"/>
                    <a:pt x="4198820" y="15636"/>
                    <a:pt x="4198820" y="34925"/>
                  </a:cubicBezTo>
                  <a:cubicBezTo>
                    <a:pt x="4198820" y="54214"/>
                    <a:pt x="4183184" y="69850"/>
                    <a:pt x="4163895" y="69850"/>
                  </a:cubicBezTo>
                  <a:cubicBezTo>
                    <a:pt x="4144606" y="69850"/>
                    <a:pt x="4128970" y="54214"/>
                    <a:pt x="4128970" y="34925"/>
                  </a:cubicBezTo>
                  <a:cubicBezTo>
                    <a:pt x="4128970" y="15636"/>
                    <a:pt x="4144606" y="0"/>
                    <a:pt x="4163895" y="0"/>
                  </a:cubicBezTo>
                  <a:close/>
                  <a:moveTo>
                    <a:pt x="4078170" y="0"/>
                  </a:moveTo>
                  <a:cubicBezTo>
                    <a:pt x="4097459" y="0"/>
                    <a:pt x="4113095" y="15636"/>
                    <a:pt x="4113095" y="34925"/>
                  </a:cubicBezTo>
                  <a:cubicBezTo>
                    <a:pt x="4113095" y="54214"/>
                    <a:pt x="4097459" y="69850"/>
                    <a:pt x="4078170" y="69850"/>
                  </a:cubicBezTo>
                  <a:cubicBezTo>
                    <a:pt x="4058881" y="69850"/>
                    <a:pt x="4043245" y="54214"/>
                    <a:pt x="4043245" y="34925"/>
                  </a:cubicBezTo>
                  <a:cubicBezTo>
                    <a:pt x="4043245" y="15636"/>
                    <a:pt x="4058881" y="0"/>
                    <a:pt x="4078170" y="0"/>
                  </a:cubicBezTo>
                  <a:close/>
                  <a:moveTo>
                    <a:pt x="3993240" y="0"/>
                  </a:moveTo>
                  <a:cubicBezTo>
                    <a:pt x="4012091" y="0"/>
                    <a:pt x="4027372" y="15636"/>
                    <a:pt x="4027372" y="34925"/>
                  </a:cubicBezTo>
                  <a:cubicBezTo>
                    <a:pt x="4027372" y="54214"/>
                    <a:pt x="4012091" y="69850"/>
                    <a:pt x="3993240" y="69850"/>
                  </a:cubicBezTo>
                  <a:cubicBezTo>
                    <a:pt x="3974389" y="69850"/>
                    <a:pt x="3959108" y="54214"/>
                    <a:pt x="3959108" y="34925"/>
                  </a:cubicBezTo>
                  <a:cubicBezTo>
                    <a:pt x="3959108" y="15636"/>
                    <a:pt x="3974389" y="0"/>
                    <a:pt x="3993240" y="0"/>
                  </a:cubicBezTo>
                  <a:close/>
                  <a:moveTo>
                    <a:pt x="3912277" y="0"/>
                  </a:moveTo>
                  <a:cubicBezTo>
                    <a:pt x="3931128" y="0"/>
                    <a:pt x="3946409" y="15636"/>
                    <a:pt x="3946409" y="34925"/>
                  </a:cubicBezTo>
                  <a:cubicBezTo>
                    <a:pt x="3946409" y="54214"/>
                    <a:pt x="3931128" y="69850"/>
                    <a:pt x="3912277" y="69850"/>
                  </a:cubicBezTo>
                  <a:cubicBezTo>
                    <a:pt x="3893426" y="69850"/>
                    <a:pt x="3878145" y="54214"/>
                    <a:pt x="3878145" y="34925"/>
                  </a:cubicBezTo>
                  <a:cubicBezTo>
                    <a:pt x="3878145" y="15636"/>
                    <a:pt x="3893426" y="0"/>
                    <a:pt x="3912277" y="0"/>
                  </a:cubicBezTo>
                  <a:close/>
                  <a:moveTo>
                    <a:pt x="3826552" y="0"/>
                  </a:moveTo>
                  <a:cubicBezTo>
                    <a:pt x="3845403" y="0"/>
                    <a:pt x="3860684" y="15636"/>
                    <a:pt x="3860684" y="34925"/>
                  </a:cubicBezTo>
                  <a:cubicBezTo>
                    <a:pt x="3860684" y="54214"/>
                    <a:pt x="3845403" y="69850"/>
                    <a:pt x="3826552" y="69850"/>
                  </a:cubicBezTo>
                  <a:cubicBezTo>
                    <a:pt x="3807701" y="69850"/>
                    <a:pt x="3792420" y="54214"/>
                    <a:pt x="3792420" y="34925"/>
                  </a:cubicBezTo>
                  <a:cubicBezTo>
                    <a:pt x="3792420" y="15636"/>
                    <a:pt x="3807701" y="0"/>
                    <a:pt x="3826552" y="0"/>
                  </a:cubicBezTo>
                  <a:close/>
                  <a:moveTo>
                    <a:pt x="3741620" y="0"/>
                  </a:moveTo>
                  <a:cubicBezTo>
                    <a:pt x="3760909" y="0"/>
                    <a:pt x="3776545" y="15636"/>
                    <a:pt x="3776545" y="34925"/>
                  </a:cubicBezTo>
                  <a:cubicBezTo>
                    <a:pt x="3776545" y="54214"/>
                    <a:pt x="3760909" y="69850"/>
                    <a:pt x="3741620" y="69850"/>
                  </a:cubicBezTo>
                  <a:cubicBezTo>
                    <a:pt x="3722331" y="69850"/>
                    <a:pt x="3706695" y="54214"/>
                    <a:pt x="3706695" y="34925"/>
                  </a:cubicBezTo>
                  <a:cubicBezTo>
                    <a:pt x="3706695" y="15636"/>
                    <a:pt x="3722331" y="0"/>
                    <a:pt x="3741620" y="0"/>
                  </a:cubicBezTo>
                  <a:close/>
                  <a:moveTo>
                    <a:pt x="3656689" y="0"/>
                  </a:moveTo>
                  <a:cubicBezTo>
                    <a:pt x="3675540" y="0"/>
                    <a:pt x="3690821" y="15636"/>
                    <a:pt x="3690821" y="34925"/>
                  </a:cubicBezTo>
                  <a:cubicBezTo>
                    <a:pt x="3690821" y="54214"/>
                    <a:pt x="3675540" y="69850"/>
                    <a:pt x="3656689" y="69850"/>
                  </a:cubicBezTo>
                  <a:cubicBezTo>
                    <a:pt x="3637838" y="69850"/>
                    <a:pt x="3622557" y="54214"/>
                    <a:pt x="3622557" y="34925"/>
                  </a:cubicBezTo>
                  <a:cubicBezTo>
                    <a:pt x="3622557" y="15636"/>
                    <a:pt x="3637838" y="0"/>
                    <a:pt x="3656689" y="0"/>
                  </a:cubicBezTo>
                  <a:close/>
                </a:path>
              </a:pathLst>
            </a:custGeom>
            <a:solidFill>
              <a:schemeClr val="bg1">
                <a:lumMod val="95000"/>
              </a:schemeClr>
            </a:solidFill>
            <a:ln>
              <a:noFill/>
            </a:ln>
          </p:spPr>
          <p:txBody>
            <a:bodyPr vert="horz" wrap="square" lIns="67232" tIns="33616" rIns="67232" bIns="33616" numCol="1" anchor="t" anchorCtr="0" compatLnSpc="1">
              <a:prstTxWarp prst="textNoShape">
                <a:avLst/>
              </a:prstTxWarp>
              <a:noAutofit/>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2128" name="Group 2127">
            <a:extLst>
              <a:ext uri="{FF2B5EF4-FFF2-40B4-BE49-F238E27FC236}">
                <a16:creationId xmlns:a16="http://schemas.microsoft.com/office/drawing/2014/main" id="{B9110557-6FBD-4D84-9778-40E92F7B6765}"/>
              </a:ext>
            </a:extLst>
          </p:cNvPr>
          <p:cNvGrpSpPr/>
          <p:nvPr/>
        </p:nvGrpSpPr>
        <p:grpSpPr>
          <a:xfrm>
            <a:off x="1999394" y="5060724"/>
            <a:ext cx="564516" cy="564515"/>
            <a:chOff x="2871714" y="5625079"/>
            <a:chExt cx="767781" cy="767780"/>
          </a:xfrm>
        </p:grpSpPr>
        <p:sp>
          <p:nvSpPr>
            <p:cNvPr id="2129" name="Freeform: Shape 411">
              <a:extLst>
                <a:ext uri="{FF2B5EF4-FFF2-40B4-BE49-F238E27FC236}">
                  <a16:creationId xmlns:a16="http://schemas.microsoft.com/office/drawing/2014/main" id="{E08268B0-95C1-4055-8DCB-F47AF3105078}"/>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0" name="Graphic 2129" descr="Marker">
              <a:extLst>
                <a:ext uri="{FF2B5EF4-FFF2-40B4-BE49-F238E27FC236}">
                  <a16:creationId xmlns:a16="http://schemas.microsoft.com/office/drawing/2014/main" id="{31A5D84A-94F5-4979-9E20-9D52A366A44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1" name="Group 2130">
            <a:extLst>
              <a:ext uri="{FF2B5EF4-FFF2-40B4-BE49-F238E27FC236}">
                <a16:creationId xmlns:a16="http://schemas.microsoft.com/office/drawing/2014/main" id="{B396EE50-96EC-47E9-BCE9-C32F4022E799}"/>
              </a:ext>
            </a:extLst>
          </p:cNvPr>
          <p:cNvGrpSpPr/>
          <p:nvPr/>
        </p:nvGrpSpPr>
        <p:grpSpPr>
          <a:xfrm>
            <a:off x="5379173" y="5019576"/>
            <a:ext cx="564516" cy="564515"/>
            <a:chOff x="2871714" y="5625079"/>
            <a:chExt cx="767781" cy="767780"/>
          </a:xfrm>
        </p:grpSpPr>
        <p:sp>
          <p:nvSpPr>
            <p:cNvPr id="2132" name="Freeform: Shape 411">
              <a:extLst>
                <a:ext uri="{FF2B5EF4-FFF2-40B4-BE49-F238E27FC236}">
                  <a16:creationId xmlns:a16="http://schemas.microsoft.com/office/drawing/2014/main" id="{0EEEE73D-46FA-47C9-92EF-3878E0916300}"/>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3" name="Graphic 2132" descr="Marker">
              <a:extLst>
                <a:ext uri="{FF2B5EF4-FFF2-40B4-BE49-F238E27FC236}">
                  <a16:creationId xmlns:a16="http://schemas.microsoft.com/office/drawing/2014/main" id="{A490BD88-449F-427F-A005-DDF4857C27D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4" name="Group 2133">
            <a:extLst>
              <a:ext uri="{FF2B5EF4-FFF2-40B4-BE49-F238E27FC236}">
                <a16:creationId xmlns:a16="http://schemas.microsoft.com/office/drawing/2014/main" id="{3BB17088-2280-43C9-9B88-D6250F2F3A6F}"/>
              </a:ext>
            </a:extLst>
          </p:cNvPr>
          <p:cNvGrpSpPr/>
          <p:nvPr/>
        </p:nvGrpSpPr>
        <p:grpSpPr>
          <a:xfrm>
            <a:off x="6078128" y="5206393"/>
            <a:ext cx="564516" cy="564515"/>
            <a:chOff x="2871714" y="5625079"/>
            <a:chExt cx="767781" cy="767780"/>
          </a:xfrm>
        </p:grpSpPr>
        <p:sp>
          <p:nvSpPr>
            <p:cNvPr id="2135" name="Freeform: Shape 411">
              <a:extLst>
                <a:ext uri="{FF2B5EF4-FFF2-40B4-BE49-F238E27FC236}">
                  <a16:creationId xmlns:a16="http://schemas.microsoft.com/office/drawing/2014/main" id="{35A6A7CD-2BB9-4474-9A80-46CFA63DAFBD}"/>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6" name="Graphic 2135" descr="Marker">
              <a:extLst>
                <a:ext uri="{FF2B5EF4-FFF2-40B4-BE49-F238E27FC236}">
                  <a16:creationId xmlns:a16="http://schemas.microsoft.com/office/drawing/2014/main" id="{27AD8D45-B695-4FE9-AE97-48509FC318B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7" name="Group 2136">
            <a:extLst>
              <a:ext uri="{FF2B5EF4-FFF2-40B4-BE49-F238E27FC236}">
                <a16:creationId xmlns:a16="http://schemas.microsoft.com/office/drawing/2014/main" id="{0965F2FF-0179-45F6-BBB1-34B3D2B35D5C}"/>
              </a:ext>
            </a:extLst>
          </p:cNvPr>
          <p:cNvGrpSpPr/>
          <p:nvPr/>
        </p:nvGrpSpPr>
        <p:grpSpPr>
          <a:xfrm>
            <a:off x="7254685" y="4814207"/>
            <a:ext cx="564516" cy="564515"/>
            <a:chOff x="2871714" y="5625079"/>
            <a:chExt cx="767781" cy="767780"/>
          </a:xfrm>
        </p:grpSpPr>
        <p:sp>
          <p:nvSpPr>
            <p:cNvPr id="2138" name="Freeform: Shape 411">
              <a:extLst>
                <a:ext uri="{FF2B5EF4-FFF2-40B4-BE49-F238E27FC236}">
                  <a16:creationId xmlns:a16="http://schemas.microsoft.com/office/drawing/2014/main" id="{6B7A75A0-940F-41B2-9624-240BCE2C0C69}"/>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9" name="Graphic 2138" descr="Marker">
              <a:extLst>
                <a:ext uri="{FF2B5EF4-FFF2-40B4-BE49-F238E27FC236}">
                  <a16:creationId xmlns:a16="http://schemas.microsoft.com/office/drawing/2014/main" id="{E1ECDBE5-2838-473F-BFE0-D6EB7F67726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sp>
        <p:nvSpPr>
          <p:cNvPr id="2143" name="Freeform: Shape 2142">
            <a:extLst>
              <a:ext uri="{FF2B5EF4-FFF2-40B4-BE49-F238E27FC236}">
                <a16:creationId xmlns:a16="http://schemas.microsoft.com/office/drawing/2014/main" id="{036C06E9-5F40-4794-86B2-EC191778D448}"/>
              </a:ext>
            </a:extLst>
          </p:cNvPr>
          <p:cNvSpPr/>
          <p:nvPr/>
        </p:nvSpPr>
        <p:spPr>
          <a:xfrm>
            <a:off x="1" y="4047394"/>
            <a:ext cx="9144000" cy="918836"/>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0 w 11815361"/>
              <a:gd name="connsiteY0" fmla="*/ 1745574 h 1833150"/>
              <a:gd name="connsiteX1" fmla="*/ 68197 w 11815361"/>
              <a:gd name="connsiteY1" fmla="*/ 1675322 h 1833150"/>
              <a:gd name="connsiteX2" fmla="*/ 5907680 w 11815361"/>
              <a:gd name="connsiteY2" fmla="*/ 0 h 1833150"/>
              <a:gd name="connsiteX3" fmla="*/ 11747164 w 11815361"/>
              <a:gd name="connsiteY3" fmla="*/ 1675322 h 1833150"/>
              <a:gd name="connsiteX4" fmla="*/ 11815361 w 11815361"/>
              <a:gd name="connsiteY4" fmla="*/ 1745574 h 1833150"/>
              <a:gd name="connsiteX5" fmla="*/ 86873 w 11815361"/>
              <a:gd name="connsiteY5" fmla="*/ 1833150 h 183315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37" fontAlgn="auto">
              <a:spcBef>
                <a:spcPts val="0"/>
              </a:spcBef>
              <a:spcAft>
                <a:spcPts val="0"/>
              </a:spcAft>
              <a:defRPr/>
            </a:pPr>
            <a:endParaRPr lang="en-US" sz="1350" b="0" dirty="0">
              <a:solidFill>
                <a:srgbClr val="FFFFFF"/>
              </a:solidFill>
              <a:latin typeface="Segoe UI"/>
            </a:endParaRPr>
          </a:p>
        </p:txBody>
      </p:sp>
      <p:sp>
        <p:nvSpPr>
          <p:cNvPr id="2144" name="Freeform: Shape 2143">
            <a:extLst>
              <a:ext uri="{FF2B5EF4-FFF2-40B4-BE49-F238E27FC236}">
                <a16:creationId xmlns:a16="http://schemas.microsoft.com/office/drawing/2014/main" id="{DB751003-B8CA-43FF-B4A5-BF594CB6CB59}"/>
              </a:ext>
            </a:extLst>
          </p:cNvPr>
          <p:cNvSpPr/>
          <p:nvPr/>
        </p:nvSpPr>
        <p:spPr>
          <a:xfrm>
            <a:off x="1" y="3195790"/>
            <a:ext cx="9144000" cy="918836"/>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0 w 11815361"/>
              <a:gd name="connsiteY0" fmla="*/ 1745574 h 1833150"/>
              <a:gd name="connsiteX1" fmla="*/ 68197 w 11815361"/>
              <a:gd name="connsiteY1" fmla="*/ 1675322 h 1833150"/>
              <a:gd name="connsiteX2" fmla="*/ 5907680 w 11815361"/>
              <a:gd name="connsiteY2" fmla="*/ 0 h 1833150"/>
              <a:gd name="connsiteX3" fmla="*/ 11747164 w 11815361"/>
              <a:gd name="connsiteY3" fmla="*/ 1675322 h 1833150"/>
              <a:gd name="connsiteX4" fmla="*/ 11815361 w 11815361"/>
              <a:gd name="connsiteY4" fmla="*/ 1745574 h 1833150"/>
              <a:gd name="connsiteX5" fmla="*/ 86873 w 11815361"/>
              <a:gd name="connsiteY5" fmla="*/ 1833150 h 183315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37" fontAlgn="auto">
              <a:spcBef>
                <a:spcPts val="0"/>
              </a:spcBef>
              <a:spcAft>
                <a:spcPts val="0"/>
              </a:spcAft>
              <a:defRPr/>
            </a:pPr>
            <a:endParaRPr lang="en-US" sz="1350" b="0" dirty="0">
              <a:solidFill>
                <a:srgbClr val="FFFFFF"/>
              </a:solidFill>
              <a:latin typeface="Segoe UI"/>
            </a:endParaRPr>
          </a:p>
        </p:txBody>
      </p:sp>
    </p:spTree>
    <p:extLst>
      <p:ext uri="{BB962C8B-B14F-4D97-AF65-F5344CB8AC3E}">
        <p14:creationId xmlns:p14="http://schemas.microsoft.com/office/powerpoint/2010/main" val="54879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BA7533DD-BF2B-4E52-9EA9-7A999EBB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590" y="1039416"/>
            <a:ext cx="8381645" cy="4745663"/>
          </a:xfrm>
          <a:prstGeom prst="rect">
            <a:avLst/>
          </a:prstGeom>
        </p:spPr>
      </p:pic>
    </p:spTree>
    <p:extLst>
      <p:ext uri="{BB962C8B-B14F-4D97-AF65-F5344CB8AC3E}">
        <p14:creationId xmlns:p14="http://schemas.microsoft.com/office/powerpoint/2010/main" val="401851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EDE79423-2E27-426D-8DB3-FFF7531BE4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7797" y="1574007"/>
            <a:ext cx="5215232" cy="3709987"/>
          </a:xfrm>
          <a:prstGeom prst="rect">
            <a:avLst/>
          </a:prstGeom>
        </p:spPr>
      </p:pic>
    </p:spTree>
    <p:extLst>
      <p:ext uri="{BB962C8B-B14F-4D97-AF65-F5344CB8AC3E}">
        <p14:creationId xmlns:p14="http://schemas.microsoft.com/office/powerpoint/2010/main" val="306011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smos DB</a:t>
            </a:r>
          </a:p>
        </p:txBody>
      </p:sp>
      <p:sp>
        <p:nvSpPr>
          <p:cNvPr id="5" name="Content Placeholder 4"/>
          <p:cNvSpPr>
            <a:spLocks noGrp="1"/>
          </p:cNvSpPr>
          <p:nvPr>
            <p:ph idx="1"/>
          </p:nvPr>
        </p:nvSpPr>
        <p:spPr/>
        <p:txBody>
          <a:bodyPr>
            <a:normAutofit/>
          </a:bodyPr>
          <a:lstStyle/>
          <a:p>
            <a:pPr marL="428625" indent="-428625">
              <a:buFont typeface="Arial" panose="020B0604020202020204" pitchFamily="34" charset="0"/>
              <a:buChar char="•"/>
            </a:pPr>
            <a:r>
              <a:rPr lang="en-US" dirty="0"/>
              <a:t>Azure Cosmos DB is a globally distributed database service</a:t>
            </a:r>
          </a:p>
          <a:p>
            <a:pPr marL="342900" indent="-342900">
              <a:buFont typeface="Arial" panose="020B0604020202020204" pitchFamily="34" charset="0"/>
              <a:buChar char="•"/>
            </a:pPr>
            <a:r>
              <a:rPr lang="en-US" dirty="0"/>
              <a:t>“one of the supported APIs and data models”</a:t>
            </a:r>
          </a:p>
          <a:p>
            <a:pPr marL="428625" indent="-428625">
              <a:buFont typeface="Arial" panose="020B0604020202020204" pitchFamily="34" charset="0"/>
              <a:buChar char="•"/>
            </a:pPr>
            <a:r>
              <a:rPr lang="en-US" dirty="0"/>
              <a:t>Document != *.</a:t>
            </a:r>
            <a:r>
              <a:rPr lang="en-US" dirty="0" err="1"/>
              <a:t>docx</a:t>
            </a:r>
            <a:endParaRPr lang="en-US" dirty="0"/>
          </a:p>
          <a:p>
            <a:pPr marL="428625" indent="-428625">
              <a:buFont typeface="Arial" panose="020B0604020202020204" pitchFamily="34" charset="0"/>
              <a:buChar char="•"/>
            </a:pPr>
            <a:r>
              <a:rPr lang="en-US" dirty="0"/>
              <a:t>Document == JSON</a:t>
            </a:r>
          </a:p>
          <a:p>
            <a:pPr marL="428625" indent="-428625">
              <a:buFont typeface="Arial" panose="020B0604020202020204" pitchFamily="34" charset="0"/>
              <a:buChar char="•"/>
            </a:pPr>
            <a:r>
              <a:rPr lang="en-US" dirty="0"/>
              <a:t>NoSQL, Schema free database</a:t>
            </a:r>
          </a:p>
          <a:p>
            <a:pPr marL="428625" indent="-428625">
              <a:buFont typeface="Arial" panose="020B0604020202020204" pitchFamily="34" charset="0"/>
              <a:buChar char="•"/>
            </a:pPr>
            <a:r>
              <a:rPr lang="en-US" dirty="0"/>
              <a:t>99.99% availability within a single region.</a:t>
            </a:r>
          </a:p>
          <a:p>
            <a:pPr marL="428625" indent="-428625">
              <a:buFont typeface="Arial" panose="020B0604020202020204" pitchFamily="34" charset="0"/>
              <a:buChar char="•"/>
            </a:pPr>
            <a:r>
              <a:rPr lang="en-US" dirty="0"/>
              <a:t>It is a good choice for new web, mobile, gaming, and </a:t>
            </a:r>
            <a:r>
              <a:rPr lang="en-US" dirty="0" err="1"/>
              <a:t>IoT</a:t>
            </a:r>
            <a:r>
              <a:rPr lang="en-US" dirty="0"/>
              <a:t> applications</a:t>
            </a:r>
          </a:p>
          <a:p>
            <a:pPr marL="428625" indent="-428625">
              <a:buFont typeface="Arial" panose="020B0604020202020204" pitchFamily="34" charset="0"/>
              <a:buChar char="•"/>
            </a:pPr>
            <a:r>
              <a:rPr lang="en-US" b="1" dirty="0"/>
              <a:t>HIPAA-compliant</a:t>
            </a:r>
          </a:p>
          <a:p>
            <a:pPr marL="428625" indent="-428625">
              <a:buFont typeface="Arial" panose="020B0604020202020204" pitchFamily="34" charset="0"/>
              <a:buChar char="•"/>
            </a:pPr>
            <a:r>
              <a:rPr lang="en-US" dirty="0"/>
              <a:t>Paa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7226593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ocumentDB</a:t>
            </a:r>
            <a:r>
              <a:rPr lang="en-US" dirty="0"/>
              <a:t> Programming Options</a:t>
            </a:r>
          </a:p>
        </p:txBody>
      </p:sp>
      <p:sp>
        <p:nvSpPr>
          <p:cNvPr id="5" name="Content Placeholder 4"/>
          <p:cNvSpPr>
            <a:spLocks noGrp="1"/>
          </p:cNvSpPr>
          <p:nvPr>
            <p:ph idx="1"/>
          </p:nvPr>
        </p:nvSpPr>
        <p:spPr/>
        <p:txBody>
          <a:bodyPr/>
          <a:lstStyle/>
          <a:p>
            <a:r>
              <a:rPr lang="en-US" dirty="0"/>
              <a:t>Server-side programming options</a:t>
            </a:r>
          </a:p>
          <a:p>
            <a:r>
              <a:rPr lang="en-US" dirty="0"/>
              <a:t>Stored procs, triggers, &amp; user-defined functions </a:t>
            </a:r>
          </a:p>
          <a:p>
            <a:r>
              <a:rPr lang="en-US" dirty="0"/>
              <a:t>Written in JavaScript</a:t>
            </a:r>
          </a:p>
          <a:p>
            <a:r>
              <a:rPr lang="en-US" sz="2100" dirty="0">
                <a:hlinkClick r:id="rId3"/>
              </a:rPr>
              <a:t>https://docs.microsoft.com/en-us/azure/cosmos-db/programming</a:t>
            </a:r>
            <a:r>
              <a:rPr lang="en-US" sz="2100" dirty="0"/>
              <a:t> </a:t>
            </a:r>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8650510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DocumentDB</a:t>
            </a:r>
            <a:r>
              <a:rPr lang="en-US" dirty="0"/>
              <a:t> Resources</a:t>
            </a:r>
          </a:p>
        </p:txBody>
      </p:sp>
      <p:sp>
        <p:nvSpPr>
          <p:cNvPr id="3" name="Content Placeholder 2"/>
          <p:cNvSpPr>
            <a:spLocks noGrp="1"/>
          </p:cNvSpPr>
          <p:nvPr>
            <p:ph idx="1"/>
          </p:nvPr>
        </p:nvSpPr>
        <p:spPr/>
        <p:txBody>
          <a:bodyPr/>
          <a:lstStyle/>
          <a:p>
            <a:r>
              <a:rPr lang="en-US" dirty="0"/>
              <a:t>Stored Proc Programming Video</a:t>
            </a:r>
          </a:p>
          <a:p>
            <a:pPr lvl="1"/>
            <a:r>
              <a:rPr lang="en-US" sz="2100" dirty="0">
                <a:hlinkClick r:id="rId3"/>
              </a:rPr>
              <a:t>https://docs.microsoft.com/en-us/azure/cosmos-db/programming</a:t>
            </a:r>
            <a:r>
              <a:rPr lang="en-US" sz="2100" dirty="0"/>
              <a:t> </a:t>
            </a:r>
            <a:endParaRPr lang="en-US" dirty="0"/>
          </a:p>
          <a:p>
            <a:r>
              <a:rPr lang="en-US" dirty="0" err="1"/>
              <a:t>DocumentDB</a:t>
            </a:r>
            <a:r>
              <a:rPr lang="en-US" dirty="0"/>
              <a:t> vs MongoDB</a:t>
            </a:r>
          </a:p>
          <a:p>
            <a:pPr lvl="1"/>
            <a:r>
              <a:rPr lang="en-US" sz="1500" dirty="0">
                <a:hlinkClick r:id="rId4"/>
              </a:rPr>
              <a:t>https://medium.com/@th0maswe1ss/azure-documentdb-vs-mongodb-6d5806c16239</a:t>
            </a:r>
            <a:r>
              <a:rPr lang="en-US" sz="1500" dirty="0"/>
              <a:t> </a:t>
            </a:r>
            <a:endParaRPr lang="en-US" dirty="0"/>
          </a:p>
          <a:p>
            <a:r>
              <a:rPr lang="en-US" dirty="0"/>
              <a:t>Getting Started</a:t>
            </a:r>
          </a:p>
          <a:p>
            <a:r>
              <a:rPr lang="en-US" sz="1800" dirty="0">
                <a:hlinkClick r:id="rId5"/>
              </a:rPr>
              <a:t>https://docs.microsoft.com/en-us/azure/cosmos-db/documentdb-get-started</a:t>
            </a:r>
            <a:endParaRPr lang="en-US" sz="1800" dirty="0"/>
          </a:p>
          <a:p>
            <a:endParaRPr lang="en-US" sz="1800" dirty="0"/>
          </a:p>
        </p:txBody>
      </p:sp>
    </p:spTree>
    <p:extLst>
      <p:ext uri="{BB962C8B-B14F-4D97-AF65-F5344CB8AC3E}">
        <p14:creationId xmlns:p14="http://schemas.microsoft.com/office/powerpoint/2010/main" val="30299331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CosmosDb</a:t>
            </a:r>
            <a:r>
              <a:rPr lang="en-US" dirty="0"/>
              <a:t> </a:t>
            </a:r>
            <a:r>
              <a:rPr lang="en-US" dirty="0" err="1"/>
              <a:t>KeyWords</a:t>
            </a:r>
            <a:endParaRPr lang="en-US" dirty="0"/>
          </a:p>
        </p:txBody>
      </p:sp>
      <p:sp>
        <p:nvSpPr>
          <p:cNvPr id="3" name="Content Placeholder 2"/>
          <p:cNvSpPr>
            <a:spLocks noGrp="1"/>
          </p:cNvSpPr>
          <p:nvPr>
            <p:ph idx="1"/>
          </p:nvPr>
        </p:nvSpPr>
        <p:spPr>
          <a:xfrm>
            <a:off x="4400704" y="1895477"/>
            <a:ext cx="4061579" cy="3972732"/>
          </a:xfrm>
        </p:spPr>
        <p:txBody>
          <a:bodyPr>
            <a:normAutofit/>
          </a:bodyPr>
          <a:lstStyle/>
          <a:p>
            <a:pPr marL="428625" indent="-428625">
              <a:buFont typeface="Arial" panose="020B0604020202020204" pitchFamily="34" charset="0"/>
              <a:buChar char="•"/>
            </a:pPr>
            <a:r>
              <a:rPr lang="en-US" dirty="0"/>
              <a:t>Indexing Policy</a:t>
            </a:r>
          </a:p>
          <a:p>
            <a:pPr marL="428625" indent="-428625">
              <a:buFont typeface="Arial" panose="020B0604020202020204" pitchFamily="34" charset="0"/>
              <a:buChar char="•"/>
            </a:pPr>
            <a:r>
              <a:rPr lang="en-US" dirty="0"/>
              <a:t>Partition Key</a:t>
            </a:r>
          </a:p>
          <a:p>
            <a:pPr marL="428625" indent="-428625">
              <a:buFont typeface="Arial" panose="020B0604020202020204" pitchFamily="34" charset="0"/>
              <a:buChar char="•"/>
            </a:pPr>
            <a:r>
              <a:rPr lang="en-US" dirty="0"/>
              <a:t>Row Key</a:t>
            </a:r>
          </a:p>
          <a:p>
            <a:pPr marL="428625" indent="-428625">
              <a:buFont typeface="Arial" panose="020B0604020202020204" pitchFamily="34" charset="0"/>
              <a:buChar char="•"/>
            </a:pPr>
            <a:endParaRPr lang="en-US" dirty="0"/>
          </a:p>
          <a:p>
            <a:pPr marL="428625" indent="-428625">
              <a:buFont typeface="Arial" panose="020B0604020202020204" pitchFamily="34" charset="0"/>
              <a:buChar char="•"/>
            </a:pPr>
            <a:endParaRPr lang="en-US" dirty="0"/>
          </a:p>
          <a:p>
            <a:pPr lvl="1"/>
            <a:endParaRPr lang="en-US" dirty="0"/>
          </a:p>
        </p:txBody>
      </p:sp>
      <p:sp>
        <p:nvSpPr>
          <p:cNvPr id="5" name="Content Placeholder 2"/>
          <p:cNvSpPr txBox="1">
            <a:spLocks/>
          </p:cNvSpPr>
          <p:nvPr/>
        </p:nvSpPr>
        <p:spPr>
          <a:xfrm>
            <a:off x="265493" y="1895477"/>
            <a:ext cx="4061579" cy="3972732"/>
          </a:xfrm>
          <a:prstGeom prst="rect">
            <a:avLst/>
          </a:prstGeom>
        </p:spPr>
        <p:txBody>
          <a:bodyPr vert="horz" lIns="68580" tIns="34290" rIns="68580" bIns="3429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Request Unit(RU)</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Key-Value Pair</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No SQL</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Schema less</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ARS (atoms, records and sequences) </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Master Key</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PreferredLocations</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Collection</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Connection String</a:t>
            </a:r>
          </a:p>
          <a:p>
            <a:pPr marL="428625" indent="-428625" defTabSz="685800" fontAlgn="auto">
              <a:spcBef>
                <a:spcPts val="750"/>
              </a:spcBef>
              <a:spcAft>
                <a:spcPts val="0"/>
              </a:spcAft>
              <a:buFont typeface="Arial" panose="020B0604020202020204" pitchFamily="34" charset="0"/>
              <a:buChar char="•"/>
              <a:defRPr/>
            </a:pPr>
            <a:endParaRPr lang="en-US" sz="2700" b="0">
              <a:solidFill>
                <a:prstClr val="black"/>
              </a:solidFill>
              <a:latin typeface="Calibri" panose="020F0502020204030204"/>
            </a:endParaRPr>
          </a:p>
          <a:p>
            <a:pPr marL="342900" lvl="1" defTabSz="685800" fontAlgn="auto">
              <a:spcBef>
                <a:spcPts val="375"/>
              </a:spcBef>
              <a:spcAft>
                <a:spcPts val="0"/>
              </a:spcAft>
              <a:defRPr/>
            </a:pPr>
            <a:endParaRPr lang="en-US" sz="2400" b="0" dirty="0">
              <a:solidFill>
                <a:prstClr val="black"/>
              </a:solidFill>
              <a:latin typeface="Calibri" panose="020F0502020204030204"/>
            </a:endParaRPr>
          </a:p>
        </p:txBody>
      </p:sp>
    </p:spTree>
    <p:extLst>
      <p:ext uri="{BB962C8B-B14F-4D97-AF65-F5344CB8AC3E}">
        <p14:creationId xmlns:p14="http://schemas.microsoft.com/office/powerpoint/2010/main" val="28466480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33" name="Rectangle 9332">
            <a:extLst>
              <a:ext uri="{FF2B5EF4-FFF2-40B4-BE49-F238E27FC236}">
                <a16:creationId xmlns:a16="http://schemas.microsoft.com/office/drawing/2014/main" id="{899232E6-A91C-4A69-B0FE-15390D3872B8}"/>
              </a:ext>
            </a:extLst>
          </p:cNvPr>
          <p:cNvSpPr/>
          <p:nvPr/>
        </p:nvSpPr>
        <p:spPr bwMode="auto">
          <a:xfrm>
            <a:off x="0" y="1748205"/>
            <a:ext cx="9149380" cy="42521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solidFill>
                <a:srgbClr val="FFFFFF"/>
              </a:solidFill>
              <a:latin typeface="Segoe UI Semilight"/>
              <a:ea typeface="Segoe UI" pitchFamily="34" charset="0"/>
              <a:cs typeface="Segoe UI" pitchFamily="34" charset="0"/>
            </a:endParaRPr>
          </a:p>
        </p:txBody>
      </p:sp>
      <p:sp>
        <p:nvSpPr>
          <p:cNvPr id="9329" name="Title 9328">
            <a:extLst>
              <a:ext uri="{FF2B5EF4-FFF2-40B4-BE49-F238E27FC236}">
                <a16:creationId xmlns:a16="http://schemas.microsoft.com/office/drawing/2014/main" id="{A68E6FBD-4E96-44C3-8500-B0720DF0A318}"/>
              </a:ext>
            </a:extLst>
          </p:cNvPr>
          <p:cNvSpPr>
            <a:spLocks noGrp="1"/>
          </p:cNvSpPr>
          <p:nvPr>
            <p:ph type="title"/>
          </p:nvPr>
        </p:nvSpPr>
        <p:spPr/>
        <p:txBody>
          <a:bodyPr/>
          <a:lstStyle/>
          <a:p>
            <a:r>
              <a:rPr lang="en-US" dirty="0"/>
              <a:t>IoT and Telematics Solution Architecture</a:t>
            </a:r>
          </a:p>
        </p:txBody>
      </p:sp>
      <p:sp>
        <p:nvSpPr>
          <p:cNvPr id="9334" name="TextBox 9333">
            <a:extLst>
              <a:ext uri="{FF2B5EF4-FFF2-40B4-BE49-F238E27FC236}">
                <a16:creationId xmlns:a16="http://schemas.microsoft.com/office/drawing/2014/main" id="{B7AB8B02-999A-4C3B-AF33-C39BDCB9C328}"/>
              </a:ext>
            </a:extLst>
          </p:cNvPr>
          <p:cNvSpPr txBox="1"/>
          <p:nvPr/>
        </p:nvSpPr>
        <p:spPr>
          <a:xfrm>
            <a:off x="3899985" y="26620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IoT Hub</a:t>
            </a:r>
          </a:p>
        </p:txBody>
      </p:sp>
      <p:sp>
        <p:nvSpPr>
          <p:cNvPr id="152" name="TextBox 151">
            <a:extLst>
              <a:ext uri="{FF2B5EF4-FFF2-40B4-BE49-F238E27FC236}">
                <a16:creationId xmlns:a16="http://schemas.microsoft.com/office/drawing/2014/main" id="{A6F4B0CE-9E80-47EF-8B83-A1B308DB6608}"/>
              </a:ext>
            </a:extLst>
          </p:cNvPr>
          <p:cNvSpPr txBox="1"/>
          <p:nvPr/>
        </p:nvSpPr>
        <p:spPr>
          <a:xfrm>
            <a:off x="5668835" y="26620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pache Storm on</a:t>
            </a:r>
            <a:br>
              <a:rPr lang="en-US" sz="1029" b="0" dirty="0">
                <a:solidFill>
                  <a:srgbClr val="FFFFFF"/>
                </a:solidFill>
                <a:latin typeface="Segoe UI Semilight"/>
                <a:cs typeface="+mn-cs"/>
              </a:rPr>
            </a:br>
            <a:r>
              <a:rPr lang="en-US" sz="1029" b="0" dirty="0">
                <a:solidFill>
                  <a:srgbClr val="FFFFFF"/>
                </a:solidFill>
                <a:latin typeface="Segoe UI Semilight"/>
                <a:cs typeface="+mn-cs"/>
              </a:rPr>
              <a:t>Azure HDInsight</a:t>
            </a:r>
          </a:p>
        </p:txBody>
      </p:sp>
      <p:sp>
        <p:nvSpPr>
          <p:cNvPr id="153" name="TextBox 152">
            <a:extLst>
              <a:ext uri="{FF2B5EF4-FFF2-40B4-BE49-F238E27FC236}">
                <a16:creationId xmlns:a16="http://schemas.microsoft.com/office/drawing/2014/main" id="{2A42EDF1-23B9-4AE7-826E-30ECE2694112}"/>
              </a:ext>
            </a:extLst>
          </p:cNvPr>
          <p:cNvSpPr txBox="1"/>
          <p:nvPr/>
        </p:nvSpPr>
        <p:spPr>
          <a:xfrm>
            <a:off x="7409517" y="404688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Telemetry &amp; device state)</a:t>
            </a:r>
          </a:p>
        </p:txBody>
      </p:sp>
      <p:sp>
        <p:nvSpPr>
          <p:cNvPr id="154" name="TextBox 153">
            <a:extLst>
              <a:ext uri="{FF2B5EF4-FFF2-40B4-BE49-F238E27FC236}">
                <a16:creationId xmlns:a16="http://schemas.microsoft.com/office/drawing/2014/main" id="{96BAEA1F-AF4E-4166-AC56-5064E4B501B3}"/>
              </a:ext>
            </a:extLst>
          </p:cNvPr>
          <p:cNvSpPr txBox="1"/>
          <p:nvPr/>
        </p:nvSpPr>
        <p:spPr>
          <a:xfrm>
            <a:off x="7409517" y="26620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Web Jobs</a:t>
            </a:r>
            <a:br>
              <a:rPr lang="en-US" sz="1029" b="0" dirty="0">
                <a:solidFill>
                  <a:srgbClr val="FFFFFF"/>
                </a:solidFill>
                <a:latin typeface="Segoe UI Semilight"/>
                <a:cs typeface="+mn-cs"/>
              </a:rPr>
            </a:br>
            <a:r>
              <a:rPr lang="en-US" sz="1029" b="0" dirty="0">
                <a:solidFill>
                  <a:srgbClr val="FFFFFF"/>
                </a:solidFill>
                <a:latin typeface="Segoe UI Semilight"/>
                <a:cs typeface="+mn-cs"/>
              </a:rPr>
              <a:t>(Change feed processor)</a:t>
            </a:r>
          </a:p>
        </p:txBody>
      </p:sp>
      <p:sp>
        <p:nvSpPr>
          <p:cNvPr id="155" name="TextBox 154">
            <a:extLst>
              <a:ext uri="{FF2B5EF4-FFF2-40B4-BE49-F238E27FC236}">
                <a16:creationId xmlns:a16="http://schemas.microsoft.com/office/drawing/2014/main" id="{48518198-D3F9-447A-94A4-084496A47C51}"/>
              </a:ext>
            </a:extLst>
          </p:cNvPr>
          <p:cNvSpPr txBox="1"/>
          <p:nvPr/>
        </p:nvSpPr>
        <p:spPr>
          <a:xfrm>
            <a:off x="7510663" y="5641641"/>
            <a:ext cx="627026" cy="142540"/>
          </a:xfrm>
          <a:prstGeom prst="rect">
            <a:avLst/>
          </a:prstGeom>
          <a:noFill/>
        </p:spPr>
        <p:txBody>
          <a:bodyPr wrap="square" lIns="0" tIns="0" rIns="0" bIns="0" rtlCol="0">
            <a:sp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Logic Apps</a:t>
            </a:r>
          </a:p>
        </p:txBody>
      </p:sp>
      <p:sp>
        <p:nvSpPr>
          <p:cNvPr id="156" name="TextBox 155">
            <a:extLst>
              <a:ext uri="{FF2B5EF4-FFF2-40B4-BE49-F238E27FC236}">
                <a16:creationId xmlns:a16="http://schemas.microsoft.com/office/drawing/2014/main" id="{60F149A6-349A-439F-85FD-E2B269ADDDB5}"/>
              </a:ext>
            </a:extLst>
          </p:cNvPr>
          <p:cNvSpPr txBox="1"/>
          <p:nvPr/>
        </p:nvSpPr>
        <p:spPr>
          <a:xfrm>
            <a:off x="5668835" y="4330571"/>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torage</a:t>
            </a:r>
            <a:br>
              <a:rPr lang="en-US" sz="1029" b="0" dirty="0">
                <a:solidFill>
                  <a:srgbClr val="FFFFFF"/>
                </a:solidFill>
                <a:latin typeface="Segoe UI Semilight"/>
                <a:cs typeface="+mn-cs"/>
              </a:rPr>
            </a:br>
            <a:r>
              <a:rPr lang="en-US" sz="1029" b="0" dirty="0">
                <a:solidFill>
                  <a:srgbClr val="FFFFFF"/>
                </a:solidFill>
                <a:latin typeface="Segoe UI Semilight"/>
                <a:cs typeface="+mn-cs"/>
              </a:rPr>
              <a:t>(archival)</a:t>
            </a:r>
          </a:p>
        </p:txBody>
      </p:sp>
      <p:pic>
        <p:nvPicPr>
          <p:cNvPr id="26" name="Graphic 25">
            <a:extLst>
              <a:ext uri="{FF2B5EF4-FFF2-40B4-BE49-F238E27FC236}">
                <a16:creationId xmlns:a16="http://schemas.microsoft.com/office/drawing/2014/main" id="{66F0E42C-7DF3-434B-B7F9-AF4B7A39C9E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52443" r="33185" b="80206"/>
          <a:stretch/>
        </p:blipFill>
        <p:spPr>
          <a:xfrm>
            <a:off x="5726663" y="2017629"/>
            <a:ext cx="702919" cy="579175"/>
          </a:xfrm>
          <a:prstGeom prst="rect">
            <a:avLst/>
          </a:prstGeom>
        </p:spPr>
      </p:pic>
      <p:pic>
        <p:nvPicPr>
          <p:cNvPr id="5" name="Picture 4">
            <a:extLst>
              <a:ext uri="{FF2B5EF4-FFF2-40B4-BE49-F238E27FC236}">
                <a16:creationId xmlns:a16="http://schemas.microsoft.com/office/drawing/2014/main" id="{63811FA4-C443-4DFA-966D-11194493CE17}"/>
              </a:ext>
            </a:extLst>
          </p:cNvPr>
          <p:cNvPicPr>
            <a:picLocks noChangeAspect="1"/>
          </p:cNvPicPr>
          <p:nvPr/>
        </p:nvPicPr>
        <p:blipFill>
          <a:blip r:embed="rId5"/>
          <a:stretch>
            <a:fillRect/>
          </a:stretch>
        </p:blipFill>
        <p:spPr>
          <a:xfrm>
            <a:off x="2529501" y="2006319"/>
            <a:ext cx="453899" cy="601798"/>
          </a:xfrm>
          <a:prstGeom prst="rect">
            <a:avLst/>
          </a:prstGeom>
        </p:spPr>
      </p:pic>
      <p:pic>
        <p:nvPicPr>
          <p:cNvPr id="7" name="Picture 6">
            <a:extLst>
              <a:ext uri="{FF2B5EF4-FFF2-40B4-BE49-F238E27FC236}">
                <a16:creationId xmlns:a16="http://schemas.microsoft.com/office/drawing/2014/main" id="{A945E69D-F5A2-48AF-A91D-07D695A5F723}"/>
              </a:ext>
            </a:extLst>
          </p:cNvPr>
          <p:cNvPicPr>
            <a:picLocks noChangeAspect="1"/>
          </p:cNvPicPr>
          <p:nvPr/>
        </p:nvPicPr>
        <p:blipFill>
          <a:blip r:embed="rId6"/>
          <a:stretch>
            <a:fillRect/>
          </a:stretch>
        </p:blipFill>
        <p:spPr>
          <a:xfrm>
            <a:off x="4012119" y="1991200"/>
            <a:ext cx="685825" cy="632035"/>
          </a:xfrm>
          <a:prstGeom prst="rect">
            <a:avLst/>
          </a:prstGeom>
        </p:spPr>
      </p:pic>
      <p:pic>
        <p:nvPicPr>
          <p:cNvPr id="8" name="Picture 7">
            <a:extLst>
              <a:ext uri="{FF2B5EF4-FFF2-40B4-BE49-F238E27FC236}">
                <a16:creationId xmlns:a16="http://schemas.microsoft.com/office/drawing/2014/main" id="{EE6E9ABE-19DB-4A06-95E0-330AE8654980}"/>
              </a:ext>
            </a:extLst>
          </p:cNvPr>
          <p:cNvPicPr>
            <a:picLocks noChangeAspect="1"/>
          </p:cNvPicPr>
          <p:nvPr/>
        </p:nvPicPr>
        <p:blipFill>
          <a:blip r:embed="rId7"/>
          <a:stretch>
            <a:fillRect/>
          </a:stretch>
        </p:blipFill>
        <p:spPr>
          <a:xfrm>
            <a:off x="7458300" y="1982120"/>
            <a:ext cx="721009" cy="650193"/>
          </a:xfrm>
          <a:prstGeom prst="rect">
            <a:avLst/>
          </a:prstGeom>
        </p:spPr>
      </p:pic>
      <p:pic>
        <p:nvPicPr>
          <p:cNvPr id="9" name="Picture 8">
            <a:extLst>
              <a:ext uri="{FF2B5EF4-FFF2-40B4-BE49-F238E27FC236}">
                <a16:creationId xmlns:a16="http://schemas.microsoft.com/office/drawing/2014/main" id="{071C22D3-323F-46D5-8F81-3A8CB4BD2682}"/>
              </a:ext>
            </a:extLst>
          </p:cNvPr>
          <p:cNvPicPr>
            <a:picLocks noChangeAspect="1"/>
          </p:cNvPicPr>
          <p:nvPr/>
        </p:nvPicPr>
        <p:blipFill>
          <a:blip r:embed="rId8"/>
          <a:stretch>
            <a:fillRect/>
          </a:stretch>
        </p:blipFill>
        <p:spPr>
          <a:xfrm>
            <a:off x="7499919" y="3468726"/>
            <a:ext cx="637771" cy="615778"/>
          </a:xfrm>
          <a:prstGeom prst="rect">
            <a:avLst/>
          </a:prstGeom>
        </p:spPr>
      </p:pic>
      <p:pic>
        <p:nvPicPr>
          <p:cNvPr id="10" name="Picture 9">
            <a:extLst>
              <a:ext uri="{FF2B5EF4-FFF2-40B4-BE49-F238E27FC236}">
                <a16:creationId xmlns:a16="http://schemas.microsoft.com/office/drawing/2014/main" id="{2DECADA1-D1FE-4A06-B654-2198F95EF1E0}"/>
              </a:ext>
            </a:extLst>
          </p:cNvPr>
          <p:cNvPicPr>
            <a:picLocks noChangeAspect="1"/>
          </p:cNvPicPr>
          <p:nvPr/>
        </p:nvPicPr>
        <p:blipFill>
          <a:blip r:embed="rId9"/>
          <a:stretch>
            <a:fillRect/>
          </a:stretch>
        </p:blipFill>
        <p:spPr>
          <a:xfrm>
            <a:off x="7522238" y="5028171"/>
            <a:ext cx="593132" cy="495527"/>
          </a:xfrm>
          <a:prstGeom prst="rect">
            <a:avLst/>
          </a:prstGeom>
        </p:spPr>
      </p:pic>
      <p:pic>
        <p:nvPicPr>
          <p:cNvPr id="11" name="Picture 10">
            <a:extLst>
              <a:ext uri="{FF2B5EF4-FFF2-40B4-BE49-F238E27FC236}">
                <a16:creationId xmlns:a16="http://schemas.microsoft.com/office/drawing/2014/main" id="{0D7442B6-7990-4414-A734-D0F4B42AB8E1}"/>
              </a:ext>
            </a:extLst>
          </p:cNvPr>
          <p:cNvPicPr>
            <a:picLocks noChangeAspect="1"/>
          </p:cNvPicPr>
          <p:nvPr/>
        </p:nvPicPr>
        <p:blipFill>
          <a:blip r:embed="rId10"/>
          <a:stretch>
            <a:fillRect/>
          </a:stretch>
        </p:blipFill>
        <p:spPr>
          <a:xfrm>
            <a:off x="5690370" y="3651763"/>
            <a:ext cx="775503" cy="624921"/>
          </a:xfrm>
          <a:prstGeom prst="rect">
            <a:avLst/>
          </a:prstGeom>
        </p:spPr>
      </p:pic>
      <p:sp>
        <p:nvSpPr>
          <p:cNvPr id="12" name="Rectangle 11">
            <a:extLst>
              <a:ext uri="{FF2B5EF4-FFF2-40B4-BE49-F238E27FC236}">
                <a16:creationId xmlns:a16="http://schemas.microsoft.com/office/drawing/2014/main" id="{89B37605-C6B8-4473-8519-6E139212F4F1}"/>
              </a:ext>
            </a:extLst>
          </p:cNvPr>
          <p:cNvSpPr/>
          <p:nvPr/>
        </p:nvSpPr>
        <p:spPr bwMode="auto">
          <a:xfrm>
            <a:off x="3062507" y="2308469"/>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0" name="Rectangle 11">
            <a:extLst>
              <a:ext uri="{FF2B5EF4-FFF2-40B4-BE49-F238E27FC236}">
                <a16:creationId xmlns:a16="http://schemas.microsoft.com/office/drawing/2014/main" id="{5236C041-25E6-4B89-9C4C-791B27D65FDE}"/>
              </a:ext>
            </a:extLst>
          </p:cNvPr>
          <p:cNvSpPr/>
          <p:nvPr/>
        </p:nvSpPr>
        <p:spPr bwMode="auto">
          <a:xfrm>
            <a:off x="4777051" y="2308469"/>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4" name="Rectangle 11">
            <a:extLst>
              <a:ext uri="{FF2B5EF4-FFF2-40B4-BE49-F238E27FC236}">
                <a16:creationId xmlns:a16="http://schemas.microsoft.com/office/drawing/2014/main" id="{7344FE1A-CAFB-4177-9EB4-993DD18A66AB}"/>
              </a:ext>
            </a:extLst>
          </p:cNvPr>
          <p:cNvSpPr/>
          <p:nvPr/>
        </p:nvSpPr>
        <p:spPr bwMode="auto">
          <a:xfrm>
            <a:off x="6508689" y="2308469"/>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5" name="Rectangle 11">
            <a:extLst>
              <a:ext uri="{FF2B5EF4-FFF2-40B4-BE49-F238E27FC236}">
                <a16:creationId xmlns:a16="http://schemas.microsoft.com/office/drawing/2014/main" id="{D129C0BC-F64F-4A21-A59B-9323E94451CA}"/>
              </a:ext>
            </a:extLst>
          </p:cNvPr>
          <p:cNvSpPr/>
          <p:nvPr/>
        </p:nvSpPr>
        <p:spPr bwMode="auto">
          <a:xfrm rot="5400000">
            <a:off x="7586229" y="3216099"/>
            <a:ext cx="470623"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6" name="Rectangle 11">
            <a:extLst>
              <a:ext uri="{FF2B5EF4-FFF2-40B4-BE49-F238E27FC236}">
                <a16:creationId xmlns:a16="http://schemas.microsoft.com/office/drawing/2014/main" id="{B4301D0D-3DEE-4CD4-AE00-2E9CF932F483}"/>
              </a:ext>
            </a:extLst>
          </p:cNvPr>
          <p:cNvSpPr/>
          <p:nvPr/>
        </p:nvSpPr>
        <p:spPr bwMode="auto">
          <a:xfrm rot="5400000">
            <a:off x="7552613" y="4677252"/>
            <a:ext cx="53785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7" name="Rectangle 11">
            <a:extLst>
              <a:ext uri="{FF2B5EF4-FFF2-40B4-BE49-F238E27FC236}">
                <a16:creationId xmlns:a16="http://schemas.microsoft.com/office/drawing/2014/main" id="{29100C76-EC2C-4507-BDA3-2DD50F5F00F4}"/>
              </a:ext>
            </a:extLst>
          </p:cNvPr>
          <p:cNvSpPr/>
          <p:nvPr/>
        </p:nvSpPr>
        <p:spPr bwMode="auto">
          <a:xfrm rot="5400000">
            <a:off x="5741963" y="331694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23" name="Rectangle 22">
            <a:extLst>
              <a:ext uri="{FF2B5EF4-FFF2-40B4-BE49-F238E27FC236}">
                <a16:creationId xmlns:a16="http://schemas.microsoft.com/office/drawing/2014/main" id="{CE1B65E8-3743-401B-BC63-C89199382B5F}"/>
              </a:ext>
            </a:extLst>
          </p:cNvPr>
          <p:cNvSpPr/>
          <p:nvPr/>
        </p:nvSpPr>
        <p:spPr bwMode="auto">
          <a:xfrm>
            <a:off x="6757036" y="2421385"/>
            <a:ext cx="735812" cy="1339277"/>
          </a:xfrm>
          <a:custGeom>
            <a:avLst/>
            <a:gdLst>
              <a:gd name="connsiteX0" fmla="*/ 0 w 1324847"/>
              <a:gd name="connsiteY0" fmla="*/ 0 h 1814669"/>
              <a:gd name="connsiteX1" fmla="*/ 1324847 w 1324847"/>
              <a:gd name="connsiteY1" fmla="*/ 0 h 1814669"/>
              <a:gd name="connsiteX2" fmla="*/ 1324847 w 1324847"/>
              <a:gd name="connsiteY2" fmla="*/ 1814669 h 1814669"/>
              <a:gd name="connsiteX3" fmla="*/ 0 w 1324847"/>
              <a:gd name="connsiteY3" fmla="*/ 1814669 h 1814669"/>
              <a:gd name="connsiteX4" fmla="*/ 0 w 1324847"/>
              <a:gd name="connsiteY4" fmla="*/ 0 h 1814669"/>
              <a:gd name="connsiteX0" fmla="*/ 1324847 w 1416287"/>
              <a:gd name="connsiteY0" fmla="*/ 1814669 h 1906109"/>
              <a:gd name="connsiteX1" fmla="*/ 0 w 1416287"/>
              <a:gd name="connsiteY1" fmla="*/ 1814669 h 1906109"/>
              <a:gd name="connsiteX2" fmla="*/ 0 w 1416287"/>
              <a:gd name="connsiteY2" fmla="*/ 0 h 1906109"/>
              <a:gd name="connsiteX3" fmla="*/ 1324847 w 1416287"/>
              <a:gd name="connsiteY3" fmla="*/ 0 h 1906109"/>
              <a:gd name="connsiteX4" fmla="*/ 1416287 w 1416287"/>
              <a:gd name="connsiteY4" fmla="*/ 1906109 h 1906109"/>
              <a:gd name="connsiteX0" fmla="*/ 1324847 w 1324847"/>
              <a:gd name="connsiteY0" fmla="*/ 1814669 h 1814669"/>
              <a:gd name="connsiteX1" fmla="*/ 0 w 1324847"/>
              <a:gd name="connsiteY1" fmla="*/ 1814669 h 1814669"/>
              <a:gd name="connsiteX2" fmla="*/ 0 w 1324847"/>
              <a:gd name="connsiteY2" fmla="*/ 0 h 1814669"/>
              <a:gd name="connsiteX3" fmla="*/ 1324847 w 1324847"/>
              <a:gd name="connsiteY3" fmla="*/ 0 h 1814669"/>
              <a:gd name="connsiteX0" fmla="*/ 1324847 w 1324847"/>
              <a:gd name="connsiteY0" fmla="*/ 1814669 h 1814669"/>
              <a:gd name="connsiteX1" fmla="*/ 0 w 1324847"/>
              <a:gd name="connsiteY1" fmla="*/ 1814669 h 1814669"/>
              <a:gd name="connsiteX2" fmla="*/ 0 w 1324847"/>
              <a:gd name="connsiteY2" fmla="*/ 0 h 1814669"/>
              <a:gd name="connsiteX3" fmla="*/ 780837 w 1324847"/>
              <a:gd name="connsiteY3" fmla="*/ 11574 h 1814669"/>
              <a:gd name="connsiteX0" fmla="*/ 1000756 w 1000756"/>
              <a:gd name="connsiteY0" fmla="*/ 1803094 h 1814669"/>
              <a:gd name="connsiteX1" fmla="*/ 0 w 1000756"/>
              <a:gd name="connsiteY1" fmla="*/ 1814669 h 1814669"/>
              <a:gd name="connsiteX2" fmla="*/ 0 w 1000756"/>
              <a:gd name="connsiteY2" fmla="*/ 0 h 1814669"/>
              <a:gd name="connsiteX3" fmla="*/ 780837 w 1000756"/>
              <a:gd name="connsiteY3" fmla="*/ 11574 h 1814669"/>
              <a:gd name="connsiteX0" fmla="*/ 1000756 w 1000756"/>
              <a:gd name="connsiteY0" fmla="*/ 1814380 h 1825955"/>
              <a:gd name="connsiteX1" fmla="*/ 0 w 1000756"/>
              <a:gd name="connsiteY1" fmla="*/ 1825955 h 1825955"/>
              <a:gd name="connsiteX2" fmla="*/ 0 w 1000756"/>
              <a:gd name="connsiteY2" fmla="*/ 11286 h 1825955"/>
              <a:gd name="connsiteX3" fmla="*/ 785917 w 1000756"/>
              <a:gd name="connsiteY3" fmla="*/ 0 h 1825955"/>
              <a:gd name="connsiteX0" fmla="*/ 1000756 w 1000756"/>
              <a:gd name="connsiteY0" fmla="*/ 1806760 h 1818335"/>
              <a:gd name="connsiteX1" fmla="*/ 0 w 1000756"/>
              <a:gd name="connsiteY1" fmla="*/ 1818335 h 1818335"/>
              <a:gd name="connsiteX2" fmla="*/ 0 w 1000756"/>
              <a:gd name="connsiteY2" fmla="*/ 3666 h 1818335"/>
              <a:gd name="connsiteX3" fmla="*/ 785917 w 1000756"/>
              <a:gd name="connsiteY3" fmla="*/ 0 h 181833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04220 h 1815795"/>
              <a:gd name="connsiteX1" fmla="*/ 0 w 1000756"/>
              <a:gd name="connsiteY1" fmla="*/ 1815795 h 1815795"/>
              <a:gd name="connsiteX2" fmla="*/ 0 w 1000756"/>
              <a:gd name="connsiteY2" fmla="*/ 1126 h 1815795"/>
              <a:gd name="connsiteX3" fmla="*/ 788457 w 1000756"/>
              <a:gd name="connsiteY3" fmla="*/ 0 h 181579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09935 h 1821510"/>
              <a:gd name="connsiteX1" fmla="*/ 0 w 1000756"/>
              <a:gd name="connsiteY1" fmla="*/ 1821510 h 1821510"/>
              <a:gd name="connsiteX2" fmla="*/ 0 w 1000756"/>
              <a:gd name="connsiteY2" fmla="*/ 6841 h 1821510"/>
              <a:gd name="connsiteX3" fmla="*/ 790362 w 1000756"/>
              <a:gd name="connsiteY3" fmla="*/ 0 h 1821510"/>
            </a:gdLst>
            <a:ahLst/>
            <a:cxnLst>
              <a:cxn ang="0">
                <a:pos x="connsiteX0" y="connsiteY0"/>
              </a:cxn>
              <a:cxn ang="0">
                <a:pos x="connsiteX1" y="connsiteY1"/>
              </a:cxn>
              <a:cxn ang="0">
                <a:pos x="connsiteX2" y="connsiteY2"/>
              </a:cxn>
              <a:cxn ang="0">
                <a:pos x="connsiteX3" y="connsiteY3"/>
              </a:cxn>
            </a:cxnLst>
            <a:rect l="l" t="t" r="r" b="b"/>
            <a:pathLst>
              <a:path w="1000756" h="1821510">
                <a:moveTo>
                  <a:pt x="1000756" y="1809935"/>
                </a:moveTo>
                <a:lnTo>
                  <a:pt x="0" y="1821510"/>
                </a:lnTo>
                <a:lnTo>
                  <a:pt x="0" y="6841"/>
                </a:lnTo>
                <a:lnTo>
                  <a:pt x="790362"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cs typeface="Segoe UI" pitchFamily="34" charset="0"/>
            </a:endParaRPr>
          </a:p>
        </p:txBody>
      </p:sp>
      <p:sp>
        <p:nvSpPr>
          <p:cNvPr id="32" name="Rectangle 31">
            <a:extLst>
              <a:ext uri="{FF2B5EF4-FFF2-40B4-BE49-F238E27FC236}">
                <a16:creationId xmlns:a16="http://schemas.microsoft.com/office/drawing/2014/main" id="{3568179B-8624-44F1-BFEF-B529A85B4BA5}"/>
              </a:ext>
            </a:extLst>
          </p:cNvPr>
          <p:cNvSpPr/>
          <p:nvPr/>
        </p:nvSpPr>
        <p:spPr bwMode="auto">
          <a:xfrm>
            <a:off x="4269164" y="3148868"/>
            <a:ext cx="3249540" cy="2228110"/>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cs typeface="Segoe UI" pitchFamily="34" charset="0"/>
            </a:endParaRPr>
          </a:p>
        </p:txBody>
      </p:sp>
      <p:grpSp>
        <p:nvGrpSpPr>
          <p:cNvPr id="35" name="Group 34">
            <a:extLst>
              <a:ext uri="{FF2B5EF4-FFF2-40B4-BE49-F238E27FC236}">
                <a16:creationId xmlns:a16="http://schemas.microsoft.com/office/drawing/2014/main" id="{48B2F827-E2A2-4A72-A101-BE641930D88B}"/>
              </a:ext>
            </a:extLst>
          </p:cNvPr>
          <p:cNvGrpSpPr/>
          <p:nvPr/>
        </p:nvGrpSpPr>
        <p:grpSpPr>
          <a:xfrm>
            <a:off x="344293" y="3765164"/>
            <a:ext cx="3667826" cy="997709"/>
            <a:chOff x="468261" y="3954463"/>
            <a:chExt cx="4988498" cy="1356953"/>
          </a:xfrm>
        </p:grpSpPr>
        <p:sp>
          <p:nvSpPr>
            <p:cNvPr id="53" name="Rectangle 52">
              <a:extLst>
                <a:ext uri="{FF2B5EF4-FFF2-40B4-BE49-F238E27FC236}">
                  <a16:creationId xmlns:a16="http://schemas.microsoft.com/office/drawing/2014/main" id="{5DF5BC02-83F6-4896-89BF-A667E3BBC57E}"/>
                </a:ext>
              </a:extLst>
            </p:cNvPr>
            <p:cNvSpPr/>
            <p:nvPr/>
          </p:nvSpPr>
          <p:spPr>
            <a:xfrm>
              <a:off x="1201270" y="3954463"/>
              <a:ext cx="4255489" cy="1356953"/>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Need to ingest massive volumes of diagnostic data from devices and take real-time actions as part of connected car platform</a:t>
              </a:r>
            </a:p>
          </p:txBody>
        </p:sp>
        <p:grpSp>
          <p:nvGrpSpPr>
            <p:cNvPr id="54" name="Group 53">
              <a:extLst>
                <a:ext uri="{FF2B5EF4-FFF2-40B4-BE49-F238E27FC236}">
                  <a16:creationId xmlns:a16="http://schemas.microsoft.com/office/drawing/2014/main" id="{30163455-42EC-4E26-A0A8-63F244A68864}"/>
                </a:ext>
              </a:extLst>
            </p:cNvPr>
            <p:cNvGrpSpPr/>
            <p:nvPr/>
          </p:nvGrpSpPr>
          <p:grpSpPr>
            <a:xfrm>
              <a:off x="468261" y="4478757"/>
              <a:ext cx="534340" cy="274850"/>
              <a:chOff x="467677" y="5956094"/>
              <a:chExt cx="534340" cy="274850"/>
            </a:xfrm>
          </p:grpSpPr>
          <p:sp>
            <p:nvSpPr>
              <p:cNvPr id="55" name="Oval 54">
                <a:extLst>
                  <a:ext uri="{FF2B5EF4-FFF2-40B4-BE49-F238E27FC236}">
                    <a16:creationId xmlns:a16="http://schemas.microsoft.com/office/drawing/2014/main" id="{9F3A29AE-7D9D-4DA0-925D-5712D97B70C7}"/>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56" name="Straight Connector 55">
                <a:extLst>
                  <a:ext uri="{FF2B5EF4-FFF2-40B4-BE49-F238E27FC236}">
                    <a16:creationId xmlns:a16="http://schemas.microsoft.com/office/drawing/2014/main" id="{3408D389-46FD-4679-B033-C6BC90B9146C}"/>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1082EFFA-3ADD-489F-8FD8-9844D2211AA8}"/>
              </a:ext>
            </a:extLst>
          </p:cNvPr>
          <p:cNvGrpSpPr/>
          <p:nvPr/>
        </p:nvGrpSpPr>
        <p:grpSpPr>
          <a:xfrm>
            <a:off x="344292" y="4916959"/>
            <a:ext cx="3387310" cy="771365"/>
            <a:chOff x="468261" y="5520991"/>
            <a:chExt cx="4606976" cy="1049110"/>
          </a:xfrm>
        </p:grpSpPr>
        <p:sp>
          <p:nvSpPr>
            <p:cNvPr id="58" name="Rectangle 57">
              <a:extLst>
                <a:ext uri="{FF2B5EF4-FFF2-40B4-BE49-F238E27FC236}">
                  <a16:creationId xmlns:a16="http://schemas.microsoft.com/office/drawing/2014/main" id="{E780325B-59FB-4729-B839-53CF24473779}"/>
                </a:ext>
              </a:extLst>
            </p:cNvPr>
            <p:cNvSpPr/>
            <p:nvPr/>
          </p:nvSpPr>
          <p:spPr>
            <a:xfrm>
              <a:off x="1201270" y="5520991"/>
              <a:ext cx="3873967" cy="1049110"/>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Management and operations of database infrastructure to handle exponential growth of data</a:t>
              </a:r>
            </a:p>
          </p:txBody>
        </p:sp>
        <p:grpSp>
          <p:nvGrpSpPr>
            <p:cNvPr id="59" name="Group 58">
              <a:extLst>
                <a:ext uri="{FF2B5EF4-FFF2-40B4-BE49-F238E27FC236}">
                  <a16:creationId xmlns:a16="http://schemas.microsoft.com/office/drawing/2014/main" id="{1A826C02-0441-4DAE-BD35-35BE1622FB9A}"/>
                </a:ext>
              </a:extLst>
            </p:cNvPr>
            <p:cNvGrpSpPr/>
            <p:nvPr/>
          </p:nvGrpSpPr>
          <p:grpSpPr>
            <a:xfrm>
              <a:off x="468261" y="5891397"/>
              <a:ext cx="534340" cy="274850"/>
              <a:chOff x="467677" y="5956094"/>
              <a:chExt cx="534340" cy="274850"/>
            </a:xfrm>
          </p:grpSpPr>
          <p:sp>
            <p:nvSpPr>
              <p:cNvPr id="60" name="Oval 59">
                <a:extLst>
                  <a:ext uri="{FF2B5EF4-FFF2-40B4-BE49-F238E27FC236}">
                    <a16:creationId xmlns:a16="http://schemas.microsoft.com/office/drawing/2014/main" id="{902EF4FB-F1B3-40AC-A413-76326789644F}"/>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61" name="Straight Connector 60">
                <a:extLst>
                  <a:ext uri="{FF2B5EF4-FFF2-40B4-BE49-F238E27FC236}">
                    <a16:creationId xmlns:a16="http://schemas.microsoft.com/office/drawing/2014/main" id="{44CD874F-7ED8-4E40-A982-E643C9F0BDFC}"/>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149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01930" y="2112327"/>
            <a:ext cx="8741880" cy="3598863"/>
          </a:xfrm>
        </p:spPr>
        <p:txBody>
          <a:bodyPr/>
          <a:lstStyle/>
          <a:p>
            <a:r>
              <a:rPr lang="en-GB" sz="3300" b="1" dirty="0"/>
              <a:t>Read</a:t>
            </a:r>
          </a:p>
          <a:p>
            <a:pPr marL="252109" lvl="1"/>
            <a:r>
              <a:rPr lang="en-US" sz="2100" dirty="0"/>
              <a:t>Azure Storage | </a:t>
            </a:r>
            <a:r>
              <a:rPr lang="en-US" sz="2100" dirty="0">
                <a:solidFill>
                  <a:srgbClr val="00BCF2"/>
                </a:solidFill>
              </a:rPr>
              <a:t>Share Access Signature </a:t>
            </a:r>
            <a:r>
              <a:rPr lang="en-US" sz="2100" dirty="0"/>
              <a:t>- </a:t>
            </a:r>
            <a:r>
              <a:rPr lang="en-US" sz="2100" dirty="0">
                <a:hlinkClick r:id="rId3"/>
              </a:rPr>
              <a:t>SAS</a:t>
            </a:r>
            <a:endParaRPr lang="en-US" sz="2100" dirty="0"/>
          </a:p>
          <a:p>
            <a:pPr marL="43186" lvl="1"/>
            <a:endParaRPr lang="en-US" sz="2400" dirty="0"/>
          </a:p>
          <a:p>
            <a:pPr marL="43186" lvl="1"/>
            <a:r>
              <a:rPr lang="en-US" sz="3300" b="1" dirty="0"/>
              <a:t>Download and Use: </a:t>
            </a:r>
          </a:p>
          <a:p>
            <a:pPr marL="43186" lvl="1"/>
            <a:r>
              <a:rPr lang="en-US" sz="2100" dirty="0"/>
              <a:t>Microsoft Azure Storage Explorer (Preview) is a standalone app from Microsoft that allows you to easily work with Azure Storage data on Windows, </a:t>
            </a:r>
            <a:r>
              <a:rPr lang="en-US" sz="2100" dirty="0" err="1"/>
              <a:t>macOS</a:t>
            </a:r>
            <a:r>
              <a:rPr lang="en-US" sz="2100" dirty="0"/>
              <a:t> and Linux. </a:t>
            </a:r>
            <a:r>
              <a:rPr lang="en-US" sz="2100" dirty="0">
                <a:hlinkClick r:id="rId4"/>
              </a:rPr>
              <a:t>http://storageexplorer.com/</a:t>
            </a:r>
            <a:r>
              <a:rPr lang="en-US" sz="2100" dirty="0"/>
              <a:t> </a:t>
            </a:r>
          </a:p>
          <a:p>
            <a:r>
              <a:rPr lang="en-GB" sz="4050" dirty="0"/>
              <a:t> </a:t>
            </a:r>
          </a:p>
          <a:p>
            <a:endParaRPr lang="en-GB" sz="4050"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727B0A4D-DEFB-404D-A1C8-4FDF7E85FDFF}"/>
              </a:ext>
            </a:extLst>
          </p:cNvPr>
          <p:cNvGraphicFramePr>
            <a:graphicFrameLocks noChangeAspect="1"/>
          </p:cNvGraphicFramePr>
          <p:nvPr>
            <p:custDataLst>
              <p:tags r:id="rId2"/>
            </p:custDataLst>
            <p:extLst/>
          </p:nvPr>
        </p:nvGraphicFramePr>
        <p:xfrm>
          <a:off x="1169" y="858783"/>
          <a:ext cx="1167" cy="1167"/>
        </p:xfrm>
        <a:graphic>
          <a:graphicData uri="http://schemas.openxmlformats.org/presentationml/2006/ole">
            <mc:AlternateContent xmlns:mc="http://schemas.openxmlformats.org/markup-compatibility/2006">
              <mc:Choice xmlns:v="urn:schemas-microsoft-com:vml" Requires="v">
                <p:oleObj spid="_x0000_s9220" name="think-cell Slide" r:id="rId5" imgW="425" imgH="424" progId="TCLayout.ActiveDocument.1">
                  <p:embed/>
                </p:oleObj>
              </mc:Choice>
              <mc:Fallback>
                <p:oleObj name="think-cell Slide" r:id="rId5" imgW="425" imgH="424" progId="TCLayout.ActiveDocument.1">
                  <p:embed/>
                  <p:pic>
                    <p:nvPicPr>
                      <p:cNvPr id="42" name="Object 41" hidden="1">
                        <a:extLst>
                          <a:ext uri="{FF2B5EF4-FFF2-40B4-BE49-F238E27FC236}">
                            <a16:creationId xmlns:a16="http://schemas.microsoft.com/office/drawing/2014/main" id="{727B0A4D-DEFB-404D-A1C8-4FDF7E85FDFF}"/>
                          </a:ext>
                        </a:extLst>
                      </p:cNvPr>
                      <p:cNvPicPr/>
                      <p:nvPr/>
                    </p:nvPicPr>
                    <p:blipFill>
                      <a:blip r:embed="rId6"/>
                      <a:stretch>
                        <a:fillRect/>
                      </a:stretch>
                    </p:blipFill>
                    <p:spPr>
                      <a:xfrm>
                        <a:off x="1169" y="858783"/>
                        <a:ext cx="1167" cy="1167"/>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30504257-C871-4394-BBD0-4F35CFFC8330}"/>
              </a:ext>
            </a:extLst>
          </p:cNvPr>
          <p:cNvSpPr/>
          <p:nvPr/>
        </p:nvSpPr>
        <p:spPr bwMode="auto">
          <a:xfrm>
            <a:off x="0" y="1748205"/>
            <a:ext cx="9149380" cy="42521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ED2B60BD-26EE-4ECE-A288-D6A44A498FDB}"/>
              </a:ext>
            </a:extLst>
          </p:cNvPr>
          <p:cNvSpPr txBox="1"/>
          <p:nvPr/>
        </p:nvSpPr>
        <p:spPr>
          <a:xfrm>
            <a:off x="4069732"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Web App</a:t>
            </a:r>
            <a:br>
              <a:rPr lang="en-US" sz="1029" b="0" dirty="0">
                <a:solidFill>
                  <a:srgbClr val="FFFFFF"/>
                </a:solidFill>
                <a:latin typeface="Segoe UI Semilight"/>
                <a:cs typeface="+mn-cs"/>
              </a:rPr>
            </a:br>
            <a:r>
              <a:rPr lang="en-US" sz="1029" b="0" dirty="0">
                <a:solidFill>
                  <a:srgbClr val="FFFFFF"/>
                </a:solidFill>
                <a:latin typeface="Segoe UI Semilight"/>
                <a:cs typeface="+mn-cs"/>
              </a:rPr>
              <a:t>(e-commerce web)</a:t>
            </a:r>
          </a:p>
        </p:txBody>
      </p:sp>
      <p:sp>
        <p:nvSpPr>
          <p:cNvPr id="11" name="TextBox 10">
            <a:extLst>
              <a:ext uri="{FF2B5EF4-FFF2-40B4-BE49-F238E27FC236}">
                <a16:creationId xmlns:a16="http://schemas.microsoft.com/office/drawing/2014/main" id="{8113DC52-4D0E-4F4F-8947-6C46F96B240B}"/>
              </a:ext>
            </a:extLst>
          </p:cNvPr>
          <p:cNvSpPr txBox="1"/>
          <p:nvPr/>
        </p:nvSpPr>
        <p:spPr>
          <a:xfrm>
            <a:off x="6003639"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Product catalog)</a:t>
            </a:r>
          </a:p>
        </p:txBody>
      </p:sp>
      <p:sp>
        <p:nvSpPr>
          <p:cNvPr id="13" name="TextBox 12">
            <a:extLst>
              <a:ext uri="{FF2B5EF4-FFF2-40B4-BE49-F238E27FC236}">
                <a16:creationId xmlns:a16="http://schemas.microsoft.com/office/drawing/2014/main" id="{64E6B49D-DBC7-41BA-8B52-E42F07E29954}"/>
              </a:ext>
            </a:extLst>
          </p:cNvPr>
          <p:cNvSpPr txBox="1"/>
          <p:nvPr/>
        </p:nvSpPr>
        <p:spPr>
          <a:xfrm>
            <a:off x="8005877"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earch</a:t>
            </a:r>
            <a:br>
              <a:rPr lang="en-US" sz="1029" b="0" dirty="0">
                <a:solidFill>
                  <a:srgbClr val="FFFFFF"/>
                </a:solidFill>
                <a:latin typeface="Segoe UI Semilight"/>
                <a:cs typeface="+mn-cs"/>
              </a:rPr>
            </a:br>
            <a:r>
              <a:rPr lang="en-US" sz="1029" b="0" dirty="0">
                <a:solidFill>
                  <a:srgbClr val="FFFFFF"/>
                </a:solidFill>
                <a:latin typeface="Segoe UI Semilight"/>
                <a:cs typeface="+mn-cs"/>
              </a:rPr>
              <a:t>(Full-text index)</a:t>
            </a:r>
          </a:p>
        </p:txBody>
      </p:sp>
      <p:sp>
        <p:nvSpPr>
          <p:cNvPr id="15" name="TextBox 14">
            <a:extLst>
              <a:ext uri="{FF2B5EF4-FFF2-40B4-BE49-F238E27FC236}">
                <a16:creationId xmlns:a16="http://schemas.microsoft.com/office/drawing/2014/main" id="{32309D05-5691-4D76-BCE8-55247D9BEA88}"/>
              </a:ext>
            </a:extLst>
          </p:cNvPr>
          <p:cNvSpPr txBox="1"/>
          <p:nvPr/>
        </p:nvSpPr>
        <p:spPr>
          <a:xfrm>
            <a:off x="6070809" y="4409130"/>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Session state)</a:t>
            </a:r>
          </a:p>
        </p:txBody>
      </p:sp>
      <p:grpSp>
        <p:nvGrpSpPr>
          <p:cNvPr id="4" name="Group 3">
            <a:extLst>
              <a:ext uri="{FF2B5EF4-FFF2-40B4-BE49-F238E27FC236}">
                <a16:creationId xmlns:a16="http://schemas.microsoft.com/office/drawing/2014/main" id="{6182F750-8451-45B8-B266-397E6E3E8745}"/>
              </a:ext>
            </a:extLst>
          </p:cNvPr>
          <p:cNvGrpSpPr/>
          <p:nvPr/>
        </p:nvGrpSpPr>
        <p:grpSpPr>
          <a:xfrm>
            <a:off x="344292" y="4214000"/>
            <a:ext cx="3387310" cy="771365"/>
            <a:chOff x="468261" y="4257025"/>
            <a:chExt cx="4606976" cy="1049110"/>
          </a:xfrm>
        </p:grpSpPr>
        <p:sp>
          <p:nvSpPr>
            <p:cNvPr id="17" name="Rectangle 16">
              <a:extLst>
                <a:ext uri="{FF2B5EF4-FFF2-40B4-BE49-F238E27FC236}">
                  <a16:creationId xmlns:a16="http://schemas.microsoft.com/office/drawing/2014/main" id="{49520154-7665-4EB9-A082-0D5562994E25}"/>
                </a:ext>
              </a:extLst>
            </p:cNvPr>
            <p:cNvSpPr/>
            <p:nvPr/>
          </p:nvSpPr>
          <p:spPr>
            <a:xfrm>
              <a:off x="1201270" y="4257025"/>
              <a:ext cx="3873967" cy="1049110"/>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Process </a:t>
              </a:r>
              <a:r>
                <a:rPr lang="en-US" sz="1471" b="0" kern="0" dirty="0" err="1">
                  <a:solidFill>
                    <a:srgbClr val="FFFFFF"/>
                  </a:solidFill>
                  <a:latin typeface="Segoe UI Semilight"/>
                  <a:cs typeface="Segoe UI Semilight" panose="020B0402040204020203" pitchFamily="34" charset="0"/>
                </a:rPr>
                <a:t>ms</a:t>
              </a:r>
              <a:r>
                <a:rPr lang="en-US" sz="1471" b="0" kern="0" dirty="0">
                  <a:solidFill>
                    <a:srgbClr val="FFFFFF"/>
                  </a:solidFill>
                  <a:latin typeface="Segoe UI Semilight"/>
                  <a:cs typeface="Segoe UI Semilight" panose="020B0402040204020203" pitchFamily="34" charset="0"/>
                </a:rPr>
                <a:t> of retail transactions per second in milliseconds in inventory pipeline during peak </a:t>
              </a:r>
            </a:p>
          </p:txBody>
        </p:sp>
        <p:grpSp>
          <p:nvGrpSpPr>
            <p:cNvPr id="18" name="Group 17">
              <a:extLst>
                <a:ext uri="{FF2B5EF4-FFF2-40B4-BE49-F238E27FC236}">
                  <a16:creationId xmlns:a16="http://schemas.microsoft.com/office/drawing/2014/main" id="{157402BE-ED64-42C1-82BC-6B08DFEBDA7F}"/>
                </a:ext>
              </a:extLst>
            </p:cNvPr>
            <p:cNvGrpSpPr/>
            <p:nvPr/>
          </p:nvGrpSpPr>
          <p:grpSpPr>
            <a:xfrm>
              <a:off x="468261" y="4627431"/>
              <a:ext cx="534340" cy="274850"/>
              <a:chOff x="467677" y="5956094"/>
              <a:chExt cx="534340" cy="274850"/>
            </a:xfrm>
          </p:grpSpPr>
          <p:sp>
            <p:nvSpPr>
              <p:cNvPr id="19" name="Oval 18">
                <a:extLst>
                  <a:ext uri="{FF2B5EF4-FFF2-40B4-BE49-F238E27FC236}">
                    <a16:creationId xmlns:a16="http://schemas.microsoft.com/office/drawing/2014/main" id="{CD2C3CB8-4FB3-4079-A767-EC0909C2679B}"/>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20" name="Straight Connector 19">
                <a:extLst>
                  <a:ext uri="{FF2B5EF4-FFF2-40B4-BE49-F238E27FC236}">
                    <a16:creationId xmlns:a16="http://schemas.microsoft.com/office/drawing/2014/main" id="{790D8FBC-2BEC-48BE-A1BB-E6DC8A070C3A}"/>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2FFFC7B6-A587-4D5E-B498-AF8B43B1A620}"/>
              </a:ext>
            </a:extLst>
          </p:cNvPr>
          <p:cNvGrpSpPr/>
          <p:nvPr/>
        </p:nvGrpSpPr>
        <p:grpSpPr>
          <a:xfrm>
            <a:off x="344292" y="5173597"/>
            <a:ext cx="3387310" cy="545021"/>
            <a:chOff x="468261" y="5992253"/>
            <a:chExt cx="4606976" cy="741266"/>
          </a:xfrm>
        </p:grpSpPr>
        <p:sp>
          <p:nvSpPr>
            <p:cNvPr id="22" name="Rectangle 21">
              <a:extLst>
                <a:ext uri="{FF2B5EF4-FFF2-40B4-BE49-F238E27FC236}">
                  <a16:creationId xmlns:a16="http://schemas.microsoft.com/office/drawing/2014/main" id="{6163758E-ECBB-4F8D-BBDA-DD8C57A53B33}"/>
                </a:ext>
              </a:extLst>
            </p:cNvPr>
            <p:cNvSpPr/>
            <p:nvPr/>
          </p:nvSpPr>
          <p:spPr>
            <a:xfrm>
              <a:off x="1201270" y="5992253"/>
              <a:ext cx="3873967" cy="741266"/>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Fast development cycles and loosely coupled micro-services</a:t>
              </a:r>
            </a:p>
          </p:txBody>
        </p:sp>
        <p:grpSp>
          <p:nvGrpSpPr>
            <p:cNvPr id="23" name="Group 22">
              <a:extLst>
                <a:ext uri="{FF2B5EF4-FFF2-40B4-BE49-F238E27FC236}">
                  <a16:creationId xmlns:a16="http://schemas.microsoft.com/office/drawing/2014/main" id="{69CE32BB-1E01-4470-96A8-F3D9F1875023}"/>
                </a:ext>
              </a:extLst>
            </p:cNvPr>
            <p:cNvGrpSpPr/>
            <p:nvPr/>
          </p:nvGrpSpPr>
          <p:grpSpPr>
            <a:xfrm>
              <a:off x="468261" y="6208771"/>
              <a:ext cx="534340" cy="274850"/>
              <a:chOff x="467677" y="5956094"/>
              <a:chExt cx="534340" cy="274850"/>
            </a:xfrm>
          </p:grpSpPr>
          <p:sp>
            <p:nvSpPr>
              <p:cNvPr id="24" name="Oval 23">
                <a:extLst>
                  <a:ext uri="{FF2B5EF4-FFF2-40B4-BE49-F238E27FC236}">
                    <a16:creationId xmlns:a16="http://schemas.microsoft.com/office/drawing/2014/main" id="{DC88B575-C64C-4272-9DC0-059DDE32039A}"/>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25" name="Straight Connector 24">
                <a:extLst>
                  <a:ext uri="{FF2B5EF4-FFF2-40B4-BE49-F238E27FC236}">
                    <a16:creationId xmlns:a16="http://schemas.microsoft.com/office/drawing/2014/main" id="{4B6A1274-01DA-4527-AC49-7DC0E4D8788E}"/>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
        <p:nvSpPr>
          <p:cNvPr id="38" name="Rectangle 11">
            <a:extLst>
              <a:ext uri="{FF2B5EF4-FFF2-40B4-BE49-F238E27FC236}">
                <a16:creationId xmlns:a16="http://schemas.microsoft.com/office/drawing/2014/main" id="{6FDEE56B-3EC2-4CB8-9DEB-F7DF12D90383}"/>
              </a:ext>
            </a:extLst>
          </p:cNvPr>
          <p:cNvSpPr/>
          <p:nvPr/>
        </p:nvSpPr>
        <p:spPr bwMode="auto">
          <a:xfrm rot="5400000">
            <a:off x="6152639" y="337345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0" name="Rectangle 31">
            <a:extLst>
              <a:ext uri="{FF2B5EF4-FFF2-40B4-BE49-F238E27FC236}">
                <a16:creationId xmlns:a16="http://schemas.microsoft.com/office/drawing/2014/main" id="{1E64BB9F-92B4-442C-A740-8AD641152ABA}"/>
              </a:ext>
            </a:extLst>
          </p:cNvPr>
          <p:cNvSpPr/>
          <p:nvPr/>
        </p:nvSpPr>
        <p:spPr bwMode="auto">
          <a:xfrm rot="5400000" flipH="1">
            <a:off x="4808656" y="3045365"/>
            <a:ext cx="1721330" cy="394732"/>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cs typeface="Segoe UI" pitchFamily="34" charset="0"/>
            </a:endParaRPr>
          </a:p>
        </p:txBody>
      </p:sp>
      <p:sp>
        <p:nvSpPr>
          <p:cNvPr id="2" name="Title 1">
            <a:extLst>
              <a:ext uri="{FF2B5EF4-FFF2-40B4-BE49-F238E27FC236}">
                <a16:creationId xmlns:a16="http://schemas.microsoft.com/office/drawing/2014/main" id="{9678AFA3-31DD-43D8-8CFE-C6A5BCC0D9C8}"/>
              </a:ext>
            </a:extLst>
          </p:cNvPr>
          <p:cNvSpPr>
            <a:spLocks noGrp="1"/>
          </p:cNvSpPr>
          <p:nvPr>
            <p:ph type="title"/>
          </p:nvPr>
        </p:nvSpPr>
        <p:spPr/>
        <p:txBody>
          <a:bodyPr/>
          <a:lstStyle/>
          <a:p>
            <a:r>
              <a:rPr lang="en-US"/>
              <a:t>Retail and Marketing Solution Architecture</a:t>
            </a:r>
            <a:endParaRPr lang="en-US" dirty="0"/>
          </a:p>
        </p:txBody>
      </p:sp>
      <p:sp>
        <p:nvSpPr>
          <p:cNvPr id="33" name="Rectangle 11">
            <a:extLst>
              <a:ext uri="{FF2B5EF4-FFF2-40B4-BE49-F238E27FC236}">
                <a16:creationId xmlns:a16="http://schemas.microsoft.com/office/drawing/2014/main" id="{D649AB49-73BF-4188-BBBC-83F1F6B86E59}"/>
              </a:ext>
            </a:extLst>
          </p:cNvPr>
          <p:cNvSpPr/>
          <p:nvPr/>
        </p:nvSpPr>
        <p:spPr bwMode="auto">
          <a:xfrm>
            <a:off x="3176554" y="2382065"/>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Rectangle 11">
            <a:extLst>
              <a:ext uri="{FF2B5EF4-FFF2-40B4-BE49-F238E27FC236}">
                <a16:creationId xmlns:a16="http://schemas.microsoft.com/office/drawing/2014/main" id="{F231072B-9DFD-4D6A-8900-C01788ECC3FA}"/>
              </a:ext>
            </a:extLst>
          </p:cNvPr>
          <p:cNvSpPr/>
          <p:nvPr/>
        </p:nvSpPr>
        <p:spPr bwMode="auto">
          <a:xfrm>
            <a:off x="5024081" y="2382065"/>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Rectangle 11">
            <a:extLst>
              <a:ext uri="{FF2B5EF4-FFF2-40B4-BE49-F238E27FC236}">
                <a16:creationId xmlns:a16="http://schemas.microsoft.com/office/drawing/2014/main" id="{02A10BE7-D5A9-44BB-A365-89EFC15AA4EA}"/>
              </a:ext>
            </a:extLst>
          </p:cNvPr>
          <p:cNvSpPr/>
          <p:nvPr/>
        </p:nvSpPr>
        <p:spPr bwMode="auto">
          <a:xfrm>
            <a:off x="6885407" y="2382065"/>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3" name="Picture 42">
            <a:extLst>
              <a:ext uri="{FF2B5EF4-FFF2-40B4-BE49-F238E27FC236}">
                <a16:creationId xmlns:a16="http://schemas.microsoft.com/office/drawing/2014/main" id="{47455501-1FF3-4869-8D8E-6FBDFE014884}"/>
              </a:ext>
            </a:extLst>
          </p:cNvPr>
          <p:cNvPicPr>
            <a:picLocks noChangeAspect="1"/>
          </p:cNvPicPr>
          <p:nvPr/>
        </p:nvPicPr>
        <p:blipFill>
          <a:blip r:embed="rId7"/>
          <a:stretch>
            <a:fillRect/>
          </a:stretch>
        </p:blipFill>
        <p:spPr>
          <a:xfrm>
            <a:off x="2499257" y="2128803"/>
            <a:ext cx="614104" cy="506525"/>
          </a:xfrm>
          <a:prstGeom prst="rect">
            <a:avLst/>
          </a:prstGeom>
        </p:spPr>
      </p:pic>
      <p:pic>
        <p:nvPicPr>
          <p:cNvPr id="45" name="Picture 44">
            <a:extLst>
              <a:ext uri="{FF2B5EF4-FFF2-40B4-BE49-F238E27FC236}">
                <a16:creationId xmlns:a16="http://schemas.microsoft.com/office/drawing/2014/main" id="{4F744BF0-1331-47D6-8B2D-AABC4B52C910}"/>
              </a:ext>
            </a:extLst>
          </p:cNvPr>
          <p:cNvPicPr>
            <a:picLocks noChangeAspect="1"/>
          </p:cNvPicPr>
          <p:nvPr/>
        </p:nvPicPr>
        <p:blipFill>
          <a:blip r:embed="rId8"/>
          <a:stretch>
            <a:fillRect/>
          </a:stretch>
        </p:blipFill>
        <p:spPr>
          <a:xfrm>
            <a:off x="4053702" y="2046671"/>
            <a:ext cx="850637" cy="670788"/>
          </a:xfrm>
          <a:prstGeom prst="rect">
            <a:avLst/>
          </a:prstGeom>
        </p:spPr>
      </p:pic>
      <p:pic>
        <p:nvPicPr>
          <p:cNvPr id="47" name="Picture 46">
            <a:extLst>
              <a:ext uri="{FF2B5EF4-FFF2-40B4-BE49-F238E27FC236}">
                <a16:creationId xmlns:a16="http://schemas.microsoft.com/office/drawing/2014/main" id="{4295CE01-B7CE-4E41-9FBF-2AF5DF8AB931}"/>
              </a:ext>
            </a:extLst>
          </p:cNvPr>
          <p:cNvPicPr>
            <a:picLocks noChangeAspect="1"/>
          </p:cNvPicPr>
          <p:nvPr/>
        </p:nvPicPr>
        <p:blipFill>
          <a:blip r:embed="rId9"/>
          <a:stretch>
            <a:fillRect/>
          </a:stretch>
        </p:blipFill>
        <p:spPr>
          <a:xfrm>
            <a:off x="7874162" y="1983217"/>
            <a:ext cx="842639" cy="797696"/>
          </a:xfrm>
          <a:prstGeom prst="rect">
            <a:avLst/>
          </a:prstGeom>
        </p:spPr>
      </p:pic>
      <p:sp>
        <p:nvSpPr>
          <p:cNvPr id="48" name="TextBox 47">
            <a:extLst>
              <a:ext uri="{FF2B5EF4-FFF2-40B4-BE49-F238E27FC236}">
                <a16:creationId xmlns:a16="http://schemas.microsoft.com/office/drawing/2014/main" id="{03B2FF8C-58D6-4D78-9A32-8E6749631A45}"/>
              </a:ext>
            </a:extLst>
          </p:cNvPr>
          <p:cNvSpPr txBox="1"/>
          <p:nvPr/>
        </p:nvSpPr>
        <p:spPr>
          <a:xfrm>
            <a:off x="2385876"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Browser</a:t>
            </a:r>
          </a:p>
        </p:txBody>
      </p:sp>
      <p:pic>
        <p:nvPicPr>
          <p:cNvPr id="52" name="Picture 51">
            <a:extLst>
              <a:ext uri="{FF2B5EF4-FFF2-40B4-BE49-F238E27FC236}">
                <a16:creationId xmlns:a16="http://schemas.microsoft.com/office/drawing/2014/main" id="{740E7BDD-FA38-4020-888C-4984640F514F}"/>
              </a:ext>
            </a:extLst>
          </p:cNvPr>
          <p:cNvPicPr>
            <a:picLocks noChangeAspect="1"/>
          </p:cNvPicPr>
          <p:nvPr/>
        </p:nvPicPr>
        <p:blipFill>
          <a:blip r:embed="rId10"/>
          <a:stretch>
            <a:fillRect/>
          </a:stretch>
        </p:blipFill>
        <p:spPr>
          <a:xfrm>
            <a:off x="5957778" y="1893571"/>
            <a:ext cx="971284" cy="728462"/>
          </a:xfrm>
          <a:prstGeom prst="rect">
            <a:avLst/>
          </a:prstGeom>
        </p:spPr>
      </p:pic>
      <p:pic>
        <p:nvPicPr>
          <p:cNvPr id="53" name="Picture 52">
            <a:extLst>
              <a:ext uri="{FF2B5EF4-FFF2-40B4-BE49-F238E27FC236}">
                <a16:creationId xmlns:a16="http://schemas.microsoft.com/office/drawing/2014/main" id="{3FEA9BD7-CF8F-4082-9D08-6109B9C984F2}"/>
              </a:ext>
            </a:extLst>
          </p:cNvPr>
          <p:cNvPicPr>
            <a:picLocks noChangeAspect="1"/>
          </p:cNvPicPr>
          <p:nvPr/>
        </p:nvPicPr>
        <p:blipFill>
          <a:blip r:embed="rId10"/>
          <a:stretch>
            <a:fillRect/>
          </a:stretch>
        </p:blipFill>
        <p:spPr>
          <a:xfrm>
            <a:off x="5957778" y="3631914"/>
            <a:ext cx="971284" cy="728462"/>
          </a:xfrm>
          <a:prstGeom prst="rect">
            <a:avLst/>
          </a:prstGeom>
        </p:spPr>
      </p:pic>
      <p:pic>
        <p:nvPicPr>
          <p:cNvPr id="54" name="Picture 53">
            <a:extLst>
              <a:ext uri="{FF2B5EF4-FFF2-40B4-BE49-F238E27FC236}">
                <a16:creationId xmlns:a16="http://schemas.microsoft.com/office/drawing/2014/main" id="{75138DE7-49F0-4588-B75E-785BF6CE3041}"/>
              </a:ext>
            </a:extLst>
          </p:cNvPr>
          <p:cNvPicPr>
            <a:picLocks noChangeAspect="1"/>
          </p:cNvPicPr>
          <p:nvPr/>
        </p:nvPicPr>
        <p:blipFill>
          <a:blip r:embed="rId11"/>
          <a:stretch>
            <a:fillRect/>
          </a:stretch>
        </p:blipFill>
        <p:spPr>
          <a:xfrm>
            <a:off x="4157215" y="3817987"/>
            <a:ext cx="537902" cy="470663"/>
          </a:xfrm>
          <a:prstGeom prst="rect">
            <a:avLst/>
          </a:prstGeom>
        </p:spPr>
      </p:pic>
      <p:sp>
        <p:nvSpPr>
          <p:cNvPr id="55" name="TextBox 54">
            <a:extLst>
              <a:ext uri="{FF2B5EF4-FFF2-40B4-BE49-F238E27FC236}">
                <a16:creationId xmlns:a16="http://schemas.microsoft.com/office/drawing/2014/main" id="{F20EDFE9-D9ED-4338-A1B0-235B58CADB48}"/>
              </a:ext>
            </a:extLst>
          </p:cNvPr>
          <p:cNvSpPr txBox="1"/>
          <p:nvPr/>
        </p:nvSpPr>
        <p:spPr>
          <a:xfrm>
            <a:off x="4069732" y="436897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torage</a:t>
            </a:r>
            <a:br>
              <a:rPr lang="en-US" sz="1029" b="0" dirty="0">
                <a:solidFill>
                  <a:srgbClr val="FFFFFF"/>
                </a:solidFill>
                <a:latin typeface="Segoe UI Semilight"/>
                <a:cs typeface="+mn-cs"/>
              </a:rPr>
            </a:br>
            <a:r>
              <a:rPr lang="en-US" sz="1029" b="0" dirty="0">
                <a:solidFill>
                  <a:srgbClr val="FFFFFF"/>
                </a:solidFill>
                <a:latin typeface="Segoe UI Semilight"/>
                <a:cs typeface="+mn-cs"/>
              </a:rPr>
              <a:t>(Logs, static catalog content)</a:t>
            </a:r>
          </a:p>
        </p:txBody>
      </p:sp>
      <p:sp>
        <p:nvSpPr>
          <p:cNvPr id="56" name="Rectangle 11">
            <a:extLst>
              <a:ext uri="{FF2B5EF4-FFF2-40B4-BE49-F238E27FC236}">
                <a16:creationId xmlns:a16="http://schemas.microsoft.com/office/drawing/2014/main" id="{3FA4CC22-51B0-431B-AF47-9A1D68D4B205}"/>
              </a:ext>
            </a:extLst>
          </p:cNvPr>
          <p:cNvSpPr/>
          <p:nvPr/>
        </p:nvSpPr>
        <p:spPr bwMode="auto">
          <a:xfrm rot="5400000">
            <a:off x="4093838" y="337345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2957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E852B4-7730-4D6C-94E7-CF223A0D8F32}"/>
              </a:ext>
            </a:extLst>
          </p:cNvPr>
          <p:cNvGraphicFramePr>
            <a:graphicFrameLocks noChangeAspect="1"/>
          </p:cNvGraphicFramePr>
          <p:nvPr>
            <p:custDataLst>
              <p:tags r:id="rId2"/>
            </p:custDataLst>
            <p:extLst/>
          </p:nvPr>
        </p:nvGraphicFramePr>
        <p:xfrm>
          <a:off x="1169" y="858783"/>
          <a:ext cx="1167" cy="1167"/>
        </p:xfrm>
        <a:graphic>
          <a:graphicData uri="http://schemas.openxmlformats.org/presentationml/2006/ole">
            <mc:AlternateContent xmlns:mc="http://schemas.openxmlformats.org/markup-compatibility/2006">
              <mc:Choice xmlns:v="urn:schemas-microsoft-com:vml" Requires="v">
                <p:oleObj spid="_x0000_s10244"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F3E852B4-7730-4D6C-94E7-CF223A0D8F32}"/>
                          </a:ext>
                        </a:extLst>
                      </p:cNvPr>
                      <p:cNvPicPr/>
                      <p:nvPr/>
                    </p:nvPicPr>
                    <p:blipFill>
                      <a:blip r:embed="rId6"/>
                      <a:stretch>
                        <a:fillRect/>
                      </a:stretch>
                    </p:blipFill>
                    <p:spPr>
                      <a:xfrm>
                        <a:off x="1169" y="858783"/>
                        <a:ext cx="1167" cy="1167"/>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247B1047-D663-4507-B47F-48512FEA2FE4}"/>
              </a:ext>
            </a:extLst>
          </p:cNvPr>
          <p:cNvSpPr/>
          <p:nvPr/>
        </p:nvSpPr>
        <p:spPr bwMode="auto">
          <a:xfrm>
            <a:off x="0" y="1748205"/>
            <a:ext cx="9149380" cy="42521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6707AE8F-ADF5-4339-8984-D800E38552DF}"/>
              </a:ext>
            </a:extLst>
          </p:cNvPr>
          <p:cNvSpPr/>
          <p:nvPr/>
        </p:nvSpPr>
        <p:spPr>
          <a:xfrm>
            <a:off x="344293" y="4165619"/>
            <a:ext cx="3956886" cy="545021"/>
          </a:xfrm>
          <a:prstGeom prst="rect">
            <a:avLst/>
          </a:prstGeom>
        </p:spPr>
        <p:txBody>
          <a:bodyPr wrap="square" lIns="0">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bold" panose="020B0702040204020203" pitchFamily="34" charset="0"/>
              </a:rPr>
              <a:t>Need for a DB that to seamlessly respond to massive scale and performance demands</a:t>
            </a:r>
          </a:p>
        </p:txBody>
      </p:sp>
      <p:grpSp>
        <p:nvGrpSpPr>
          <p:cNvPr id="19" name="Group 18">
            <a:extLst>
              <a:ext uri="{FF2B5EF4-FFF2-40B4-BE49-F238E27FC236}">
                <a16:creationId xmlns:a16="http://schemas.microsoft.com/office/drawing/2014/main" id="{3BA7A8F4-C400-4619-9CFD-B4E9B985FD05}"/>
              </a:ext>
            </a:extLst>
          </p:cNvPr>
          <p:cNvGrpSpPr/>
          <p:nvPr/>
        </p:nvGrpSpPr>
        <p:grpSpPr>
          <a:xfrm>
            <a:off x="344293" y="4691565"/>
            <a:ext cx="4059628" cy="318677"/>
            <a:chOff x="468261" y="6146141"/>
            <a:chExt cx="5521376" cy="433422"/>
          </a:xfrm>
        </p:grpSpPr>
        <p:sp>
          <p:nvSpPr>
            <p:cNvPr id="20" name="Rectangle 19">
              <a:extLst>
                <a:ext uri="{FF2B5EF4-FFF2-40B4-BE49-F238E27FC236}">
                  <a16:creationId xmlns:a16="http://schemas.microsoft.com/office/drawing/2014/main" id="{B3F3E91F-D024-4ADE-9D90-914C584EF9D3}"/>
                </a:ext>
              </a:extLst>
            </p:cNvPr>
            <p:cNvSpPr/>
            <p:nvPr/>
          </p:nvSpPr>
          <p:spPr>
            <a:xfrm>
              <a:off x="1201270" y="6146141"/>
              <a:ext cx="4788367" cy="433422"/>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Multi-user game play with low latency</a:t>
              </a:r>
            </a:p>
          </p:txBody>
        </p:sp>
        <p:grpSp>
          <p:nvGrpSpPr>
            <p:cNvPr id="21" name="Group 20">
              <a:extLst>
                <a:ext uri="{FF2B5EF4-FFF2-40B4-BE49-F238E27FC236}">
                  <a16:creationId xmlns:a16="http://schemas.microsoft.com/office/drawing/2014/main" id="{40BD657B-9CB7-4580-BE43-F5D1F3FA21E7}"/>
                </a:ext>
              </a:extLst>
            </p:cNvPr>
            <p:cNvGrpSpPr/>
            <p:nvPr/>
          </p:nvGrpSpPr>
          <p:grpSpPr>
            <a:xfrm>
              <a:off x="468261" y="6208771"/>
              <a:ext cx="534340" cy="274850"/>
              <a:chOff x="467677" y="5956094"/>
              <a:chExt cx="534340" cy="274850"/>
            </a:xfrm>
          </p:grpSpPr>
          <p:sp>
            <p:nvSpPr>
              <p:cNvPr id="22" name="Oval 21">
                <a:extLst>
                  <a:ext uri="{FF2B5EF4-FFF2-40B4-BE49-F238E27FC236}">
                    <a16:creationId xmlns:a16="http://schemas.microsoft.com/office/drawing/2014/main" id="{3EE2EBDF-FCA3-4D27-B461-F38D006A6EE1}"/>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23" name="Straight Connector 22">
                <a:extLst>
                  <a:ext uri="{FF2B5EF4-FFF2-40B4-BE49-F238E27FC236}">
                    <a16:creationId xmlns:a16="http://schemas.microsoft.com/office/drawing/2014/main" id="{39784BF5-6F8D-4CAA-88AC-CC7598E7DCA9}"/>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9F61CFBA-7EF5-42C3-9BBF-05694499FAB1}"/>
              </a:ext>
            </a:extLst>
          </p:cNvPr>
          <p:cNvGrpSpPr/>
          <p:nvPr/>
        </p:nvGrpSpPr>
        <p:grpSpPr>
          <a:xfrm>
            <a:off x="344292" y="5095377"/>
            <a:ext cx="4283735" cy="318677"/>
            <a:chOff x="468261" y="5009062"/>
            <a:chExt cx="5826176" cy="433422"/>
          </a:xfrm>
        </p:grpSpPr>
        <p:sp>
          <p:nvSpPr>
            <p:cNvPr id="39" name="Rectangle 38">
              <a:extLst>
                <a:ext uri="{FF2B5EF4-FFF2-40B4-BE49-F238E27FC236}">
                  <a16:creationId xmlns:a16="http://schemas.microsoft.com/office/drawing/2014/main" id="{46724323-A7EB-4DEE-BEFC-DFE15B6ED247}"/>
                </a:ext>
              </a:extLst>
            </p:cNvPr>
            <p:cNvSpPr/>
            <p:nvPr/>
          </p:nvSpPr>
          <p:spPr>
            <a:xfrm>
              <a:off x="1201270" y="5009062"/>
              <a:ext cx="5093167" cy="433422"/>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Instant capacity scaling from launch onward</a:t>
              </a:r>
            </a:p>
          </p:txBody>
        </p:sp>
        <p:grpSp>
          <p:nvGrpSpPr>
            <p:cNvPr id="40" name="Group 39">
              <a:extLst>
                <a:ext uri="{FF2B5EF4-FFF2-40B4-BE49-F238E27FC236}">
                  <a16:creationId xmlns:a16="http://schemas.microsoft.com/office/drawing/2014/main" id="{566FCAA8-033E-4791-BD66-37DC1AD7E2F1}"/>
                </a:ext>
              </a:extLst>
            </p:cNvPr>
            <p:cNvGrpSpPr/>
            <p:nvPr/>
          </p:nvGrpSpPr>
          <p:grpSpPr>
            <a:xfrm>
              <a:off x="468261" y="5071692"/>
              <a:ext cx="534340" cy="274850"/>
              <a:chOff x="467677" y="5956094"/>
              <a:chExt cx="534340" cy="274850"/>
            </a:xfrm>
          </p:grpSpPr>
          <p:sp>
            <p:nvSpPr>
              <p:cNvPr id="41" name="Oval 40">
                <a:extLst>
                  <a:ext uri="{FF2B5EF4-FFF2-40B4-BE49-F238E27FC236}">
                    <a16:creationId xmlns:a16="http://schemas.microsoft.com/office/drawing/2014/main" id="{64058C2E-E545-4DC1-B6B6-4F41E7BAA2D6}"/>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42" name="Straight Connector 41">
                <a:extLst>
                  <a:ext uri="{FF2B5EF4-FFF2-40B4-BE49-F238E27FC236}">
                    <a16:creationId xmlns:a16="http://schemas.microsoft.com/office/drawing/2014/main" id="{4D530101-C41C-40DE-B1C1-91E09CA24A01}"/>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4" name="Group 3">
            <a:extLst>
              <a:ext uri="{FF2B5EF4-FFF2-40B4-BE49-F238E27FC236}">
                <a16:creationId xmlns:a16="http://schemas.microsoft.com/office/drawing/2014/main" id="{61955E35-B6B7-4218-B137-B552C11DA3EE}"/>
              </a:ext>
            </a:extLst>
          </p:cNvPr>
          <p:cNvGrpSpPr/>
          <p:nvPr/>
        </p:nvGrpSpPr>
        <p:grpSpPr>
          <a:xfrm>
            <a:off x="344293" y="5499191"/>
            <a:ext cx="3779495" cy="318677"/>
            <a:chOff x="468261" y="6312870"/>
            <a:chExt cx="5140376" cy="433422"/>
          </a:xfrm>
        </p:grpSpPr>
        <p:sp>
          <p:nvSpPr>
            <p:cNvPr id="44" name="Rectangle 43">
              <a:extLst>
                <a:ext uri="{FF2B5EF4-FFF2-40B4-BE49-F238E27FC236}">
                  <a16:creationId xmlns:a16="http://schemas.microsoft.com/office/drawing/2014/main" id="{B5E7F5DC-EA60-40C8-BFDE-25D5896606AB}"/>
                </a:ext>
              </a:extLst>
            </p:cNvPr>
            <p:cNvSpPr/>
            <p:nvPr/>
          </p:nvSpPr>
          <p:spPr>
            <a:xfrm>
              <a:off x="1201270" y="6312870"/>
              <a:ext cx="4407367" cy="433422"/>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Uninterrupted global user experience </a:t>
              </a:r>
            </a:p>
          </p:txBody>
        </p:sp>
        <p:grpSp>
          <p:nvGrpSpPr>
            <p:cNvPr id="45" name="Group 44">
              <a:extLst>
                <a:ext uri="{FF2B5EF4-FFF2-40B4-BE49-F238E27FC236}">
                  <a16:creationId xmlns:a16="http://schemas.microsoft.com/office/drawing/2014/main" id="{272D2219-DEC9-49FD-9279-5A6AE266D119}"/>
                </a:ext>
              </a:extLst>
            </p:cNvPr>
            <p:cNvGrpSpPr/>
            <p:nvPr/>
          </p:nvGrpSpPr>
          <p:grpSpPr>
            <a:xfrm>
              <a:off x="468261" y="6375500"/>
              <a:ext cx="534340" cy="274850"/>
              <a:chOff x="467677" y="5956094"/>
              <a:chExt cx="534340" cy="274850"/>
            </a:xfrm>
          </p:grpSpPr>
          <p:sp>
            <p:nvSpPr>
              <p:cNvPr id="46" name="Oval 45">
                <a:extLst>
                  <a:ext uri="{FF2B5EF4-FFF2-40B4-BE49-F238E27FC236}">
                    <a16:creationId xmlns:a16="http://schemas.microsoft.com/office/drawing/2014/main" id="{24F555DF-D604-49FD-9BA8-C43EC4E4AF4B}"/>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47" name="Straight Connector 46">
                <a:extLst>
                  <a:ext uri="{FF2B5EF4-FFF2-40B4-BE49-F238E27FC236}">
                    <a16:creationId xmlns:a16="http://schemas.microsoft.com/office/drawing/2014/main" id="{3225FA4D-9EEF-48D8-8B23-E71AC66F35A9}"/>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
        <p:nvSpPr>
          <p:cNvPr id="6" name="Title 5">
            <a:extLst>
              <a:ext uri="{FF2B5EF4-FFF2-40B4-BE49-F238E27FC236}">
                <a16:creationId xmlns:a16="http://schemas.microsoft.com/office/drawing/2014/main" id="{46130798-5494-4E53-901A-CE43EF6CACE1}"/>
              </a:ext>
            </a:extLst>
          </p:cNvPr>
          <p:cNvSpPr>
            <a:spLocks noGrp="1"/>
          </p:cNvSpPr>
          <p:nvPr>
            <p:ph type="title"/>
          </p:nvPr>
        </p:nvSpPr>
        <p:spPr/>
        <p:txBody>
          <a:bodyPr/>
          <a:lstStyle/>
          <a:p>
            <a:r>
              <a:rPr lang="en-US"/>
              <a:t>Gaming</a:t>
            </a:r>
            <a:endParaRPr lang="en-US" dirty="0"/>
          </a:p>
        </p:txBody>
      </p:sp>
      <p:pic>
        <p:nvPicPr>
          <p:cNvPr id="48" name="Picture 47">
            <a:extLst>
              <a:ext uri="{FF2B5EF4-FFF2-40B4-BE49-F238E27FC236}">
                <a16:creationId xmlns:a16="http://schemas.microsoft.com/office/drawing/2014/main" id="{104B1F97-DDB9-4DA1-9C72-8EE4BC0D4D3D}"/>
              </a:ext>
            </a:extLst>
          </p:cNvPr>
          <p:cNvPicPr>
            <a:picLocks noChangeAspect="1"/>
          </p:cNvPicPr>
          <p:nvPr/>
        </p:nvPicPr>
        <p:blipFill>
          <a:blip r:embed="rId7"/>
          <a:stretch>
            <a:fillRect/>
          </a:stretch>
        </p:blipFill>
        <p:spPr>
          <a:xfrm>
            <a:off x="1314994" y="3171398"/>
            <a:ext cx="244928" cy="408210"/>
          </a:xfrm>
          <a:prstGeom prst="rect">
            <a:avLst/>
          </a:prstGeom>
        </p:spPr>
      </p:pic>
      <p:pic>
        <p:nvPicPr>
          <p:cNvPr id="50" name="Picture 49">
            <a:extLst>
              <a:ext uri="{FF2B5EF4-FFF2-40B4-BE49-F238E27FC236}">
                <a16:creationId xmlns:a16="http://schemas.microsoft.com/office/drawing/2014/main" id="{02451053-A0E6-47CC-AE59-9D42895F68BF}"/>
              </a:ext>
            </a:extLst>
          </p:cNvPr>
          <p:cNvPicPr>
            <a:picLocks noChangeAspect="1"/>
          </p:cNvPicPr>
          <p:nvPr/>
        </p:nvPicPr>
        <p:blipFill>
          <a:blip r:embed="rId8"/>
          <a:stretch>
            <a:fillRect/>
          </a:stretch>
        </p:blipFill>
        <p:spPr>
          <a:xfrm>
            <a:off x="2565174" y="3165927"/>
            <a:ext cx="460049" cy="419154"/>
          </a:xfrm>
          <a:prstGeom prst="rect">
            <a:avLst/>
          </a:prstGeom>
        </p:spPr>
      </p:pic>
      <p:pic>
        <p:nvPicPr>
          <p:cNvPr id="52" name="Picture 51">
            <a:extLst>
              <a:ext uri="{FF2B5EF4-FFF2-40B4-BE49-F238E27FC236}">
                <a16:creationId xmlns:a16="http://schemas.microsoft.com/office/drawing/2014/main" id="{03D910EB-2FA7-4BB7-9BD1-920973425BAB}"/>
              </a:ext>
            </a:extLst>
          </p:cNvPr>
          <p:cNvPicPr>
            <a:picLocks noChangeAspect="1"/>
          </p:cNvPicPr>
          <p:nvPr/>
        </p:nvPicPr>
        <p:blipFill>
          <a:blip r:embed="rId9"/>
          <a:stretch>
            <a:fillRect/>
          </a:stretch>
        </p:blipFill>
        <p:spPr>
          <a:xfrm>
            <a:off x="4275401" y="3118631"/>
            <a:ext cx="603093" cy="513744"/>
          </a:xfrm>
          <a:prstGeom prst="rect">
            <a:avLst/>
          </a:prstGeom>
        </p:spPr>
      </p:pic>
      <p:pic>
        <p:nvPicPr>
          <p:cNvPr id="54" name="Picture 53">
            <a:extLst>
              <a:ext uri="{FF2B5EF4-FFF2-40B4-BE49-F238E27FC236}">
                <a16:creationId xmlns:a16="http://schemas.microsoft.com/office/drawing/2014/main" id="{478EC5F1-028F-4311-AF4D-F68C1617F320}"/>
              </a:ext>
            </a:extLst>
          </p:cNvPr>
          <p:cNvPicPr>
            <a:picLocks noChangeAspect="1"/>
          </p:cNvPicPr>
          <p:nvPr/>
        </p:nvPicPr>
        <p:blipFill>
          <a:blip r:embed="rId10"/>
          <a:stretch>
            <a:fillRect/>
          </a:stretch>
        </p:blipFill>
        <p:spPr>
          <a:xfrm>
            <a:off x="5941278" y="2983312"/>
            <a:ext cx="798811" cy="601769"/>
          </a:xfrm>
          <a:prstGeom prst="rect">
            <a:avLst/>
          </a:prstGeom>
        </p:spPr>
      </p:pic>
      <p:pic>
        <p:nvPicPr>
          <p:cNvPr id="56" name="Picture 55">
            <a:extLst>
              <a:ext uri="{FF2B5EF4-FFF2-40B4-BE49-F238E27FC236}">
                <a16:creationId xmlns:a16="http://schemas.microsoft.com/office/drawing/2014/main" id="{825C000C-46A0-44F8-BEE2-D3FBE3D849B5}"/>
              </a:ext>
            </a:extLst>
          </p:cNvPr>
          <p:cNvPicPr>
            <a:picLocks noChangeAspect="1"/>
          </p:cNvPicPr>
          <p:nvPr/>
        </p:nvPicPr>
        <p:blipFill>
          <a:blip r:embed="rId11"/>
          <a:stretch>
            <a:fillRect/>
          </a:stretch>
        </p:blipFill>
        <p:spPr>
          <a:xfrm>
            <a:off x="6099687" y="4714768"/>
            <a:ext cx="523643" cy="448201"/>
          </a:xfrm>
          <a:prstGeom prst="rect">
            <a:avLst/>
          </a:prstGeom>
        </p:spPr>
      </p:pic>
      <p:pic>
        <p:nvPicPr>
          <p:cNvPr id="58" name="Picture 57">
            <a:extLst>
              <a:ext uri="{FF2B5EF4-FFF2-40B4-BE49-F238E27FC236}">
                <a16:creationId xmlns:a16="http://schemas.microsoft.com/office/drawing/2014/main" id="{6283B5E6-0DEC-4F4E-9204-19F9C4C0E5AA}"/>
              </a:ext>
            </a:extLst>
          </p:cNvPr>
          <p:cNvPicPr>
            <a:picLocks noChangeAspect="1"/>
          </p:cNvPicPr>
          <p:nvPr/>
        </p:nvPicPr>
        <p:blipFill>
          <a:blip r:embed="rId12"/>
          <a:stretch>
            <a:fillRect/>
          </a:stretch>
        </p:blipFill>
        <p:spPr>
          <a:xfrm>
            <a:off x="5913685" y="1865936"/>
            <a:ext cx="849748" cy="474010"/>
          </a:xfrm>
          <a:prstGeom prst="rect">
            <a:avLst/>
          </a:prstGeom>
        </p:spPr>
      </p:pic>
      <p:sp>
        <p:nvSpPr>
          <p:cNvPr id="61" name="TextBox 60">
            <a:extLst>
              <a:ext uri="{FF2B5EF4-FFF2-40B4-BE49-F238E27FC236}">
                <a16:creationId xmlns:a16="http://schemas.microsoft.com/office/drawing/2014/main" id="{CB79DA0B-FD81-40F9-AA09-F563C1CE008D}"/>
              </a:ext>
            </a:extLst>
          </p:cNvPr>
          <p:cNvSpPr txBox="1"/>
          <p:nvPr/>
        </p:nvSpPr>
        <p:spPr>
          <a:xfrm>
            <a:off x="7731311" y="24057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torage</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files)</a:t>
            </a:r>
          </a:p>
        </p:txBody>
      </p:sp>
      <p:pic>
        <p:nvPicPr>
          <p:cNvPr id="62" name="Picture 61">
            <a:extLst>
              <a:ext uri="{FF2B5EF4-FFF2-40B4-BE49-F238E27FC236}">
                <a16:creationId xmlns:a16="http://schemas.microsoft.com/office/drawing/2014/main" id="{9365ED42-34F4-48DB-8F14-9272860A160F}"/>
              </a:ext>
            </a:extLst>
          </p:cNvPr>
          <p:cNvPicPr>
            <a:picLocks noChangeAspect="1"/>
          </p:cNvPicPr>
          <p:nvPr/>
        </p:nvPicPr>
        <p:blipFill>
          <a:blip r:embed="rId13"/>
          <a:stretch>
            <a:fillRect/>
          </a:stretch>
        </p:blipFill>
        <p:spPr>
          <a:xfrm>
            <a:off x="7831410" y="1874447"/>
            <a:ext cx="618376" cy="498304"/>
          </a:xfrm>
          <a:prstGeom prst="rect">
            <a:avLst/>
          </a:prstGeom>
        </p:spPr>
      </p:pic>
      <p:sp>
        <p:nvSpPr>
          <p:cNvPr id="63" name="TextBox 62">
            <a:extLst>
              <a:ext uri="{FF2B5EF4-FFF2-40B4-BE49-F238E27FC236}">
                <a16:creationId xmlns:a16="http://schemas.microsoft.com/office/drawing/2014/main" id="{309872CC-6E41-4AB2-B981-60F065016F7B}"/>
              </a:ext>
            </a:extLst>
          </p:cNvPr>
          <p:cNvSpPr txBox="1"/>
          <p:nvPr/>
        </p:nvSpPr>
        <p:spPr>
          <a:xfrm>
            <a:off x="7695018" y="368215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pache HDInsight</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analytics)</a:t>
            </a:r>
          </a:p>
        </p:txBody>
      </p:sp>
      <p:pic>
        <p:nvPicPr>
          <p:cNvPr id="64" name="Graphic 63">
            <a:extLst>
              <a:ext uri="{FF2B5EF4-FFF2-40B4-BE49-F238E27FC236}">
                <a16:creationId xmlns:a16="http://schemas.microsoft.com/office/drawing/2014/main" id="{CA02B29F-90C3-4271-B4AE-E582EC662999}"/>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52443" r="33185" b="80206"/>
          <a:stretch/>
        </p:blipFill>
        <p:spPr>
          <a:xfrm>
            <a:off x="7823213" y="3143896"/>
            <a:ext cx="562186" cy="463217"/>
          </a:xfrm>
          <a:prstGeom prst="rect">
            <a:avLst/>
          </a:prstGeom>
        </p:spPr>
      </p:pic>
      <p:pic>
        <p:nvPicPr>
          <p:cNvPr id="60" name="Picture 59">
            <a:extLst>
              <a:ext uri="{FF2B5EF4-FFF2-40B4-BE49-F238E27FC236}">
                <a16:creationId xmlns:a16="http://schemas.microsoft.com/office/drawing/2014/main" id="{DCF5A6E6-F7F8-4A8F-894B-FF9F52BC3FBB}"/>
              </a:ext>
            </a:extLst>
          </p:cNvPr>
          <p:cNvPicPr>
            <a:picLocks noChangeAspect="1"/>
          </p:cNvPicPr>
          <p:nvPr/>
        </p:nvPicPr>
        <p:blipFill>
          <a:blip r:embed="rId16"/>
          <a:stretch>
            <a:fillRect/>
          </a:stretch>
        </p:blipFill>
        <p:spPr>
          <a:xfrm>
            <a:off x="7976953" y="4762905"/>
            <a:ext cx="430036" cy="430036"/>
          </a:xfrm>
          <a:prstGeom prst="rect">
            <a:avLst/>
          </a:prstGeom>
        </p:spPr>
      </p:pic>
      <p:sp>
        <p:nvSpPr>
          <p:cNvPr id="66" name="TextBox 65">
            <a:extLst>
              <a:ext uri="{FF2B5EF4-FFF2-40B4-BE49-F238E27FC236}">
                <a16:creationId xmlns:a16="http://schemas.microsoft.com/office/drawing/2014/main" id="{615F8F88-8B2F-4E2D-AB5C-2190B09F9F35}"/>
              </a:ext>
            </a:extLst>
          </p:cNvPr>
          <p:cNvSpPr txBox="1"/>
          <p:nvPr/>
        </p:nvSpPr>
        <p:spPr>
          <a:xfrm>
            <a:off x="5931396" y="2407522"/>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DN</a:t>
            </a:r>
          </a:p>
        </p:txBody>
      </p:sp>
      <p:sp>
        <p:nvSpPr>
          <p:cNvPr id="67" name="TextBox 66">
            <a:extLst>
              <a:ext uri="{FF2B5EF4-FFF2-40B4-BE49-F238E27FC236}">
                <a16:creationId xmlns:a16="http://schemas.microsoft.com/office/drawing/2014/main" id="{F5894ADB-741A-44AE-88F1-024A00196CBA}"/>
              </a:ext>
            </a:extLst>
          </p:cNvPr>
          <p:cNvSpPr txBox="1"/>
          <p:nvPr/>
        </p:nvSpPr>
        <p:spPr>
          <a:xfrm>
            <a:off x="5944858" y="368215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database)</a:t>
            </a:r>
          </a:p>
        </p:txBody>
      </p:sp>
      <p:sp>
        <p:nvSpPr>
          <p:cNvPr id="68" name="TextBox 67">
            <a:extLst>
              <a:ext uri="{FF2B5EF4-FFF2-40B4-BE49-F238E27FC236}">
                <a16:creationId xmlns:a16="http://schemas.microsoft.com/office/drawing/2014/main" id="{6CAEE2E9-57D1-4CE0-8A28-73CFB0FBA8C7}"/>
              </a:ext>
            </a:extLst>
          </p:cNvPr>
          <p:cNvSpPr txBox="1"/>
          <p:nvPr/>
        </p:nvSpPr>
        <p:spPr>
          <a:xfrm>
            <a:off x="4179930" y="368215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API Apps</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backend)</a:t>
            </a:r>
          </a:p>
        </p:txBody>
      </p:sp>
      <p:sp>
        <p:nvSpPr>
          <p:cNvPr id="71" name="Rectangle 11">
            <a:extLst>
              <a:ext uri="{FF2B5EF4-FFF2-40B4-BE49-F238E27FC236}">
                <a16:creationId xmlns:a16="http://schemas.microsoft.com/office/drawing/2014/main" id="{BCFACA4A-3166-448E-B9BD-593E4BDAA3E4}"/>
              </a:ext>
            </a:extLst>
          </p:cNvPr>
          <p:cNvSpPr/>
          <p:nvPr/>
        </p:nvSpPr>
        <p:spPr bwMode="auto">
          <a:xfrm>
            <a:off x="1714646"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2" name="Rectangle 11">
            <a:extLst>
              <a:ext uri="{FF2B5EF4-FFF2-40B4-BE49-F238E27FC236}">
                <a16:creationId xmlns:a16="http://schemas.microsoft.com/office/drawing/2014/main" id="{DF18355E-D99D-4EF0-93A9-D79BEA3B41EB}"/>
              </a:ext>
            </a:extLst>
          </p:cNvPr>
          <p:cNvSpPr/>
          <p:nvPr/>
        </p:nvSpPr>
        <p:spPr bwMode="auto">
          <a:xfrm>
            <a:off x="3339416"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3" name="Rectangle 11">
            <a:extLst>
              <a:ext uri="{FF2B5EF4-FFF2-40B4-BE49-F238E27FC236}">
                <a16:creationId xmlns:a16="http://schemas.microsoft.com/office/drawing/2014/main" id="{DA59DD06-20E7-49B7-ACB8-7857338E4F62}"/>
              </a:ext>
            </a:extLst>
          </p:cNvPr>
          <p:cNvSpPr/>
          <p:nvPr/>
        </p:nvSpPr>
        <p:spPr bwMode="auto">
          <a:xfrm>
            <a:off x="5188293"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4" name="Rectangle 11">
            <a:extLst>
              <a:ext uri="{FF2B5EF4-FFF2-40B4-BE49-F238E27FC236}">
                <a16:creationId xmlns:a16="http://schemas.microsoft.com/office/drawing/2014/main" id="{2EF63433-0BD4-472D-A740-A702C8E4772F}"/>
              </a:ext>
            </a:extLst>
          </p:cNvPr>
          <p:cNvSpPr/>
          <p:nvPr/>
        </p:nvSpPr>
        <p:spPr bwMode="auto">
          <a:xfrm>
            <a:off x="6968475"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5" name="Rectangle 11">
            <a:extLst>
              <a:ext uri="{FF2B5EF4-FFF2-40B4-BE49-F238E27FC236}">
                <a16:creationId xmlns:a16="http://schemas.microsoft.com/office/drawing/2014/main" id="{4542B120-5763-4BB4-A97B-AC22DCB69B8F}"/>
              </a:ext>
            </a:extLst>
          </p:cNvPr>
          <p:cNvSpPr/>
          <p:nvPr/>
        </p:nvSpPr>
        <p:spPr bwMode="auto">
          <a:xfrm>
            <a:off x="6968475" y="495652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6" name="Rectangle 11">
            <a:extLst>
              <a:ext uri="{FF2B5EF4-FFF2-40B4-BE49-F238E27FC236}">
                <a16:creationId xmlns:a16="http://schemas.microsoft.com/office/drawing/2014/main" id="{4262CCD7-F297-4B96-9064-4C44665DF42A}"/>
              </a:ext>
            </a:extLst>
          </p:cNvPr>
          <p:cNvSpPr/>
          <p:nvPr/>
        </p:nvSpPr>
        <p:spPr bwMode="auto">
          <a:xfrm flipH="1">
            <a:off x="6968475" y="2139598"/>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7" name="Rectangle 11">
            <a:extLst>
              <a:ext uri="{FF2B5EF4-FFF2-40B4-BE49-F238E27FC236}">
                <a16:creationId xmlns:a16="http://schemas.microsoft.com/office/drawing/2014/main" id="{4629BC51-430C-4506-A863-07A73CB75257}"/>
              </a:ext>
            </a:extLst>
          </p:cNvPr>
          <p:cNvSpPr/>
          <p:nvPr/>
        </p:nvSpPr>
        <p:spPr bwMode="auto">
          <a:xfrm rot="5400000">
            <a:off x="6162382" y="4337627"/>
            <a:ext cx="403391"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8" name="Rectangle 31">
            <a:extLst>
              <a:ext uri="{FF2B5EF4-FFF2-40B4-BE49-F238E27FC236}">
                <a16:creationId xmlns:a16="http://schemas.microsoft.com/office/drawing/2014/main" id="{266ED91A-6B30-4A5F-9AD5-4DBCE8497E3B}"/>
              </a:ext>
            </a:extLst>
          </p:cNvPr>
          <p:cNvSpPr/>
          <p:nvPr/>
        </p:nvSpPr>
        <p:spPr bwMode="auto">
          <a:xfrm rot="16200000" flipH="1" flipV="1">
            <a:off x="4825501" y="1942128"/>
            <a:ext cx="843713" cy="1238660"/>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cs typeface="Segoe UI" pitchFamily="34" charset="0"/>
            </a:endParaRPr>
          </a:p>
        </p:txBody>
      </p:sp>
      <p:sp>
        <p:nvSpPr>
          <p:cNvPr id="79" name="TextBox 78">
            <a:extLst>
              <a:ext uri="{FF2B5EF4-FFF2-40B4-BE49-F238E27FC236}">
                <a16:creationId xmlns:a16="http://schemas.microsoft.com/office/drawing/2014/main" id="{B3AEF6F3-F007-40F9-97C0-E4E6A3A86C24}"/>
              </a:ext>
            </a:extLst>
          </p:cNvPr>
          <p:cNvSpPr txBox="1"/>
          <p:nvPr/>
        </p:nvSpPr>
        <p:spPr>
          <a:xfrm>
            <a:off x="5944858" y="5247365"/>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Functions</a:t>
            </a:r>
          </a:p>
        </p:txBody>
      </p:sp>
      <p:sp>
        <p:nvSpPr>
          <p:cNvPr id="80" name="TextBox 79">
            <a:extLst>
              <a:ext uri="{FF2B5EF4-FFF2-40B4-BE49-F238E27FC236}">
                <a16:creationId xmlns:a16="http://schemas.microsoft.com/office/drawing/2014/main" id="{58E97953-CDA5-4F5B-B9F8-9902A04B7428}"/>
              </a:ext>
            </a:extLst>
          </p:cNvPr>
          <p:cNvSpPr txBox="1"/>
          <p:nvPr/>
        </p:nvSpPr>
        <p:spPr>
          <a:xfrm>
            <a:off x="7731311" y="5247365"/>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Notification Hub</a:t>
            </a:r>
            <a:br>
              <a:rPr lang="en-US" sz="1029" b="0" dirty="0">
                <a:solidFill>
                  <a:srgbClr val="FFFFFF"/>
                </a:solidFill>
                <a:latin typeface="Segoe UI Semilight"/>
                <a:cs typeface="+mn-cs"/>
              </a:rPr>
            </a:br>
            <a:r>
              <a:rPr lang="en-US" sz="1029" b="0" dirty="0">
                <a:solidFill>
                  <a:srgbClr val="FFFFFF"/>
                </a:solidFill>
                <a:latin typeface="Segoe UI Semilight"/>
                <a:cs typeface="+mn-cs"/>
              </a:rPr>
              <a:t>(Push notifications)</a:t>
            </a:r>
          </a:p>
        </p:txBody>
      </p:sp>
    </p:spTree>
    <p:extLst>
      <p:ext uri="{BB962C8B-B14F-4D97-AF65-F5344CB8AC3E}">
        <p14:creationId xmlns:p14="http://schemas.microsoft.com/office/powerpoint/2010/main" val="2056529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597EB-FC36-41FE-A120-E5694647B8CA}"/>
              </a:ext>
            </a:extLst>
          </p:cNvPr>
          <p:cNvSpPr>
            <a:spLocks noGrp="1"/>
          </p:cNvSpPr>
          <p:nvPr>
            <p:ph type="title"/>
          </p:nvPr>
        </p:nvSpPr>
        <p:spPr/>
        <p:txBody>
          <a:bodyPr/>
          <a:lstStyle/>
          <a:p>
            <a:r>
              <a:rPr lang="en-US" dirty="0"/>
              <a:t>Scenarios</a:t>
            </a:r>
          </a:p>
        </p:txBody>
      </p:sp>
      <p:sp>
        <p:nvSpPr>
          <p:cNvPr id="3" name="Content Placeholder 2">
            <a:extLst>
              <a:ext uri="{FF2B5EF4-FFF2-40B4-BE49-F238E27FC236}">
                <a16:creationId xmlns:a16="http://schemas.microsoft.com/office/drawing/2014/main" id="{75A647B0-2E0F-460C-AF35-D836C72243C3}"/>
              </a:ext>
            </a:extLst>
          </p:cNvPr>
          <p:cNvSpPr>
            <a:spLocks noGrp="1"/>
          </p:cNvSpPr>
          <p:nvPr>
            <p:ph idx="1"/>
          </p:nvPr>
        </p:nvSpPr>
        <p:spPr>
          <a:xfrm>
            <a:off x="629210" y="2226639"/>
            <a:ext cx="4196522" cy="3373753"/>
          </a:xfrm>
        </p:spPr>
        <p:txBody>
          <a:bodyPr>
            <a:normAutofit fontScale="77500" lnSpcReduction="20000"/>
          </a:bodyPr>
          <a:lstStyle/>
          <a:p>
            <a:r>
              <a:rPr lang="en-US" dirty="0"/>
              <a:t>Horizontal </a:t>
            </a:r>
          </a:p>
          <a:p>
            <a:pPr lvl="1"/>
            <a:r>
              <a:rPr lang="en-US" dirty="0" err="1"/>
              <a:t>Serverless</a:t>
            </a:r>
            <a:r>
              <a:rPr lang="en-US" dirty="0"/>
              <a:t>, Real time</a:t>
            </a:r>
          </a:p>
          <a:p>
            <a:pPr lvl="1"/>
            <a:r>
              <a:rPr lang="en-US" dirty="0"/>
              <a:t>Time Series, Audit log</a:t>
            </a:r>
          </a:p>
          <a:p>
            <a:pPr lvl="1"/>
            <a:r>
              <a:rPr lang="en-US" dirty="0"/>
              <a:t>Social Signals  </a:t>
            </a:r>
          </a:p>
          <a:p>
            <a:pPr lvl="1"/>
            <a:r>
              <a:rPr lang="en-US" dirty="0"/>
              <a:t>Mobile notification/logging</a:t>
            </a:r>
          </a:p>
          <a:p>
            <a:pPr lvl="1"/>
            <a:r>
              <a:rPr lang="en-US" dirty="0"/>
              <a:t>Fraud Detection – WITH SPARK or other Analytics </a:t>
            </a:r>
          </a:p>
          <a:p>
            <a:pPr lvl="1"/>
            <a:r>
              <a:rPr lang="en-US" dirty="0"/>
              <a:t>Personalization/Recommendation store</a:t>
            </a:r>
          </a:p>
          <a:p>
            <a:pPr lvl="1"/>
            <a:r>
              <a:rPr lang="en-US" dirty="0"/>
              <a:t>Content Metadata</a:t>
            </a:r>
          </a:p>
          <a:p>
            <a:pPr lvl="1"/>
            <a:r>
              <a:rPr lang="en-US" dirty="0"/>
              <a:t>C360 </a:t>
            </a:r>
          </a:p>
          <a:p>
            <a:pPr lvl="1"/>
            <a:r>
              <a:rPr lang="en-US" dirty="0"/>
              <a:t>User profile store</a:t>
            </a:r>
          </a:p>
          <a:p>
            <a:pPr lvl="2"/>
            <a:r>
              <a:rPr lang="en-US" dirty="0"/>
              <a:t>Customer Registration</a:t>
            </a:r>
          </a:p>
          <a:p>
            <a:r>
              <a:rPr lang="en-US" dirty="0"/>
              <a:t>Security </a:t>
            </a:r>
          </a:p>
          <a:p>
            <a:pPr lvl="1"/>
            <a:r>
              <a:rPr lang="en-US" dirty="0"/>
              <a:t>Audit log</a:t>
            </a:r>
          </a:p>
          <a:p>
            <a:pPr lvl="1"/>
            <a:r>
              <a:rPr lang="en-US" dirty="0"/>
              <a:t>SOA request logging</a:t>
            </a:r>
          </a:p>
          <a:p>
            <a:pPr lvl="1"/>
            <a:r>
              <a:rPr lang="en-US" dirty="0"/>
              <a:t>NW request logging</a:t>
            </a:r>
          </a:p>
        </p:txBody>
      </p:sp>
      <p:sp>
        <p:nvSpPr>
          <p:cNvPr id="4" name="Content Placeholder 2">
            <a:extLst>
              <a:ext uri="{FF2B5EF4-FFF2-40B4-BE49-F238E27FC236}">
                <a16:creationId xmlns:a16="http://schemas.microsoft.com/office/drawing/2014/main" id="{29807171-E23D-4050-9E1A-5276A47DD0C8}"/>
              </a:ext>
            </a:extLst>
          </p:cNvPr>
          <p:cNvSpPr txBox="1">
            <a:spLocks/>
          </p:cNvSpPr>
          <p:nvPr/>
        </p:nvSpPr>
        <p:spPr>
          <a:xfrm>
            <a:off x="4771997" y="2137356"/>
            <a:ext cx="4371355" cy="3373753"/>
          </a:xfrm>
          <a:prstGeom prst="rect">
            <a:avLst/>
          </a:prstGeom>
        </p:spPr>
        <p:txBody>
          <a:bodyPr vert="horz" lIns="68570" tIns="34285" rIns="68570" bIns="34285" rtlCol="0">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17" indent="-171417" defTabSz="685669" fontAlgn="auto">
              <a:spcBef>
                <a:spcPts val="750"/>
              </a:spcBef>
              <a:spcAft>
                <a:spcPts val="0"/>
              </a:spcAft>
            </a:pPr>
            <a:r>
              <a:rPr lang="en-US" sz="2100" b="0" dirty="0">
                <a:solidFill>
                  <a:prstClr val="black"/>
                </a:solidFill>
                <a:latin typeface="Calibri" panose="020F0502020204030204"/>
              </a:rPr>
              <a:t>Ecommerce/Retail</a:t>
            </a:r>
          </a:p>
          <a:p>
            <a:pPr marL="514251" lvl="1" indent="-171417" defTabSz="685669" fontAlgn="auto">
              <a:spcBef>
                <a:spcPts val="375"/>
              </a:spcBef>
              <a:spcAft>
                <a:spcPts val="0"/>
              </a:spcAft>
            </a:pPr>
            <a:r>
              <a:rPr lang="en-US" sz="1800" b="0" dirty="0">
                <a:solidFill>
                  <a:prstClr val="black"/>
                </a:solidFill>
                <a:latin typeface="Calibri" panose="020F0502020204030204"/>
              </a:rPr>
              <a:t>Order payment management logging</a:t>
            </a:r>
          </a:p>
          <a:p>
            <a:pPr marL="514251" lvl="1" indent="-171417" defTabSz="685669" fontAlgn="auto">
              <a:spcBef>
                <a:spcPts val="375"/>
              </a:spcBef>
              <a:spcAft>
                <a:spcPts val="0"/>
              </a:spcAft>
            </a:pPr>
            <a:r>
              <a:rPr lang="en-US" sz="1800" b="0" dirty="0">
                <a:solidFill>
                  <a:prstClr val="black"/>
                </a:solidFill>
                <a:latin typeface="Calibri" panose="020F0502020204030204"/>
              </a:rPr>
              <a:t>C360</a:t>
            </a:r>
          </a:p>
          <a:p>
            <a:pPr marL="514251" lvl="1" indent="-171417" defTabSz="685669" fontAlgn="auto">
              <a:spcBef>
                <a:spcPts val="375"/>
              </a:spcBef>
              <a:spcAft>
                <a:spcPts val="0"/>
              </a:spcAft>
            </a:pPr>
            <a:r>
              <a:rPr lang="en-US" sz="1800" b="0" dirty="0">
                <a:solidFill>
                  <a:prstClr val="black"/>
                </a:solidFill>
                <a:latin typeface="Calibri" panose="020F0502020204030204"/>
              </a:rPr>
              <a:t>Shipment logging</a:t>
            </a:r>
          </a:p>
          <a:p>
            <a:pPr marL="514251" lvl="1" indent="-171417" defTabSz="685669" fontAlgn="auto">
              <a:spcBef>
                <a:spcPts val="375"/>
              </a:spcBef>
              <a:spcAft>
                <a:spcPts val="0"/>
              </a:spcAft>
            </a:pPr>
            <a:r>
              <a:rPr lang="en-US" sz="1800" b="0" dirty="0">
                <a:solidFill>
                  <a:prstClr val="black"/>
                </a:solidFill>
                <a:latin typeface="Calibri" panose="020F0502020204030204"/>
              </a:rPr>
              <a:t>Supply chain </a:t>
            </a:r>
          </a:p>
          <a:p>
            <a:pPr marL="514251" lvl="1" indent="-171417" defTabSz="685669" fontAlgn="auto">
              <a:spcBef>
                <a:spcPts val="375"/>
              </a:spcBef>
              <a:spcAft>
                <a:spcPts val="0"/>
              </a:spcAft>
            </a:pPr>
            <a:r>
              <a:rPr lang="en-US" sz="1800" b="0" dirty="0">
                <a:solidFill>
                  <a:prstClr val="black"/>
                </a:solidFill>
                <a:latin typeface="Calibri" panose="020F0502020204030204"/>
              </a:rPr>
              <a:t>Catalogs</a:t>
            </a:r>
          </a:p>
          <a:p>
            <a:pPr marL="514251" lvl="1" indent="-171417" defTabSz="685669" fontAlgn="auto">
              <a:spcBef>
                <a:spcPts val="375"/>
              </a:spcBef>
              <a:spcAft>
                <a:spcPts val="0"/>
              </a:spcAft>
            </a:pPr>
            <a:r>
              <a:rPr lang="en-US" sz="1800" b="0" dirty="0">
                <a:solidFill>
                  <a:prstClr val="black"/>
                </a:solidFill>
                <a:latin typeface="Calibri" panose="020F0502020204030204"/>
              </a:rPr>
              <a:t>Inventory </a:t>
            </a:r>
          </a:p>
          <a:p>
            <a:pPr marL="514251" lvl="1" indent="-171417" defTabSz="685669" fontAlgn="auto">
              <a:spcBef>
                <a:spcPts val="375"/>
              </a:spcBef>
              <a:spcAft>
                <a:spcPts val="0"/>
              </a:spcAft>
            </a:pPr>
            <a:r>
              <a:rPr lang="en-US" sz="1800" b="0" dirty="0">
                <a:solidFill>
                  <a:prstClr val="black"/>
                </a:solidFill>
                <a:latin typeface="Calibri" panose="020F0502020204030204"/>
              </a:rPr>
              <a:t>User profile store</a:t>
            </a:r>
          </a:p>
          <a:p>
            <a:pPr marL="857086" lvl="2" indent="-171417" defTabSz="685669" fontAlgn="auto">
              <a:spcBef>
                <a:spcPts val="375"/>
              </a:spcBef>
              <a:spcAft>
                <a:spcPts val="0"/>
              </a:spcAft>
            </a:pPr>
            <a:r>
              <a:rPr lang="en-US" sz="1500" b="0" dirty="0">
                <a:solidFill>
                  <a:prstClr val="black"/>
                </a:solidFill>
                <a:latin typeface="Calibri" panose="020F0502020204030204"/>
              </a:rPr>
              <a:t>Customer Registration</a:t>
            </a:r>
          </a:p>
          <a:p>
            <a:pPr marL="514251" lvl="1" indent="-171417" defTabSz="685669" fontAlgn="auto">
              <a:spcBef>
                <a:spcPts val="375"/>
              </a:spcBef>
              <a:spcAft>
                <a:spcPts val="0"/>
              </a:spcAft>
            </a:pPr>
            <a:endParaRPr lang="en-US" sz="1800" b="0" dirty="0">
              <a:solidFill>
                <a:prstClr val="black"/>
              </a:solidFill>
              <a:latin typeface="Calibri" panose="020F0502020204030204"/>
            </a:endParaRPr>
          </a:p>
          <a:p>
            <a:pPr marL="171417" indent="-171417" defTabSz="685669" fontAlgn="auto">
              <a:spcBef>
                <a:spcPts val="750"/>
              </a:spcBef>
              <a:spcAft>
                <a:spcPts val="0"/>
              </a:spcAft>
            </a:pPr>
            <a:r>
              <a:rPr lang="en-US" sz="2100" b="0" dirty="0">
                <a:solidFill>
                  <a:prstClr val="black"/>
                </a:solidFill>
                <a:latin typeface="Calibri" panose="020F0502020204030204"/>
              </a:rPr>
              <a:t>Messaging/Chat Channel</a:t>
            </a:r>
          </a:p>
          <a:p>
            <a:pPr marL="514251" lvl="1" indent="-171417" defTabSz="685669" fontAlgn="auto">
              <a:spcBef>
                <a:spcPts val="375"/>
              </a:spcBef>
              <a:spcAft>
                <a:spcPts val="0"/>
              </a:spcAft>
            </a:pPr>
            <a:r>
              <a:rPr lang="en-US" sz="1800" b="0" dirty="0">
                <a:solidFill>
                  <a:prstClr val="black"/>
                </a:solidFill>
                <a:latin typeface="Calibri" panose="020F0502020204030204"/>
              </a:rPr>
              <a:t>Inbox</a:t>
            </a:r>
          </a:p>
          <a:p>
            <a:pPr marL="171417" indent="-171417" defTabSz="685669" fontAlgn="auto">
              <a:spcBef>
                <a:spcPts val="750"/>
              </a:spcBef>
              <a:spcAft>
                <a:spcPts val="0"/>
              </a:spcAft>
            </a:pPr>
            <a:r>
              <a:rPr lang="en-US" sz="2100" b="0" dirty="0">
                <a:solidFill>
                  <a:prstClr val="black"/>
                </a:solidFill>
                <a:latin typeface="Calibri" panose="020F0502020204030204"/>
              </a:rPr>
              <a:t>Energy/Manufacturing/</a:t>
            </a:r>
            <a:r>
              <a:rPr lang="en-US" sz="2100" b="0" dirty="0" err="1">
                <a:solidFill>
                  <a:prstClr val="black"/>
                </a:solidFill>
                <a:latin typeface="Calibri" panose="020F0502020204030204"/>
              </a:rPr>
              <a:t>Iot</a:t>
            </a:r>
            <a:endParaRPr lang="en-US" sz="2100" b="0" dirty="0">
              <a:solidFill>
                <a:prstClr val="black"/>
              </a:solidFill>
              <a:latin typeface="Calibri" panose="020F0502020204030204"/>
            </a:endParaRPr>
          </a:p>
          <a:p>
            <a:pPr marL="514251" lvl="1" indent="-171417" defTabSz="685669" fontAlgn="auto">
              <a:spcBef>
                <a:spcPts val="375"/>
              </a:spcBef>
              <a:spcAft>
                <a:spcPts val="0"/>
              </a:spcAft>
            </a:pPr>
            <a:r>
              <a:rPr lang="en-US" sz="1800" b="0" dirty="0">
                <a:solidFill>
                  <a:prstClr val="black"/>
                </a:solidFill>
                <a:latin typeface="Calibri" panose="020F0502020204030204"/>
              </a:rPr>
              <a:t>Energy meters measurements</a:t>
            </a:r>
          </a:p>
          <a:p>
            <a:pPr marL="514251" lvl="1" indent="-171417" defTabSz="685669" fontAlgn="auto">
              <a:spcBef>
                <a:spcPts val="375"/>
              </a:spcBef>
              <a:spcAft>
                <a:spcPts val="0"/>
              </a:spcAft>
            </a:pPr>
            <a:r>
              <a:rPr lang="en-US" sz="1800" b="0" dirty="0">
                <a:solidFill>
                  <a:prstClr val="black"/>
                </a:solidFill>
                <a:latin typeface="Calibri" panose="020F0502020204030204"/>
              </a:rPr>
              <a:t>Readings/gauges measurements</a:t>
            </a:r>
          </a:p>
          <a:p>
            <a:pPr marL="514251" lvl="1" indent="-171417" defTabSz="685669" fontAlgn="auto">
              <a:spcBef>
                <a:spcPts val="375"/>
              </a:spcBef>
              <a:spcAft>
                <a:spcPts val="0"/>
              </a:spcAft>
            </a:pPr>
            <a:r>
              <a:rPr lang="en-US" sz="1800" b="0">
                <a:solidFill>
                  <a:prstClr val="black"/>
                </a:solidFill>
                <a:latin typeface="Calibri" panose="020F0502020204030204"/>
              </a:rPr>
              <a:t>C360 </a:t>
            </a:r>
            <a:endParaRPr lang="en-US" sz="1800" b="0" dirty="0">
              <a:solidFill>
                <a:prstClr val="black"/>
              </a:solidFill>
              <a:latin typeface="Calibri" panose="020F0502020204030204"/>
            </a:endParaRPr>
          </a:p>
          <a:p>
            <a:pPr marL="171417" indent="-171417" defTabSz="685669" fontAlgn="auto">
              <a:spcBef>
                <a:spcPts val="750"/>
              </a:spcBef>
              <a:spcAft>
                <a:spcPts val="0"/>
              </a:spcAft>
            </a:pPr>
            <a:r>
              <a:rPr lang="en-US" sz="2100" b="0" dirty="0">
                <a:solidFill>
                  <a:prstClr val="black"/>
                </a:solidFill>
                <a:latin typeface="Calibri" panose="020F0502020204030204"/>
              </a:rPr>
              <a:t>Telecom – </a:t>
            </a:r>
          </a:p>
          <a:p>
            <a:pPr marL="514251" lvl="1" indent="-171417" defTabSz="685669" fontAlgn="auto">
              <a:spcBef>
                <a:spcPts val="375"/>
              </a:spcBef>
              <a:spcAft>
                <a:spcPts val="0"/>
              </a:spcAft>
            </a:pPr>
            <a:r>
              <a:rPr lang="en-US" sz="1800" b="0" dirty="0">
                <a:solidFill>
                  <a:prstClr val="black"/>
                </a:solidFill>
                <a:latin typeface="Calibri" panose="020F0502020204030204"/>
              </a:rPr>
              <a:t>User profile management</a:t>
            </a:r>
          </a:p>
          <a:p>
            <a:pPr marL="514251" lvl="1" indent="-171417" defTabSz="685669" fontAlgn="auto">
              <a:spcBef>
                <a:spcPts val="375"/>
              </a:spcBef>
              <a:spcAft>
                <a:spcPts val="0"/>
              </a:spcAft>
            </a:pPr>
            <a:r>
              <a:rPr lang="en-US" sz="1800" b="0" dirty="0">
                <a:solidFill>
                  <a:prstClr val="black"/>
                </a:solidFill>
                <a:latin typeface="Calibri" panose="020F0502020204030204"/>
              </a:rPr>
              <a:t>C360 </a:t>
            </a:r>
          </a:p>
          <a:p>
            <a:pPr marL="171417" indent="-171417" defTabSz="685669" fontAlgn="auto">
              <a:spcBef>
                <a:spcPts val="750"/>
              </a:spcBef>
              <a:spcAft>
                <a:spcPts val="0"/>
              </a:spcAft>
            </a:pPr>
            <a:endParaRPr lang="en-US" sz="2100" b="0" dirty="0">
              <a:solidFill>
                <a:prstClr val="black"/>
              </a:solidFill>
              <a:latin typeface="Calibri" panose="020F0502020204030204"/>
            </a:endParaRPr>
          </a:p>
        </p:txBody>
      </p:sp>
    </p:spTree>
    <p:extLst>
      <p:ext uri="{BB962C8B-B14F-4D97-AF65-F5344CB8AC3E}">
        <p14:creationId xmlns:p14="http://schemas.microsoft.com/office/powerpoint/2010/main" val="3006660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61720-41DE-4ED9-AD52-BD2FA3161DB2}"/>
              </a:ext>
            </a:extLst>
          </p:cNvPr>
          <p:cNvSpPr>
            <a:spLocks noGrp="1"/>
          </p:cNvSpPr>
          <p:nvPr>
            <p:ph type="title"/>
          </p:nvPr>
        </p:nvSpPr>
        <p:spPr/>
        <p:txBody>
          <a:bodyPr/>
          <a:lstStyle/>
          <a:p>
            <a:r>
              <a:rPr lang="en-US" dirty="0"/>
              <a:t>Concepts</a:t>
            </a:r>
          </a:p>
        </p:txBody>
      </p:sp>
      <p:sp>
        <p:nvSpPr>
          <p:cNvPr id="6" name="Arrow: Bent 5">
            <a:extLst>
              <a:ext uri="{FF2B5EF4-FFF2-40B4-BE49-F238E27FC236}">
                <a16:creationId xmlns:a16="http://schemas.microsoft.com/office/drawing/2014/main" id="{CFF4BF00-CB66-4F3F-942B-16B62A6B0D58}"/>
              </a:ext>
            </a:extLst>
          </p:cNvPr>
          <p:cNvSpPr/>
          <p:nvPr/>
        </p:nvSpPr>
        <p:spPr bwMode="auto">
          <a:xfrm flipH="1">
            <a:off x="10169" y="1748204"/>
            <a:ext cx="325990" cy="3899681"/>
          </a:xfrm>
          <a:prstGeom prst="bentArrow">
            <a:avLst>
              <a:gd name="adj1" fmla="val 25000"/>
              <a:gd name="adj2" fmla="val 0"/>
              <a:gd name="adj3" fmla="val 0"/>
              <a:gd name="adj4" fmla="val 0"/>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2059" b="0" err="1">
              <a:solidFill>
                <a:srgbClr val="353535"/>
              </a:solidFill>
              <a:latin typeface="Segoe UI Semi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363390BE-5699-4458-8660-DE6C31B04119}"/>
              </a:ext>
            </a:extLst>
          </p:cNvPr>
          <p:cNvGrpSpPr/>
          <p:nvPr/>
        </p:nvGrpSpPr>
        <p:grpSpPr>
          <a:xfrm>
            <a:off x="291165" y="1763378"/>
            <a:ext cx="8516677" cy="222402"/>
            <a:chOff x="396003" y="1231900"/>
            <a:chExt cx="11583272" cy="302482"/>
          </a:xfrm>
        </p:grpSpPr>
        <p:sp>
          <p:nvSpPr>
            <p:cNvPr id="5" name="Rectangle 4">
              <a:extLst>
                <a:ext uri="{FF2B5EF4-FFF2-40B4-BE49-F238E27FC236}">
                  <a16:creationId xmlns:a16="http://schemas.microsoft.com/office/drawing/2014/main" id="{2BF7DDD6-4AD0-47A9-A2C0-9D875798541E}"/>
                </a:ext>
              </a:extLst>
            </p:cNvPr>
            <p:cNvSpPr/>
            <p:nvPr/>
          </p:nvSpPr>
          <p:spPr>
            <a:xfrm>
              <a:off x="718008" y="1231900"/>
              <a:ext cx="11261267" cy="3024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441"/>
                </a:spcBef>
                <a:spcAft>
                  <a:spcPts val="0"/>
                </a:spcAft>
                <a:defRPr/>
              </a:pPr>
              <a:r>
                <a:rPr lang="en-US" sz="1176" b="0" dirty="0">
                  <a:solidFill>
                    <a:srgbClr val="353535"/>
                  </a:solidFill>
                  <a:latin typeface="Segoe UI Semilight"/>
                </a:rPr>
                <a:t>A </a:t>
              </a:r>
              <a:r>
                <a:rPr lang="en-US" sz="1176" b="0" dirty="0">
                  <a:solidFill>
                    <a:srgbClr val="353535"/>
                  </a:solidFill>
                  <a:latin typeface="Segoe UI Semilight"/>
                  <a:hlinkClick r:id="rId3"/>
                </a:rPr>
                <a:t>technical overview </a:t>
              </a:r>
              <a:r>
                <a:rPr lang="en-US" sz="1176" b="0" dirty="0">
                  <a:solidFill>
                    <a:srgbClr val="353535"/>
                  </a:solidFill>
                  <a:latin typeface="Segoe UI Semilight"/>
                </a:rPr>
                <a:t>of Cosmos DB</a:t>
              </a:r>
            </a:p>
          </p:txBody>
        </p:sp>
        <p:sp>
          <p:nvSpPr>
            <p:cNvPr id="7" name="Oval 6">
              <a:extLst>
                <a:ext uri="{FF2B5EF4-FFF2-40B4-BE49-F238E27FC236}">
                  <a16:creationId xmlns:a16="http://schemas.microsoft.com/office/drawing/2014/main" id="{28EB700A-3E4F-4469-A8D5-4CD7F380573A}"/>
                </a:ext>
              </a:extLst>
            </p:cNvPr>
            <p:cNvSpPr/>
            <p:nvPr/>
          </p:nvSpPr>
          <p:spPr bwMode="auto">
            <a:xfrm>
              <a:off x="396003" y="131697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D0B36C59-FC31-4887-B2CC-AEEB743C175D}"/>
              </a:ext>
            </a:extLst>
          </p:cNvPr>
          <p:cNvGrpSpPr/>
          <p:nvPr/>
        </p:nvGrpSpPr>
        <p:grpSpPr>
          <a:xfrm>
            <a:off x="291165" y="2097854"/>
            <a:ext cx="8516677" cy="191669"/>
            <a:chOff x="396003" y="1693267"/>
            <a:chExt cx="11583272" cy="260683"/>
          </a:xfrm>
        </p:grpSpPr>
        <p:sp>
          <p:nvSpPr>
            <p:cNvPr id="8" name="Oval 7">
              <a:extLst>
                <a:ext uri="{FF2B5EF4-FFF2-40B4-BE49-F238E27FC236}">
                  <a16:creationId xmlns:a16="http://schemas.microsoft.com/office/drawing/2014/main" id="{841CB205-5794-45AE-92B7-FBA83E2144F2}"/>
                </a:ext>
              </a:extLst>
            </p:cNvPr>
            <p:cNvSpPr/>
            <p:nvPr/>
          </p:nvSpPr>
          <p:spPr bwMode="auto">
            <a:xfrm>
              <a:off x="396003" y="1757443"/>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5FDC63BD-AD1B-4FC3-A32D-5B8A43F414AC}"/>
                </a:ext>
              </a:extLst>
            </p:cNvPr>
            <p:cNvSpPr/>
            <p:nvPr/>
          </p:nvSpPr>
          <p:spPr>
            <a:xfrm>
              <a:off x="718008" y="1693267"/>
              <a:ext cx="11261267" cy="26068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441"/>
                </a:spcBef>
                <a:spcAft>
                  <a:spcPts val="0"/>
                </a:spcAft>
                <a:defRPr/>
              </a:pPr>
              <a:r>
                <a:rPr lang="en-US" sz="1176" b="0" dirty="0">
                  <a:solidFill>
                    <a:srgbClr val="353535"/>
                  </a:solidFill>
                  <a:latin typeface="Segoe UI Semilight"/>
                  <a:hlinkClick r:id="rId4"/>
                </a:rPr>
                <a:t>Global distribution with Azure Cosmos DB. </a:t>
              </a:r>
              <a:endParaRPr lang="en-US" sz="1176" b="0" dirty="0">
                <a:solidFill>
                  <a:srgbClr val="353535"/>
                </a:solidFill>
                <a:latin typeface="Segoe UI Semilight"/>
              </a:endParaRPr>
            </a:p>
          </p:txBody>
        </p:sp>
      </p:grpSp>
      <p:grpSp>
        <p:nvGrpSpPr>
          <p:cNvPr id="28" name="Group 27">
            <a:extLst>
              <a:ext uri="{FF2B5EF4-FFF2-40B4-BE49-F238E27FC236}">
                <a16:creationId xmlns:a16="http://schemas.microsoft.com/office/drawing/2014/main" id="{CDFE1CF3-2C21-4A42-BE48-FF910F8BB437}"/>
              </a:ext>
            </a:extLst>
          </p:cNvPr>
          <p:cNvGrpSpPr/>
          <p:nvPr/>
        </p:nvGrpSpPr>
        <p:grpSpPr>
          <a:xfrm>
            <a:off x="291165" y="2401596"/>
            <a:ext cx="8516677" cy="199367"/>
            <a:chOff x="396003" y="2557907"/>
            <a:chExt cx="11583272" cy="271152"/>
          </a:xfrm>
        </p:grpSpPr>
        <p:sp>
          <p:nvSpPr>
            <p:cNvPr id="9" name="Oval 8">
              <a:extLst>
                <a:ext uri="{FF2B5EF4-FFF2-40B4-BE49-F238E27FC236}">
                  <a16:creationId xmlns:a16="http://schemas.microsoft.com/office/drawing/2014/main" id="{B72C8F3D-FED0-4E82-889E-40ACE6A59650}"/>
                </a:ext>
              </a:extLst>
            </p:cNvPr>
            <p:cNvSpPr/>
            <p:nvPr/>
          </p:nvSpPr>
          <p:spPr bwMode="auto">
            <a:xfrm>
              <a:off x="396003" y="2627318"/>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EB561302-A75F-4837-BBFC-669873B1B0DB}"/>
                </a:ext>
              </a:extLst>
            </p:cNvPr>
            <p:cNvSpPr/>
            <p:nvPr/>
          </p:nvSpPr>
          <p:spPr>
            <a:xfrm>
              <a:off x="718008" y="2557907"/>
              <a:ext cx="11261267" cy="27115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5"/>
                </a:rPr>
                <a:t>Automatic regional failover for business continuity in Azure Cosmos DB</a:t>
              </a:r>
              <a:endParaRPr lang="en-US" sz="1176" b="0" dirty="0">
                <a:solidFill>
                  <a:srgbClr val="353535"/>
                </a:solidFill>
                <a:latin typeface="Segoe UI Semilight"/>
              </a:endParaRPr>
            </a:p>
          </p:txBody>
        </p:sp>
      </p:grpSp>
      <p:grpSp>
        <p:nvGrpSpPr>
          <p:cNvPr id="29" name="Group 28">
            <a:extLst>
              <a:ext uri="{FF2B5EF4-FFF2-40B4-BE49-F238E27FC236}">
                <a16:creationId xmlns:a16="http://schemas.microsoft.com/office/drawing/2014/main" id="{2FE9DD5F-1F3C-4A80-B52D-A75529F55757}"/>
              </a:ext>
            </a:extLst>
          </p:cNvPr>
          <p:cNvGrpSpPr/>
          <p:nvPr/>
        </p:nvGrpSpPr>
        <p:grpSpPr>
          <a:xfrm>
            <a:off x="291165" y="2713036"/>
            <a:ext cx="8516677" cy="168746"/>
            <a:chOff x="396003" y="2835742"/>
            <a:chExt cx="11583272" cy="229506"/>
          </a:xfrm>
        </p:grpSpPr>
        <p:sp>
          <p:nvSpPr>
            <p:cNvPr id="10" name="Oval 9">
              <a:extLst>
                <a:ext uri="{FF2B5EF4-FFF2-40B4-BE49-F238E27FC236}">
                  <a16:creationId xmlns:a16="http://schemas.microsoft.com/office/drawing/2014/main" id="{6FAD4DF1-A4CB-4FB3-9E2A-7F1FCC23DC55}"/>
                </a:ext>
              </a:extLst>
            </p:cNvPr>
            <p:cNvSpPr/>
            <p:nvPr/>
          </p:nvSpPr>
          <p:spPr bwMode="auto">
            <a:xfrm>
              <a:off x="396003" y="288433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6839C146-0AD1-4D76-87E0-43AE3F293487}"/>
                </a:ext>
              </a:extLst>
            </p:cNvPr>
            <p:cNvSpPr/>
            <p:nvPr/>
          </p:nvSpPr>
          <p:spPr>
            <a:xfrm>
              <a:off x="718008" y="2835742"/>
              <a:ext cx="11261267" cy="22950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6"/>
                </a:rPr>
                <a:t>How to partition and scale in Azure Cosmos DB </a:t>
              </a:r>
              <a:endParaRPr lang="en-US" sz="1176" b="0" dirty="0">
                <a:solidFill>
                  <a:srgbClr val="353535"/>
                </a:solidFill>
                <a:latin typeface="Segoe UI Semilight"/>
              </a:endParaRPr>
            </a:p>
          </p:txBody>
        </p:sp>
      </p:grpSp>
      <p:grpSp>
        <p:nvGrpSpPr>
          <p:cNvPr id="30" name="Group 29">
            <a:extLst>
              <a:ext uri="{FF2B5EF4-FFF2-40B4-BE49-F238E27FC236}">
                <a16:creationId xmlns:a16="http://schemas.microsoft.com/office/drawing/2014/main" id="{AD124B3A-68D4-43E5-AE91-8A8DFCEEE65A}"/>
              </a:ext>
            </a:extLst>
          </p:cNvPr>
          <p:cNvGrpSpPr/>
          <p:nvPr/>
        </p:nvGrpSpPr>
        <p:grpSpPr>
          <a:xfrm>
            <a:off x="291165" y="2993855"/>
            <a:ext cx="8516677" cy="198150"/>
            <a:chOff x="396003" y="3968045"/>
            <a:chExt cx="11583272" cy="269498"/>
          </a:xfrm>
        </p:grpSpPr>
        <p:sp>
          <p:nvSpPr>
            <p:cNvPr id="14" name="Rectangle 13">
              <a:extLst>
                <a:ext uri="{FF2B5EF4-FFF2-40B4-BE49-F238E27FC236}">
                  <a16:creationId xmlns:a16="http://schemas.microsoft.com/office/drawing/2014/main" id="{243129BC-F2DD-4E7C-8367-0D46558C3BD4}"/>
                </a:ext>
              </a:extLst>
            </p:cNvPr>
            <p:cNvSpPr/>
            <p:nvPr/>
          </p:nvSpPr>
          <p:spPr>
            <a:xfrm>
              <a:off x="718008" y="3968045"/>
              <a:ext cx="11261267" cy="269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7"/>
                </a:rPr>
                <a:t>Tunable data consistency levels in Azure Cosmos DB</a:t>
              </a:r>
              <a:endParaRPr lang="en-US" sz="1176" b="0" dirty="0">
                <a:solidFill>
                  <a:srgbClr val="353535"/>
                </a:solidFill>
                <a:latin typeface="Segoe UI Semilight"/>
              </a:endParaRPr>
            </a:p>
          </p:txBody>
        </p:sp>
        <p:sp>
          <p:nvSpPr>
            <p:cNvPr id="20" name="Oval 19">
              <a:extLst>
                <a:ext uri="{FF2B5EF4-FFF2-40B4-BE49-F238E27FC236}">
                  <a16:creationId xmlns:a16="http://schemas.microsoft.com/office/drawing/2014/main" id="{E53498E7-89F0-4AC6-9FEB-FC9B789547CA}"/>
                </a:ext>
              </a:extLst>
            </p:cNvPr>
            <p:cNvSpPr/>
            <p:nvPr/>
          </p:nvSpPr>
          <p:spPr bwMode="auto">
            <a:xfrm>
              <a:off x="396003" y="4036629"/>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DD58E75E-850E-45E9-9EBC-8EEA8B3CB7B8}"/>
              </a:ext>
            </a:extLst>
          </p:cNvPr>
          <p:cNvGrpSpPr/>
          <p:nvPr/>
        </p:nvGrpSpPr>
        <p:grpSpPr>
          <a:xfrm>
            <a:off x="291165" y="3304080"/>
            <a:ext cx="8516677" cy="186737"/>
            <a:chOff x="396003" y="4439878"/>
            <a:chExt cx="11583272" cy="253975"/>
          </a:xfrm>
        </p:grpSpPr>
        <p:sp>
          <p:nvSpPr>
            <p:cNvPr id="15" name="Rectangle 14">
              <a:extLst>
                <a:ext uri="{FF2B5EF4-FFF2-40B4-BE49-F238E27FC236}">
                  <a16:creationId xmlns:a16="http://schemas.microsoft.com/office/drawing/2014/main" id="{D5ED361E-1964-40BA-8922-066051D0CD92}"/>
                </a:ext>
              </a:extLst>
            </p:cNvPr>
            <p:cNvSpPr/>
            <p:nvPr/>
          </p:nvSpPr>
          <p:spPr>
            <a:xfrm>
              <a:off x="718008" y="4439878"/>
              <a:ext cx="11261267" cy="25397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8"/>
                </a:rPr>
                <a:t>Performance and scale testing with Azure Cosmos DB</a:t>
              </a:r>
              <a:endParaRPr lang="en-US" sz="1176" b="0" dirty="0">
                <a:solidFill>
                  <a:srgbClr val="353535"/>
                </a:solidFill>
                <a:latin typeface="Segoe UI Semilight"/>
              </a:endParaRPr>
            </a:p>
          </p:txBody>
        </p:sp>
        <p:sp>
          <p:nvSpPr>
            <p:cNvPr id="21" name="Oval 20">
              <a:extLst>
                <a:ext uri="{FF2B5EF4-FFF2-40B4-BE49-F238E27FC236}">
                  <a16:creationId xmlns:a16="http://schemas.microsoft.com/office/drawing/2014/main" id="{536EC908-8ED4-416A-9BE9-DBC360AA6B90}"/>
                </a:ext>
              </a:extLst>
            </p:cNvPr>
            <p:cNvSpPr/>
            <p:nvPr/>
          </p:nvSpPr>
          <p:spPr bwMode="auto">
            <a:xfrm>
              <a:off x="396003" y="450070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042E744A-94DD-413F-9D43-2C111AE94812}"/>
              </a:ext>
            </a:extLst>
          </p:cNvPr>
          <p:cNvGrpSpPr/>
          <p:nvPr/>
        </p:nvGrpSpPr>
        <p:grpSpPr>
          <a:xfrm>
            <a:off x="291165" y="3602891"/>
            <a:ext cx="8516677" cy="197208"/>
            <a:chOff x="396003" y="4896829"/>
            <a:chExt cx="11583272" cy="268217"/>
          </a:xfrm>
        </p:grpSpPr>
        <p:sp>
          <p:nvSpPr>
            <p:cNvPr id="16" name="Rectangle 15">
              <a:extLst>
                <a:ext uri="{FF2B5EF4-FFF2-40B4-BE49-F238E27FC236}">
                  <a16:creationId xmlns:a16="http://schemas.microsoft.com/office/drawing/2014/main" id="{78AD51CE-C2F0-4C72-97DD-52F649DFAF6D}"/>
                </a:ext>
              </a:extLst>
            </p:cNvPr>
            <p:cNvSpPr/>
            <p:nvPr/>
          </p:nvSpPr>
          <p:spPr>
            <a:xfrm>
              <a:off x="718008" y="4896829"/>
              <a:ext cx="11261267" cy="26821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9"/>
                </a:rPr>
                <a:t>Schema-agnostic indexing in Cosmos DB </a:t>
              </a:r>
              <a:r>
                <a:rPr lang="en-US" sz="1176" b="0" dirty="0">
                  <a:solidFill>
                    <a:srgbClr val="353535"/>
                  </a:solidFill>
                  <a:latin typeface="Segoe UI Semilight"/>
                </a:rPr>
                <a:t>(VLDB paper on how we do indexing in Cosmos DB)</a:t>
              </a:r>
            </a:p>
          </p:txBody>
        </p:sp>
        <p:sp>
          <p:nvSpPr>
            <p:cNvPr id="22" name="Oval 21">
              <a:extLst>
                <a:ext uri="{FF2B5EF4-FFF2-40B4-BE49-F238E27FC236}">
                  <a16:creationId xmlns:a16="http://schemas.microsoft.com/office/drawing/2014/main" id="{5BD889D6-D6F1-4D4C-80FF-86E25052BB55}"/>
                </a:ext>
              </a:extLst>
            </p:cNvPr>
            <p:cNvSpPr/>
            <p:nvPr/>
          </p:nvSpPr>
          <p:spPr bwMode="auto">
            <a:xfrm>
              <a:off x="396003" y="4964772"/>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07FC2CB2-C600-432A-AE4A-1B5DCF2FFDDB}"/>
              </a:ext>
            </a:extLst>
          </p:cNvPr>
          <p:cNvGrpSpPr/>
          <p:nvPr/>
        </p:nvGrpSpPr>
        <p:grpSpPr>
          <a:xfrm>
            <a:off x="291165" y="3912172"/>
            <a:ext cx="8516677" cy="155006"/>
            <a:chOff x="396003" y="5389601"/>
            <a:chExt cx="11583272" cy="210818"/>
          </a:xfrm>
        </p:grpSpPr>
        <p:sp>
          <p:nvSpPr>
            <p:cNvPr id="17" name="Rectangle 16">
              <a:extLst>
                <a:ext uri="{FF2B5EF4-FFF2-40B4-BE49-F238E27FC236}">
                  <a16:creationId xmlns:a16="http://schemas.microsoft.com/office/drawing/2014/main" id="{57B7E030-159B-407E-8FD3-C53F63E22346}"/>
                </a:ext>
              </a:extLst>
            </p:cNvPr>
            <p:cNvSpPr/>
            <p:nvPr/>
          </p:nvSpPr>
          <p:spPr>
            <a:xfrm>
              <a:off x="718008" y="5389601"/>
              <a:ext cx="11261267" cy="21081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0"/>
                </a:rPr>
                <a:t>How does Azure Cosmos DB index data </a:t>
              </a:r>
              <a:endParaRPr lang="en-US" sz="1176" b="0" dirty="0">
                <a:solidFill>
                  <a:srgbClr val="353535"/>
                </a:solidFill>
                <a:latin typeface="Segoe UI Semilight"/>
              </a:endParaRPr>
            </a:p>
          </p:txBody>
        </p:sp>
        <p:sp>
          <p:nvSpPr>
            <p:cNvPr id="23" name="Oval 22">
              <a:extLst>
                <a:ext uri="{FF2B5EF4-FFF2-40B4-BE49-F238E27FC236}">
                  <a16:creationId xmlns:a16="http://schemas.microsoft.com/office/drawing/2014/main" id="{FFD01596-AB7F-4749-A9D5-FD9AD5ECD6E7}"/>
                </a:ext>
              </a:extLst>
            </p:cNvPr>
            <p:cNvSpPr/>
            <p:nvPr/>
          </p:nvSpPr>
          <p:spPr bwMode="auto">
            <a:xfrm>
              <a:off x="396003" y="542884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32BACDB1-5D48-4E30-95E7-F88F352C42E1}"/>
              </a:ext>
            </a:extLst>
          </p:cNvPr>
          <p:cNvGrpSpPr/>
          <p:nvPr/>
        </p:nvGrpSpPr>
        <p:grpSpPr>
          <a:xfrm>
            <a:off x="291165" y="4179252"/>
            <a:ext cx="8516677" cy="201965"/>
            <a:chOff x="396003" y="5821738"/>
            <a:chExt cx="11583272" cy="274687"/>
          </a:xfrm>
        </p:grpSpPr>
        <p:sp>
          <p:nvSpPr>
            <p:cNvPr id="18" name="Rectangle 17">
              <a:extLst>
                <a:ext uri="{FF2B5EF4-FFF2-40B4-BE49-F238E27FC236}">
                  <a16:creationId xmlns:a16="http://schemas.microsoft.com/office/drawing/2014/main" id="{6D5187C3-37DD-42FE-A110-CFBAE4508C0A}"/>
                </a:ext>
              </a:extLst>
            </p:cNvPr>
            <p:cNvSpPr/>
            <p:nvPr/>
          </p:nvSpPr>
          <p:spPr>
            <a:xfrm>
              <a:off x="718008" y="5821738"/>
              <a:ext cx="11261267" cy="27468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1"/>
                </a:rPr>
                <a:t>Request Units in Azure Cosmos DB</a:t>
              </a:r>
              <a:endParaRPr lang="en-US" sz="1176" b="0" dirty="0">
                <a:solidFill>
                  <a:srgbClr val="353535"/>
                </a:solidFill>
                <a:latin typeface="Segoe UI Semilight"/>
              </a:endParaRPr>
            </a:p>
          </p:txBody>
        </p:sp>
        <p:sp>
          <p:nvSpPr>
            <p:cNvPr id="24" name="Oval 23">
              <a:extLst>
                <a:ext uri="{FF2B5EF4-FFF2-40B4-BE49-F238E27FC236}">
                  <a16:creationId xmlns:a16="http://schemas.microsoft.com/office/drawing/2014/main" id="{4B7175A1-EFA5-41B9-AD83-CC0C9175BCED}"/>
                </a:ext>
              </a:extLst>
            </p:cNvPr>
            <p:cNvSpPr/>
            <p:nvPr/>
          </p:nvSpPr>
          <p:spPr bwMode="auto">
            <a:xfrm>
              <a:off x="396003" y="589291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B257051C-EAA7-40AF-B156-4C6C23BF6DB2}"/>
              </a:ext>
            </a:extLst>
          </p:cNvPr>
          <p:cNvGrpSpPr/>
          <p:nvPr/>
        </p:nvGrpSpPr>
        <p:grpSpPr>
          <a:xfrm>
            <a:off x="291165" y="4493290"/>
            <a:ext cx="8516677" cy="192402"/>
            <a:chOff x="396003" y="6292311"/>
            <a:chExt cx="11583272" cy="261680"/>
          </a:xfrm>
        </p:grpSpPr>
        <p:sp>
          <p:nvSpPr>
            <p:cNvPr id="19" name="Rectangle 18">
              <a:extLst>
                <a:ext uri="{FF2B5EF4-FFF2-40B4-BE49-F238E27FC236}">
                  <a16:creationId xmlns:a16="http://schemas.microsoft.com/office/drawing/2014/main" id="{9E869840-0981-4CB6-AAB3-EB74B7880BAC}"/>
                </a:ext>
              </a:extLst>
            </p:cNvPr>
            <p:cNvSpPr/>
            <p:nvPr/>
          </p:nvSpPr>
          <p:spPr>
            <a:xfrm>
              <a:off x="718008" y="6292311"/>
              <a:ext cx="11261267" cy="26168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2"/>
                </a:rPr>
                <a:t>Expire data in Azure Cosmos DB collections automatically with time to live </a:t>
              </a:r>
              <a:endParaRPr lang="en-US" sz="1176" b="0" dirty="0">
                <a:solidFill>
                  <a:srgbClr val="353535"/>
                </a:solidFill>
                <a:latin typeface="Segoe UI Semilight"/>
              </a:endParaRPr>
            </a:p>
          </p:txBody>
        </p:sp>
        <p:sp>
          <p:nvSpPr>
            <p:cNvPr id="25" name="Oval 24">
              <a:extLst>
                <a:ext uri="{FF2B5EF4-FFF2-40B4-BE49-F238E27FC236}">
                  <a16:creationId xmlns:a16="http://schemas.microsoft.com/office/drawing/2014/main" id="{FF203908-B254-4AA7-964B-2D91317AC18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E87AC434-B605-4C3B-A5C7-C3D361F5F9EF}"/>
              </a:ext>
            </a:extLst>
          </p:cNvPr>
          <p:cNvGrpSpPr/>
          <p:nvPr/>
        </p:nvGrpSpPr>
        <p:grpSpPr>
          <a:xfrm>
            <a:off x="291165" y="4797766"/>
            <a:ext cx="8516677" cy="182196"/>
            <a:chOff x="396003" y="6299251"/>
            <a:chExt cx="11583272" cy="247799"/>
          </a:xfrm>
        </p:grpSpPr>
        <p:sp>
          <p:nvSpPr>
            <p:cNvPr id="37" name="Rectangle 36">
              <a:extLst>
                <a:ext uri="{FF2B5EF4-FFF2-40B4-BE49-F238E27FC236}">
                  <a16:creationId xmlns:a16="http://schemas.microsoft.com/office/drawing/2014/main" id="{E8B48293-11A4-478A-B910-2BA23DE5FC84}"/>
                </a:ext>
              </a:extLst>
            </p:cNvPr>
            <p:cNvSpPr/>
            <p:nvPr/>
          </p:nvSpPr>
          <p:spPr>
            <a:xfrm>
              <a:off x="718008" y="6299251"/>
              <a:ext cx="11261267" cy="2477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3"/>
                </a:rPr>
                <a:t>Automatic online backup and restore with Azure Cosmos DB</a:t>
              </a:r>
              <a:endParaRPr lang="en-US" sz="1176" b="0" dirty="0">
                <a:solidFill>
                  <a:srgbClr val="353535"/>
                </a:solidFill>
                <a:latin typeface="Segoe UI Semilight"/>
              </a:endParaRPr>
            </a:p>
          </p:txBody>
        </p:sp>
        <p:sp>
          <p:nvSpPr>
            <p:cNvPr id="38" name="Oval 37">
              <a:extLst>
                <a:ext uri="{FF2B5EF4-FFF2-40B4-BE49-F238E27FC236}">
                  <a16:creationId xmlns:a16="http://schemas.microsoft.com/office/drawing/2014/main" id="{293FB4C8-F308-44F5-9CAC-C17866A76642}"/>
                </a:ext>
              </a:extLst>
            </p:cNvPr>
            <p:cNvSpPr/>
            <p:nvPr/>
          </p:nvSpPr>
          <p:spPr bwMode="auto">
            <a:xfrm>
              <a:off x="396003" y="635698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097B61A-31C2-4112-A05F-FEB3402508DA}"/>
              </a:ext>
            </a:extLst>
          </p:cNvPr>
          <p:cNvGrpSpPr/>
          <p:nvPr/>
        </p:nvGrpSpPr>
        <p:grpSpPr>
          <a:xfrm>
            <a:off x="291165" y="5092035"/>
            <a:ext cx="8516677" cy="201966"/>
            <a:chOff x="396003" y="6285807"/>
            <a:chExt cx="11583272" cy="274688"/>
          </a:xfrm>
        </p:grpSpPr>
        <p:sp>
          <p:nvSpPr>
            <p:cNvPr id="40" name="Rectangle 39">
              <a:extLst>
                <a:ext uri="{FF2B5EF4-FFF2-40B4-BE49-F238E27FC236}">
                  <a16:creationId xmlns:a16="http://schemas.microsoft.com/office/drawing/2014/main" id="{AE684792-4F48-466E-A418-0EC7696F37E6}"/>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4"/>
                </a:rPr>
                <a:t>Integration of Cosmos DB with Spark</a:t>
              </a:r>
              <a:endParaRPr lang="en-US" sz="1176" b="0" dirty="0">
                <a:solidFill>
                  <a:srgbClr val="353535"/>
                </a:solidFill>
                <a:latin typeface="Segoe UI Semilight"/>
              </a:endParaRPr>
            </a:p>
          </p:txBody>
        </p:sp>
        <p:sp>
          <p:nvSpPr>
            <p:cNvPr id="41" name="Oval 40">
              <a:extLst>
                <a:ext uri="{FF2B5EF4-FFF2-40B4-BE49-F238E27FC236}">
                  <a16:creationId xmlns:a16="http://schemas.microsoft.com/office/drawing/2014/main" id="{947738CE-D5CE-4214-90A6-B19F2D910C4A}"/>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529BC80B-645F-450C-A6C8-2E80589A0944}"/>
              </a:ext>
            </a:extLst>
          </p:cNvPr>
          <p:cNvGrpSpPr/>
          <p:nvPr/>
        </p:nvGrpSpPr>
        <p:grpSpPr>
          <a:xfrm>
            <a:off x="291165" y="5406080"/>
            <a:ext cx="8516677" cy="201966"/>
            <a:chOff x="396003" y="6285807"/>
            <a:chExt cx="11583272" cy="274688"/>
          </a:xfrm>
        </p:grpSpPr>
        <p:sp>
          <p:nvSpPr>
            <p:cNvPr id="43" name="Rectangle 42">
              <a:extLst>
                <a:ext uri="{FF2B5EF4-FFF2-40B4-BE49-F238E27FC236}">
                  <a16:creationId xmlns:a16="http://schemas.microsoft.com/office/drawing/2014/main" id="{C1FAF46F-6839-4081-86D2-BEF53B2DC787}"/>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5"/>
                </a:rPr>
                <a:t>Azure Cosmos DB SLA</a:t>
              </a:r>
              <a:endParaRPr lang="en-US" sz="1176" b="0" dirty="0">
                <a:solidFill>
                  <a:srgbClr val="353535"/>
                </a:solidFill>
                <a:latin typeface="Segoe UI Semilight"/>
              </a:endParaRPr>
            </a:p>
          </p:txBody>
        </p:sp>
        <p:sp>
          <p:nvSpPr>
            <p:cNvPr id="44" name="Oval 43">
              <a:extLst>
                <a:ext uri="{FF2B5EF4-FFF2-40B4-BE49-F238E27FC236}">
                  <a16:creationId xmlns:a16="http://schemas.microsoft.com/office/drawing/2014/main" id="{49001851-4FB2-4066-9847-01CA9E9DC3B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63495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 Account Schematic</a:t>
            </a:r>
          </a:p>
        </p:txBody>
      </p:sp>
      <p:pic>
        <p:nvPicPr>
          <p:cNvPr id="8" name="Picture 6" descr="Storage Blob Hierarchy">
            <a:extLst>
              <a:ext uri="{FF2B5EF4-FFF2-40B4-BE49-F238E27FC236}">
                <a16:creationId xmlns:a16="http://schemas.microsoft.com/office/drawing/2014/main" id="{7023C43D-D52E-4884-BD14-EE6D4ABFD54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228649" y="1700996"/>
            <a:ext cx="4093001" cy="147285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Queue service components">
            <a:extLst>
              <a:ext uri="{FF2B5EF4-FFF2-40B4-BE49-F238E27FC236}">
                <a16:creationId xmlns:a16="http://schemas.microsoft.com/office/drawing/2014/main" id="{53764BD4-A1B6-4812-9B31-B216CFB024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9301" y="3629808"/>
            <a:ext cx="3971876" cy="183822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Storage table components">
            <a:extLst>
              <a:ext uri="{FF2B5EF4-FFF2-40B4-BE49-F238E27FC236}">
                <a16:creationId xmlns:a16="http://schemas.microsoft.com/office/drawing/2014/main" id="{BA59FB24-DC78-4C59-A033-B8EB4058BF7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4721651" y="1700996"/>
            <a:ext cx="3919526" cy="14728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descr="File Service components">
            <a:extLst>
              <a:ext uri="{FF2B5EF4-FFF2-40B4-BE49-F238E27FC236}">
                <a16:creationId xmlns:a16="http://schemas.microsoft.com/office/drawing/2014/main" id="{EE76A68A-D798-434A-ADC8-C19E312A76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649" y="3629808"/>
            <a:ext cx="4041002" cy="195465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1806348" y="3173852"/>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Blob Storage</a:t>
            </a:r>
          </a:p>
        </p:txBody>
      </p:sp>
      <p:sp>
        <p:nvSpPr>
          <p:cNvPr id="13" name="TextBox 12"/>
          <p:cNvSpPr txBox="1"/>
          <p:nvPr/>
        </p:nvSpPr>
        <p:spPr>
          <a:xfrm>
            <a:off x="1541009" y="5624918"/>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File Storage</a:t>
            </a:r>
          </a:p>
        </p:txBody>
      </p:sp>
      <p:sp>
        <p:nvSpPr>
          <p:cNvPr id="14" name="TextBox 13"/>
          <p:cNvSpPr txBox="1"/>
          <p:nvPr/>
        </p:nvSpPr>
        <p:spPr>
          <a:xfrm>
            <a:off x="6039531" y="3205942"/>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Azure Table</a:t>
            </a:r>
          </a:p>
        </p:txBody>
      </p:sp>
      <p:sp>
        <p:nvSpPr>
          <p:cNvPr id="15" name="TextBox 14"/>
          <p:cNvSpPr txBox="1"/>
          <p:nvPr/>
        </p:nvSpPr>
        <p:spPr>
          <a:xfrm>
            <a:off x="5874204" y="5624918"/>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Azure Queue</a:t>
            </a:r>
          </a:p>
        </p:txBody>
      </p:sp>
    </p:spTree>
    <p:extLst>
      <p:ext uri="{BB962C8B-B14F-4D97-AF65-F5344CB8AC3E}">
        <p14:creationId xmlns:p14="http://schemas.microsoft.com/office/powerpoint/2010/main" val="4107603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7791" y="1021964"/>
            <a:ext cx="8227559" cy="679033"/>
          </a:xfrm>
        </p:spPr>
        <p:txBody>
          <a:bodyPr/>
          <a:lstStyle/>
          <a:p>
            <a:r>
              <a:rPr lang="en-US" dirty="0"/>
              <a:t>Azure Storage Account</a:t>
            </a:r>
          </a:p>
        </p:txBody>
      </p:sp>
      <p:sp>
        <p:nvSpPr>
          <p:cNvPr id="5" name="Content Placeholder 4"/>
          <p:cNvSpPr>
            <a:spLocks noGrp="1"/>
          </p:cNvSpPr>
          <p:nvPr>
            <p:ph sz="half" idx="1"/>
          </p:nvPr>
        </p:nvSpPr>
        <p:spPr>
          <a:xfrm>
            <a:off x="167640" y="1816893"/>
            <a:ext cx="3616507" cy="4055270"/>
          </a:xfrm>
        </p:spPr>
        <p:txBody>
          <a:bodyPr>
            <a:normAutofit fontScale="77500" lnSpcReduction="20000"/>
          </a:bodyPr>
          <a:lstStyle/>
          <a:p>
            <a:pPr marL="0" indent="0">
              <a:buNone/>
            </a:pPr>
            <a:r>
              <a:rPr lang="en-US" sz="2475" b="1" u="sng" dirty="0"/>
              <a:t>Two Kinds of Storage Account</a:t>
            </a:r>
          </a:p>
          <a:p>
            <a:r>
              <a:rPr lang="en-US" dirty="0"/>
              <a:t>General Purpose Storage Account</a:t>
            </a:r>
          </a:p>
          <a:p>
            <a:pPr lvl="1"/>
            <a:r>
              <a:rPr lang="en-US" dirty="0"/>
              <a:t>Blobs</a:t>
            </a:r>
          </a:p>
          <a:p>
            <a:pPr lvl="1"/>
            <a:r>
              <a:rPr lang="en-US" dirty="0"/>
              <a:t>Files</a:t>
            </a:r>
          </a:p>
          <a:p>
            <a:pPr lvl="1"/>
            <a:r>
              <a:rPr lang="en-US" dirty="0"/>
              <a:t>Queues</a:t>
            </a:r>
          </a:p>
          <a:p>
            <a:pPr lvl="1"/>
            <a:r>
              <a:rPr lang="en-US" dirty="0"/>
              <a:t>Tables</a:t>
            </a:r>
          </a:p>
          <a:p>
            <a:pPr lvl="1"/>
            <a:r>
              <a:rPr lang="en-US" dirty="0"/>
              <a:t>VHD Disks(Page Blob)</a:t>
            </a:r>
          </a:p>
          <a:p>
            <a:r>
              <a:rPr lang="en-US" dirty="0"/>
              <a:t>Blob Storage Account</a:t>
            </a:r>
          </a:p>
          <a:p>
            <a:pPr lvl="1"/>
            <a:r>
              <a:rPr lang="en-US" dirty="0"/>
              <a:t>Block Blob</a:t>
            </a:r>
          </a:p>
          <a:p>
            <a:pPr lvl="1"/>
            <a:r>
              <a:rPr lang="en-US" dirty="0"/>
              <a:t>Append Blob</a:t>
            </a:r>
          </a:p>
          <a:p>
            <a:pPr lvl="1"/>
            <a:r>
              <a:rPr lang="en-US" dirty="0"/>
              <a:t>Page Blob</a:t>
            </a:r>
          </a:p>
          <a:p>
            <a:pPr marL="0" indent="0">
              <a:buNone/>
            </a:pPr>
            <a:r>
              <a:rPr lang="en-US" sz="2475" b="1" u="sng" dirty="0"/>
              <a:t>Performance Tier</a:t>
            </a:r>
          </a:p>
          <a:p>
            <a:r>
              <a:rPr lang="en-US" dirty="0"/>
              <a:t>General Purpose: </a:t>
            </a:r>
            <a:r>
              <a:rPr lang="en-US" b="1" dirty="0"/>
              <a:t>Standard</a:t>
            </a:r>
            <a:r>
              <a:rPr lang="en-US" dirty="0"/>
              <a:t>(HDD based), </a:t>
            </a:r>
            <a:r>
              <a:rPr lang="en-US" b="1" dirty="0"/>
              <a:t>Premium</a:t>
            </a:r>
            <a:r>
              <a:rPr lang="en-US" dirty="0"/>
              <a:t>(SSD based) for VM</a:t>
            </a:r>
          </a:p>
          <a:p>
            <a:r>
              <a:rPr lang="en-US" dirty="0"/>
              <a:t>Blob Account: </a:t>
            </a:r>
            <a:r>
              <a:rPr lang="en-US" b="1" dirty="0"/>
              <a:t>Hot</a:t>
            </a:r>
            <a:r>
              <a:rPr lang="en-US" dirty="0"/>
              <a:t>, </a:t>
            </a:r>
            <a:r>
              <a:rPr lang="en-US" b="1" dirty="0"/>
              <a:t>Cool</a:t>
            </a:r>
            <a:r>
              <a:rPr lang="en-US" dirty="0"/>
              <a:t>, </a:t>
            </a:r>
            <a:r>
              <a:rPr lang="en-US" b="1" dirty="0"/>
              <a:t>Archival</a:t>
            </a:r>
            <a:r>
              <a:rPr lang="en-US" dirty="0"/>
              <a:t>( Preview)</a:t>
            </a:r>
          </a:p>
          <a:p>
            <a:endParaRPr lang="en-US" dirty="0"/>
          </a:p>
        </p:txBody>
      </p:sp>
      <p:pic>
        <p:nvPicPr>
          <p:cNvPr id="3" name="Picture 2"/>
          <p:cNvPicPr>
            <a:picLocks noChangeAspect="1"/>
          </p:cNvPicPr>
          <p:nvPr/>
        </p:nvPicPr>
        <p:blipFill rotWithShape="1">
          <a:blip r:embed="rId3"/>
          <a:srcRect t="24366"/>
          <a:stretch/>
        </p:blipFill>
        <p:spPr>
          <a:xfrm>
            <a:off x="4708752" y="1273629"/>
            <a:ext cx="3869871" cy="2002291"/>
          </a:xfrm>
          <a:prstGeom prst="rect">
            <a:avLst/>
          </a:prstGeom>
        </p:spPr>
      </p:pic>
      <p:pic>
        <p:nvPicPr>
          <p:cNvPr id="8" name="Picture 7"/>
          <p:cNvPicPr>
            <a:picLocks noChangeAspect="1"/>
          </p:cNvPicPr>
          <p:nvPr/>
        </p:nvPicPr>
        <p:blipFill>
          <a:blip r:embed="rId4"/>
          <a:stretch>
            <a:fillRect/>
          </a:stretch>
        </p:blipFill>
        <p:spPr>
          <a:xfrm>
            <a:off x="4757737" y="3385693"/>
            <a:ext cx="3820886" cy="2431360"/>
          </a:xfrm>
          <a:prstGeom prst="rect">
            <a:avLst/>
          </a:prstGeom>
        </p:spPr>
      </p:pic>
    </p:spTree>
    <p:extLst>
      <p:ext uri="{BB962C8B-B14F-4D97-AF65-F5344CB8AC3E}">
        <p14:creationId xmlns:p14="http://schemas.microsoft.com/office/powerpoint/2010/main" val="1759524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700" b="1" dirty="0"/>
              <a:t>Azure Table Storage</a:t>
            </a:r>
          </a:p>
        </p:txBody>
      </p:sp>
      <p:sp>
        <p:nvSpPr>
          <p:cNvPr id="5" name="Content Placeholder 4"/>
          <p:cNvSpPr>
            <a:spLocks noGrp="1"/>
          </p:cNvSpPr>
          <p:nvPr>
            <p:ph type="body" sz="quarter" idx="10"/>
          </p:nvPr>
        </p:nvSpPr>
        <p:spPr>
          <a:xfrm>
            <a:off x="476945" y="1324993"/>
            <a:ext cx="8574837" cy="410903"/>
          </a:xfrm>
        </p:spPr>
        <p:txBody>
          <a:bodyPr>
            <a:noAutofit/>
          </a:bodyPr>
          <a:lstStyle/>
          <a:p>
            <a:r>
              <a:rPr lang="en-US" sz="2400" dirty="0"/>
              <a:t>Stores structure NoSQL</a:t>
            </a:r>
          </a:p>
          <a:p>
            <a:pPr lvl="1"/>
            <a:r>
              <a:rPr lang="en-US" sz="2100" dirty="0"/>
              <a:t>Key-value pair</a:t>
            </a:r>
          </a:p>
          <a:p>
            <a:pPr lvl="1"/>
            <a:r>
              <a:rPr lang="en-US" sz="2100" dirty="0"/>
              <a:t>Structured, non relational</a:t>
            </a:r>
          </a:p>
          <a:p>
            <a:pPr lvl="1"/>
            <a:r>
              <a:rPr lang="en-US" sz="2100" dirty="0" err="1"/>
              <a:t>Schemaless</a:t>
            </a:r>
            <a:endParaRPr lang="en-US" sz="2100" dirty="0"/>
          </a:p>
          <a:p>
            <a:r>
              <a:rPr lang="en-US" sz="2000" dirty="0"/>
              <a:t>Access data using the </a:t>
            </a:r>
            <a:r>
              <a:rPr lang="en-US" sz="2000" dirty="0" err="1"/>
              <a:t>Odata</a:t>
            </a:r>
            <a:r>
              <a:rPr lang="en-US" sz="2000" dirty="0"/>
              <a:t> &amp; LINQ .</a:t>
            </a:r>
          </a:p>
          <a:p>
            <a:r>
              <a:rPr lang="en-US" sz="2000" dirty="0"/>
              <a:t>Quickly query data using a clustered </a:t>
            </a:r>
            <a:br>
              <a:rPr lang="en-US" sz="2000" dirty="0"/>
            </a:br>
            <a:r>
              <a:rPr lang="en-US" sz="2000" dirty="0"/>
              <a:t>index</a:t>
            </a:r>
          </a:p>
          <a:p>
            <a:r>
              <a:rPr lang="en-US" sz="2000" dirty="0"/>
              <a:t>Data is consistent for other client reads </a:t>
            </a:r>
            <a:br>
              <a:rPr lang="en-US" sz="2000" dirty="0"/>
            </a:br>
            <a:r>
              <a:rPr lang="en-US" sz="2000" dirty="0"/>
              <a:t>after insert/update</a:t>
            </a:r>
          </a:p>
          <a:p>
            <a:endParaRPr lang="en-US" sz="2400" dirty="0"/>
          </a:p>
        </p:txBody>
      </p:sp>
      <p:sp>
        <p:nvSpPr>
          <p:cNvPr id="8" name="Content Placeholder 4"/>
          <p:cNvSpPr>
            <a:spLocks noGrp="1"/>
          </p:cNvSpPr>
          <p:nvPr>
            <p:ph sz="half" idx="4294967295"/>
          </p:nvPr>
        </p:nvSpPr>
        <p:spPr>
          <a:xfrm>
            <a:off x="5264150" y="1870075"/>
            <a:ext cx="3879850" cy="3794125"/>
          </a:xfrm>
        </p:spPr>
        <p:txBody>
          <a:bodyPr>
            <a:normAutofit/>
          </a:bodyPr>
          <a:lstStyle/>
          <a:p>
            <a:r>
              <a:rPr lang="en-US" sz="2400" dirty="0"/>
              <a:t>Fully managed file shares in the cloud</a:t>
            </a:r>
          </a:p>
          <a:p>
            <a:r>
              <a:rPr lang="en-US" sz="2400" dirty="0"/>
              <a:t>Supports SMB /CIFS protocol</a:t>
            </a:r>
          </a:p>
          <a:p>
            <a:r>
              <a:rPr lang="en-US" sz="2400" dirty="0"/>
              <a:t>Can be mounted concurrently</a:t>
            </a:r>
          </a:p>
          <a:p>
            <a:r>
              <a:rPr lang="en-US" sz="2400" dirty="0"/>
              <a:t>Azure File Sync(Preview)</a:t>
            </a:r>
          </a:p>
          <a:p>
            <a:r>
              <a:rPr lang="en-US" sz="2400" dirty="0"/>
              <a:t>Suitable for Lift &amp; Shift </a:t>
            </a:r>
          </a:p>
          <a:p>
            <a:r>
              <a:rPr lang="en-US" sz="2400" dirty="0"/>
              <a:t>LRS, GRS replication</a:t>
            </a:r>
          </a:p>
        </p:txBody>
      </p:sp>
      <p:sp>
        <p:nvSpPr>
          <p:cNvPr id="7" name="Title 3"/>
          <p:cNvSpPr txBox="1">
            <a:spLocks/>
          </p:cNvSpPr>
          <p:nvPr/>
        </p:nvSpPr>
        <p:spPr>
          <a:xfrm>
            <a:off x="4471988" y="1190929"/>
            <a:ext cx="3026909" cy="67903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fontAlgn="auto">
              <a:spcAft>
                <a:spcPts val="0"/>
              </a:spcAft>
              <a:defRPr/>
            </a:pPr>
            <a:r>
              <a:rPr lang="en-US" sz="2700" dirty="0">
                <a:solidFill>
                  <a:prstClr val="black"/>
                </a:solidFill>
                <a:latin typeface="Calibri Light" panose="020F0302020204030204"/>
              </a:rPr>
              <a:t>Azure File Storage</a:t>
            </a:r>
          </a:p>
        </p:txBody>
      </p:sp>
    </p:spTree>
    <p:extLst>
      <p:ext uri="{BB962C8B-B14F-4D97-AF65-F5344CB8AC3E}">
        <p14:creationId xmlns:p14="http://schemas.microsoft.com/office/powerpoint/2010/main" val="4020554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4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335ACBE7-A37D-421E-96D5-E75AE401765E}"/>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5.xml><?xml version="1.0" encoding="utf-8"?>
<a:theme xmlns:a="http://schemas.openxmlformats.org/drawingml/2006/main" name="SQL Server Theme">
  <a:themeElements>
    <a:clrScheme name="SQL + Linux">
      <a:dk1>
        <a:srgbClr val="2C2C2C"/>
      </a:dk1>
      <a:lt1>
        <a:srgbClr val="FFFFFF"/>
      </a:lt1>
      <a:dk2>
        <a:srgbClr val="505050"/>
      </a:dk2>
      <a:lt2>
        <a:srgbClr val="D2D2D2"/>
      </a:lt2>
      <a:accent1>
        <a:srgbClr val="C00000"/>
      </a:accent1>
      <a:accent2>
        <a:srgbClr val="0078D7"/>
      </a:accent2>
      <a:accent3>
        <a:srgbClr val="68217A"/>
      </a:accent3>
      <a:accent4>
        <a:srgbClr val="008272"/>
      </a:accent4>
      <a:accent5>
        <a:srgbClr val="FF8C00"/>
      </a:accent5>
      <a:accent6>
        <a:srgbClr val="00BCF2"/>
      </a:accent6>
      <a:hlink>
        <a:srgbClr val="0078D7"/>
      </a:hlink>
      <a:folHlink>
        <a:srgbClr val="68217A"/>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 Server Theme" id="{08720634-0A96-4AD1-ADDF-D8DA3EE2BBCD}" vid="{A475B740-A5CC-4FDD-8FF7-9B66773E6D64}"/>
    </a:ext>
  </a:extLst>
</a:theme>
</file>

<file path=ppt/theme/theme6.xml><?xml version="1.0" encoding="utf-8"?>
<a:theme xmlns:a="http://schemas.openxmlformats.org/drawingml/2006/main" name="9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8027F2B0-0EC5-40CE-A829-851BBA4DE4DC}"/>
    </a:ext>
  </a:extLst>
</a:theme>
</file>

<file path=ppt/theme/theme7.xml><?xml version="1.0" encoding="utf-8"?>
<a:theme xmlns:a="http://schemas.openxmlformats.org/drawingml/2006/main" name="10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1C7B7649-B01C-4329-B8DC-8E47266E0F43}"/>
    </a:ext>
  </a:extLst>
</a:theme>
</file>

<file path=ppt/theme/theme8.xml><?xml version="1.0" encoding="utf-8"?>
<a:theme xmlns:a="http://schemas.openxmlformats.org/drawingml/2006/main" name="11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E454A11D-3F3A-4D1E-9864-850D28481F79}"/>
    </a:ext>
  </a:ext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pp Innovation TECH 2017 10 18" id="{AD4B09B4-2C1D-47C6-84BA-EED9EE7F712A}" vid="{6C65C9BA-A737-4EC2-8C11-2D7C494ECDFD}"/>
    </a:ext>
  </a:extLst>
</a:theme>
</file>

<file path=docProps/app.xml><?xml version="1.0" encoding="utf-8"?>
<Properties xmlns="http://schemas.openxmlformats.org/officeDocument/2006/extended-properties" xmlns:vt="http://schemas.openxmlformats.org/officeDocument/2006/docPropsVTypes">
  <Template/>
  <TotalTime>0</TotalTime>
  <Words>4449</Words>
  <Application>Microsoft Office PowerPoint</Application>
  <PresentationFormat>On-screen Show (4:3)</PresentationFormat>
  <Paragraphs>850</Paragraphs>
  <Slides>63</Slides>
  <Notes>62</Notes>
  <HiddenSlides>0</HiddenSlides>
  <MMClips>0</MMClips>
  <ScaleCrop>false</ScaleCrop>
  <HeadingPairs>
    <vt:vector size="8" baseType="variant">
      <vt:variant>
        <vt:lpstr>Fonts Used</vt:lpstr>
      </vt:variant>
      <vt:variant>
        <vt:i4>20</vt:i4>
      </vt:variant>
      <vt:variant>
        <vt:lpstr>Theme</vt:lpstr>
      </vt:variant>
      <vt:variant>
        <vt:i4>10</vt:i4>
      </vt:variant>
      <vt:variant>
        <vt:lpstr>Embedded OLE Servers</vt:lpstr>
      </vt:variant>
      <vt:variant>
        <vt:i4>1</vt:i4>
      </vt:variant>
      <vt:variant>
        <vt:lpstr>Slide Titles</vt:lpstr>
      </vt:variant>
      <vt:variant>
        <vt:i4>63</vt:i4>
      </vt:variant>
    </vt:vector>
  </HeadingPairs>
  <TitlesOfParts>
    <vt:vector size="94" baseType="lpstr">
      <vt:lpstr>Wingdings</vt:lpstr>
      <vt:lpstr>Segoe UI Historic</vt:lpstr>
      <vt:lpstr>Verdana</vt:lpstr>
      <vt:lpstr>MS PGothic</vt:lpstr>
      <vt:lpstr>Calibri Light</vt:lpstr>
      <vt:lpstr>Arial</vt:lpstr>
      <vt:lpstr>Times New Roman</vt:lpstr>
      <vt:lpstr>MS PGothic</vt:lpstr>
      <vt:lpstr>Segoe UI</vt:lpstr>
      <vt:lpstr>Segoe UI Semilight</vt:lpstr>
      <vt:lpstr>Segoe UI Semibold</vt:lpstr>
      <vt:lpstr>Segoe Semibold</vt:lpstr>
      <vt:lpstr>Calibri</vt:lpstr>
      <vt:lpstr>Wingdings 3</vt:lpstr>
      <vt:lpstr>Consolas</vt:lpstr>
      <vt:lpstr>Segoe Pro Light</vt:lpstr>
      <vt:lpstr>Courier New</vt:lpstr>
      <vt:lpstr>segoe-ui_normal</vt:lpstr>
      <vt:lpstr>Segoe UI Light</vt:lpstr>
      <vt:lpstr>Arial Unicode MS</vt:lpstr>
      <vt:lpstr>NG_MOC_Core_ModuleNew2</vt:lpstr>
      <vt:lpstr>COLOR TEMPLATE</vt:lpstr>
      <vt:lpstr>1_Office Theme</vt:lpstr>
      <vt:lpstr>3_3-50141_Digital_Transformation_Academy_Template</vt:lpstr>
      <vt:lpstr>SQL Server Theme</vt:lpstr>
      <vt:lpstr>9_3-50141_Digital_Transformation_Academy_Template</vt:lpstr>
      <vt:lpstr>10_3-50141_Digital_Transformation_Academy_Template</vt:lpstr>
      <vt:lpstr>11_3-50141_Digital_Transformation_Academy_Template</vt:lpstr>
      <vt:lpstr>2_Office Theme</vt:lpstr>
      <vt:lpstr>14_3-50141_Digital_Transformation_Academy_Template</vt:lpstr>
      <vt:lpstr>think-cell Slide</vt:lpstr>
      <vt:lpstr>Design Data Implementation</vt:lpstr>
      <vt:lpstr>Design Data Implementation (15 – 20%)</vt:lpstr>
      <vt:lpstr>PowerPoint Presentation</vt:lpstr>
      <vt:lpstr>PowerPoint Presentation</vt:lpstr>
      <vt:lpstr>PowerPoint Presentation</vt:lpstr>
      <vt:lpstr>PowerPoint Presentation</vt:lpstr>
      <vt:lpstr>Azure Storage Account Schematic</vt:lpstr>
      <vt:lpstr>Azure Storage Account</vt:lpstr>
      <vt:lpstr>Azure Table Storage</vt:lpstr>
      <vt:lpstr>Azure Queue</vt:lpstr>
      <vt:lpstr>Table and Queue Storage via PowerShell</vt:lpstr>
      <vt:lpstr>Storage Options</vt:lpstr>
      <vt:lpstr>Azure Blob Storage</vt:lpstr>
      <vt:lpstr>Block Blobs</vt:lpstr>
      <vt:lpstr>Append Blobs</vt:lpstr>
      <vt:lpstr>Page Blob</vt:lpstr>
      <vt:lpstr>Replication for Table &amp; Blob Storage</vt:lpstr>
      <vt:lpstr>Blob Access</vt:lpstr>
      <vt:lpstr>Blob Access</vt:lpstr>
      <vt:lpstr>Shared Access Signatures (SAS)</vt:lpstr>
      <vt:lpstr>Azure Disk</vt:lpstr>
      <vt:lpstr>Example of SAS token</vt:lpstr>
      <vt:lpstr>PowerPoint Presentation</vt:lpstr>
      <vt:lpstr>PowerPoint Presentation</vt:lpstr>
      <vt:lpstr>Blob Encryption/Security</vt:lpstr>
      <vt:lpstr>Table &amp; Blob:  Performance, Storage Limits, etc.</vt:lpstr>
      <vt:lpstr>PowerPoint Presentation</vt:lpstr>
      <vt:lpstr>PowerPoint Presentation</vt:lpstr>
      <vt:lpstr>Sufficient bandwidth on VM</vt:lpstr>
      <vt:lpstr>Premium storage accounts Scalability</vt:lpstr>
      <vt:lpstr>If Using Storage Spaces Striping</vt:lpstr>
      <vt:lpstr>Pay Attention to I/O vs IOPs</vt:lpstr>
      <vt:lpstr>Azure Storage Samples</vt:lpstr>
      <vt:lpstr>Table Labs for .NET</vt:lpstr>
      <vt:lpstr>Blob Labs for .NET</vt:lpstr>
      <vt:lpstr>SAS Labs</vt:lpstr>
      <vt:lpstr>Azure Storage KeyWords</vt:lpstr>
      <vt:lpstr>Azure Data Services</vt:lpstr>
      <vt:lpstr>SQL Database</vt:lpstr>
      <vt:lpstr>Azure SQL Database</vt:lpstr>
      <vt:lpstr>Service Tiers</vt:lpstr>
      <vt:lpstr>Service Tier Attributes</vt:lpstr>
      <vt:lpstr>SQL Database Security</vt:lpstr>
      <vt:lpstr>Azure SQL KeyWords</vt:lpstr>
      <vt:lpstr>Stretch Database architecture</vt:lpstr>
      <vt:lpstr>PowerPoint Presentation</vt:lpstr>
      <vt:lpstr>SQL Database Videos</vt:lpstr>
      <vt:lpstr>PowerPoint Presentation</vt:lpstr>
      <vt:lpstr>PowerPoint Presentation</vt:lpstr>
      <vt:lpstr>PowerPoint Presentation</vt:lpstr>
      <vt:lpstr>Azure Database for PostgreSQL </vt:lpstr>
      <vt:lpstr>Azure Cosmos DB A globally distributed, massively scalable, multi-model database service</vt:lpstr>
      <vt:lpstr>PowerPoint Presentation</vt:lpstr>
      <vt:lpstr>PowerPoint Presentation</vt:lpstr>
      <vt:lpstr>Cosmos DB</vt:lpstr>
      <vt:lpstr>DocumentDB Programming Options</vt:lpstr>
      <vt:lpstr>DocumentDB Resources</vt:lpstr>
      <vt:lpstr>Azure CosmosDb KeyWords</vt:lpstr>
      <vt:lpstr>IoT and Telematics Solution Architecture</vt:lpstr>
      <vt:lpstr>Retail and Marketing Solution Architecture</vt:lpstr>
      <vt:lpstr>Gaming</vt:lpstr>
      <vt:lpstr>Scenarios</vt:lpstr>
      <vt:lpstr>Concep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4-12T21:2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